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6.xml" ContentType="application/vnd.openxmlformats-officedocument.theme+xml"/>
  <Override PartName="/ppt/tags/tag8.xml" ContentType="application/vnd.openxmlformats-officedocument.presentationml.tags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680" r:id="rId5"/>
    <p:sldMasterId id="2147483700" r:id="rId6"/>
    <p:sldMasterId id="2147483720" r:id="rId7"/>
    <p:sldMasterId id="2147483740" r:id="rId8"/>
    <p:sldMasterId id="2147483760" r:id="rId9"/>
    <p:sldMasterId id="2147483780" r:id="rId10"/>
  </p:sldMasterIdLst>
  <p:notesMasterIdLst>
    <p:notesMasterId r:id="rId27"/>
  </p:notesMasterIdLst>
  <p:sldIdLst>
    <p:sldId id="257" r:id="rId11"/>
    <p:sldId id="1197" r:id="rId12"/>
    <p:sldId id="259" r:id="rId13"/>
    <p:sldId id="1440" r:id="rId14"/>
    <p:sldId id="1442" r:id="rId15"/>
    <p:sldId id="1441" r:id="rId16"/>
    <p:sldId id="1468" r:id="rId17"/>
    <p:sldId id="1469" r:id="rId18"/>
    <p:sldId id="1466" r:id="rId19"/>
    <p:sldId id="1449" r:id="rId20"/>
    <p:sldId id="1447" r:id="rId21"/>
    <p:sldId id="1445" r:id="rId22"/>
    <p:sldId id="273" r:id="rId23"/>
    <p:sldId id="1432" r:id="rId24"/>
    <p:sldId id="1434" r:id="rId25"/>
    <p:sldId id="1431" r:id="rId26"/>
  </p:sldIdLst>
  <p:sldSz cx="12192000" cy="6858000"/>
  <p:notesSz cx="6797675" cy="9926638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91E059D-14F5-9990-23AD-9D7B3D7EF396}" name="Trine Gram Overby" initials="TGO" userId="S::tov@ewe.dk::ac7b8442-f6f6-4396-ab35-740c20bff2a0" providerId="AD"/>
  <p188:author id="{A3C518A5-CC08-FD7D-F0FF-FC5335655A45}" name="Trine Gram Overby" initials="TOV" userId="Trine Gram Overby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128" autoAdjust="0"/>
    <p:restoredTop sz="94675"/>
  </p:normalViewPr>
  <p:slideViewPr>
    <p:cSldViewPr snapToGrid="0">
      <p:cViewPr varScale="1">
        <p:scale>
          <a:sx n="108" d="100"/>
          <a:sy n="108" d="100"/>
        </p:scale>
        <p:origin x="300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Relationship Id="rId8" Type="http://schemas.openxmlformats.org/officeDocument/2006/relationships/slideMaster" Target="slideMasters/slideMaster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7531D6-6C68-4ECB-92F8-4F1A93A0FD5F}" type="datetimeFigureOut">
              <a:rPr lang="en-US" smtClean="0"/>
              <a:t>8/1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90B12E-634C-4CAD-835B-6663408E1A9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03665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Deltagere: ca. 65 lodsejere + Jesper, Hanne, Mogens, Claus, Niels og Nin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90B12E-634C-4CAD-835B-6663408E1A9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8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3E7839-6E98-4DCE-A3DF-7B8D2962C3B7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68512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Afstands</a:t>
            </a:r>
            <a:r>
              <a:rPr lang="en-US" dirty="0"/>
              <a:t> </a:t>
            </a:r>
            <a:r>
              <a:rPr lang="en-US" dirty="0" err="1"/>
              <a:t>krav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bolig</a:t>
            </a:r>
            <a:endParaRPr lang="en-US" dirty="0"/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90B12E-634C-4CAD-835B-6663408E1A9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0957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Afstands</a:t>
            </a:r>
            <a:r>
              <a:rPr lang="en-US" dirty="0"/>
              <a:t> </a:t>
            </a:r>
            <a:r>
              <a:rPr lang="en-US" dirty="0" err="1"/>
              <a:t>krav</a:t>
            </a:r>
            <a:r>
              <a:rPr lang="en-US" dirty="0"/>
              <a:t> </a:t>
            </a:r>
            <a:r>
              <a:rPr lang="en-US" dirty="0" err="1"/>
              <a:t>støj</a:t>
            </a:r>
            <a:r>
              <a:rPr lang="en-US" dirty="0"/>
              <a:t> –</a:t>
            </a:r>
            <a:r>
              <a:rPr lang="en-US" dirty="0" err="1"/>
              <a:t>Blå</a:t>
            </a:r>
            <a:r>
              <a:rPr lang="en-US" dirty="0"/>
              <a:t> er mere end 5 </a:t>
            </a:r>
            <a:r>
              <a:rPr lang="en-US" dirty="0" err="1"/>
              <a:t>huse</a:t>
            </a:r>
            <a:r>
              <a:rPr lang="en-US"/>
              <a:t>- by 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90B12E-634C-4CAD-835B-6663408E1A9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38631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ACC2B7-26C9-4DC7-A48C-FB867B46EE43}" type="slidenum">
              <a:rPr lang="da-DK" smtClean="0"/>
              <a:t>1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334429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oleObject" Target="../embeddings/oleObject2.bin"/><Relationship Id="rId7" Type="http://schemas.openxmlformats.org/officeDocument/2006/relationships/image" Target="../media/image1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DD6940C6-B75C-4626-A846-11CF21C73D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3792" y="3197822"/>
            <a:ext cx="3744416" cy="46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58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s with bulle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0822" y="180157"/>
            <a:ext cx="507907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0825" y="2565400"/>
            <a:ext cx="5079069" cy="33115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0824" y="981074"/>
            <a:ext cx="5079071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old headlines</a:t>
            </a:r>
            <a:br>
              <a:rPr lang="en-US" dirty="0"/>
            </a:br>
            <a:r>
              <a:rPr lang="en-US" dirty="0"/>
              <a:t>with bullets</a:t>
            </a:r>
            <a:endParaRPr lang="en-GB" dirty="0"/>
          </a:p>
        </p:txBody>
      </p:sp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F2F5D09-2174-8948-B718-97A3B1048D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23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DD6940C6-B75C-4626-A846-11CF21C73D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3792" y="3197822"/>
            <a:ext cx="3744415" cy="46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032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DD6940C6-B75C-4626-A846-11CF21C73D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3792" y="3197822"/>
            <a:ext cx="3744415" cy="46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185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3FFAD509-3C5A-4F65-A8F5-EFA49E7D114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algn="ctr">
              <a:defRPr sz="2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dirty="0"/>
              <a:t>Drag and drop a picture, to this placeholder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4DC8FFF-668D-4348-BAB4-FEAF261F83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24000" y="3198600"/>
            <a:ext cx="3744000" cy="460800"/>
          </a:xfrm>
          <a:prstGeom prst="rect">
            <a:avLst/>
          </a:prstGeom>
          <a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6984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typografierne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master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8076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15" descr="Et billede, der indeholder mølle, tilbehør, vektorgrafik&#10;&#10;Automatisk genereret beskrivelse">
            <a:extLst>
              <a:ext uri="{FF2B5EF4-FFF2-40B4-BE49-F238E27FC236}">
                <a16:creationId xmlns:a16="http://schemas.microsoft.com/office/drawing/2014/main" id="{D6E8A0BD-B739-4778-80A5-487A8B6245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2508" y="0"/>
            <a:ext cx="12195614" cy="685800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4DC8FFF-668D-4348-BAB4-FEAF261F83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24000" y="3198600"/>
            <a:ext cx="3744000" cy="460800"/>
          </a:xfrm>
          <a:prstGeom prst="rect">
            <a:avLst/>
          </a:prstGeom>
          <a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702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typografierne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master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9539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s with text/background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916FDB6-985A-4325-8F16-CB4887DD7C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DBA50A1-B064-42AD-BA7E-9DC2FE1C85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DDB4FC4-2CE5-4347-8044-7A95CBEB8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400C19E-1109-477C-BFBC-59B9C2F23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B54C84-D28E-4EED-A341-62D42E032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old headlines with</a:t>
            </a:r>
            <a:br>
              <a:rPr lang="en-GB" dirty="0"/>
            </a:br>
            <a:r>
              <a:rPr lang="en-GB" dirty="0"/>
              <a:t>text/background imag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5B59C54-DAAA-4D56-B70A-664BE5F1AB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5075238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pic>
        <p:nvPicPr>
          <p:cNvPr id="12" name="Picture 1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6E302CE-C687-7F45-B58B-77683593AB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08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with 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 algn="ctr"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0"/>
            <a:ext cx="5083176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075238" cy="1439813"/>
          </a:xfrm>
        </p:spPr>
        <p:txBody>
          <a:bodyPr/>
          <a:lstStyle/>
          <a:p>
            <a:r>
              <a:rPr lang="en-GB" dirty="0"/>
              <a:t>Bold headline</a:t>
            </a:r>
            <a:br>
              <a:rPr lang="en-GB" dirty="0"/>
            </a:br>
            <a:r>
              <a:rPr lang="en-GB" dirty="0"/>
              <a:t>with text/image</a:t>
            </a:r>
          </a:p>
        </p:txBody>
      </p:sp>
    </p:spTree>
    <p:extLst>
      <p:ext uri="{BB962C8B-B14F-4D97-AF65-F5344CB8AC3E}">
        <p14:creationId xmlns:p14="http://schemas.microsoft.com/office/powerpoint/2010/main" val="1626414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s well for longer headlines or less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accent1"/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1"/>
            <a:ext cx="5075238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328034" cy="1511822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Small headline in bold.</a:t>
            </a:r>
            <a:br>
              <a:rPr lang="en-GB" dirty="0"/>
            </a:br>
            <a:r>
              <a:rPr lang="en-GB" dirty="0"/>
              <a:t>This type works well for longer headlines or less space</a:t>
            </a:r>
          </a:p>
        </p:txBody>
      </p:sp>
    </p:spTree>
    <p:extLst>
      <p:ext uri="{BB962C8B-B14F-4D97-AF65-F5344CB8AC3E}">
        <p14:creationId xmlns:p14="http://schemas.microsoft.com/office/powerpoint/2010/main" val="762892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with text/image background">
    <p:bg>
      <p:bgPr>
        <a:solidFill>
          <a:srgbClr val="F3CFB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0"/>
            <a:ext cx="5083176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075238" cy="1439813"/>
          </a:xfrm>
        </p:spPr>
        <p:txBody>
          <a:bodyPr/>
          <a:lstStyle/>
          <a:p>
            <a:r>
              <a:rPr lang="en-GB" dirty="0"/>
              <a:t>Bold headline</a:t>
            </a:r>
            <a:br>
              <a:rPr lang="en-GB" dirty="0"/>
            </a:br>
            <a:r>
              <a:rPr lang="en-GB" dirty="0"/>
              <a:t>with text/image</a:t>
            </a:r>
          </a:p>
        </p:txBody>
      </p:sp>
    </p:spTree>
    <p:extLst>
      <p:ext uri="{BB962C8B-B14F-4D97-AF65-F5344CB8AC3E}">
        <p14:creationId xmlns:p14="http://schemas.microsoft.com/office/powerpoint/2010/main" val="2862884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s with bulle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0822" y="180157"/>
            <a:ext cx="507907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0825" y="2565400"/>
            <a:ext cx="5079069" cy="33115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0824" y="981074"/>
            <a:ext cx="5079071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old headlines</a:t>
            </a:r>
            <a:br>
              <a:rPr lang="en-US" dirty="0"/>
            </a:br>
            <a:r>
              <a:rPr lang="en-US" dirty="0"/>
              <a:t>with bullets</a:t>
            </a:r>
            <a:endParaRPr lang="en-GB" dirty="0"/>
          </a:p>
        </p:txBody>
      </p:sp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F2F5D09-2174-8948-B718-97A3B1048D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309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is is a big statem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/>
            </a:lvl1pPr>
          </a:lstStyle>
          <a:p>
            <a:r>
              <a:rPr lang="en-GB" dirty="0"/>
              <a:t>This is a big</a:t>
            </a:r>
            <a:br>
              <a:rPr lang="en-GB" dirty="0"/>
            </a:br>
            <a:r>
              <a:rPr lang="en-GB" dirty="0"/>
              <a:t>bold statement </a:t>
            </a:r>
            <a:br>
              <a:rPr lang="en-GB" dirty="0"/>
            </a:br>
            <a:r>
              <a:rPr lang="en-GB" dirty="0"/>
              <a:t>with impact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t>‹nr.›</a:t>
            </a:fld>
            <a:endParaRPr lang="en-GB" dirty="0"/>
          </a:p>
        </p:txBody>
      </p:sp>
      <p:pic>
        <p:nvPicPr>
          <p:cNvPr id="9" name="Billede 10">
            <a:extLst>
              <a:ext uri="{FF2B5EF4-FFF2-40B4-BE49-F238E27FC236}">
                <a16:creationId xmlns:a16="http://schemas.microsoft.com/office/drawing/2014/main" id="{8EF03521-54C8-4B82-8961-26B36D3A9C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170" y="6346800"/>
            <a:ext cx="1519660" cy="18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626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is is a big statem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/>
            </a:lvl1pPr>
          </a:lstStyle>
          <a:p>
            <a:r>
              <a:rPr lang="en-GB" dirty="0"/>
              <a:t>This is a big</a:t>
            </a:r>
            <a:br>
              <a:rPr lang="en-GB" dirty="0"/>
            </a:br>
            <a:r>
              <a:rPr lang="en-GB" dirty="0"/>
              <a:t>bold statement </a:t>
            </a:r>
            <a:br>
              <a:rPr lang="en-GB" dirty="0"/>
            </a:br>
            <a:r>
              <a:rPr lang="en-GB" dirty="0"/>
              <a:t>with impact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t>‹nr.›</a:t>
            </a:fld>
            <a:endParaRPr lang="en-GB" dirty="0"/>
          </a:p>
        </p:txBody>
      </p:sp>
      <p:pic>
        <p:nvPicPr>
          <p:cNvPr id="9" name="Billede 10">
            <a:extLst>
              <a:ext uri="{FF2B5EF4-FFF2-40B4-BE49-F238E27FC236}">
                <a16:creationId xmlns:a16="http://schemas.microsoft.com/office/drawing/2014/main" id="{8EF03521-54C8-4B82-8961-26B36D3A9C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170" y="6346800"/>
            <a:ext cx="1519660" cy="18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562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newable is never alternativ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Renewable</a:t>
            </a:r>
            <a:br>
              <a:rPr lang="da-DK" dirty="0"/>
            </a:br>
            <a:r>
              <a:rPr lang="da-DK" dirty="0"/>
              <a:t>is never</a:t>
            </a:r>
            <a:br>
              <a:rPr lang="da-DK" dirty="0"/>
            </a:br>
            <a:r>
              <a:rPr lang="da-DK" dirty="0"/>
              <a:t>alternative</a:t>
            </a:r>
            <a:endParaRPr lang="en-GB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E990BAA-F8AF-E344-AE26-52A3EA6530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630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614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enewable is never altern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Renewable</a:t>
            </a:r>
            <a:br>
              <a:rPr lang="da-DK" dirty="0"/>
            </a:br>
            <a:r>
              <a:rPr lang="da-DK" dirty="0"/>
              <a:t>is never</a:t>
            </a:r>
            <a:br>
              <a:rPr lang="da-DK" dirty="0"/>
            </a:br>
            <a:r>
              <a:rPr lang="da-DK" dirty="0"/>
              <a:t>alternative</a:t>
            </a:r>
            <a:endParaRPr lang="en-GB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7" name="Picture 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F696EAD-5111-FD45-A7FE-5594649706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630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014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quote or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A8070CD-13DA-41D5-8601-72407D66E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379" y="1051160"/>
            <a:ext cx="7416265" cy="505632"/>
          </a:xfrm>
        </p:spPr>
        <p:txBody>
          <a:bodyPr anchor="t"/>
          <a:lstStyle>
            <a:lvl1pPr>
              <a:defRPr sz="2000"/>
            </a:lvl1pPr>
          </a:lstStyle>
          <a:p>
            <a:r>
              <a:rPr lang="en-US" dirty="0"/>
              <a:t>Long quote or statement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8801EFD-1D0C-4B01-9216-7AA7682BA6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1658124"/>
            <a:ext cx="7416265" cy="4212121"/>
          </a:xfrm>
        </p:spPr>
        <p:txBody>
          <a:bodyPr>
            <a:normAutofit/>
          </a:bodyPr>
          <a:lstStyle>
            <a:lvl1pPr>
              <a:defRPr sz="2000"/>
            </a:lvl1pPr>
            <a:lvl2pPr marL="360000" indent="-180000">
              <a:defRPr sz="2000"/>
            </a:lvl2pPr>
            <a:lvl3pPr marL="540000" indent="-180000">
              <a:defRPr sz="2000"/>
            </a:lvl3pPr>
            <a:lvl4pPr marL="720000" indent="-180000">
              <a:defRPr sz="2000"/>
            </a:lvl4pPr>
            <a:lvl5pPr marL="900000" indent="-180000"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A51CFC2D-4EED-4396-8438-0C2947626BE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CC30481B-2807-4731-8EB0-4EF8CCB7F8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A814662A-DED0-404C-9321-D7DF9C0351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907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4 column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32263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B59B5D2-1146-488D-8CA2-73E4329E720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48587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264911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814029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wo line headline in bold with 4 columns</a:t>
            </a:r>
          </a:p>
        </p:txBody>
      </p:sp>
      <p:pic>
        <p:nvPicPr>
          <p:cNvPr id="14" name="Picture 1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D0C9EA0-2DC6-0542-A34A-D58498BDAC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621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3 column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03812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92244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524278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wo line headline in bold with 3 columns</a:t>
            </a:r>
          </a:p>
        </p:txBody>
      </p:sp>
      <p:pic>
        <p:nvPicPr>
          <p:cNvPr id="11" name="Picture 1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27F022B-4323-0443-A3F8-CC3BBBE34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383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headline in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26D8F05-CD14-4C93-AF2B-D1602EA95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5"/>
            <a:ext cx="5075238" cy="1007766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mall headline in bold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099905"/>
            <a:ext cx="5075238" cy="37798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9AA2542-C717-4281-8C53-DA013E47489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1" y="981075"/>
            <a:ext cx="5583238" cy="48990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1542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headline in bold and conten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4044383"/>
            <a:ext cx="2519722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26D8F05-CD14-4C93-AF2B-D1602EA95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981075"/>
            <a:ext cx="11152373" cy="503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Small headline in bold</a:t>
            </a:r>
            <a:endParaRPr lang="en-GB" dirty="0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77555054-57C7-4453-B65F-3F350E8FBB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95794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B04D7CE5-8307-4E6B-9A09-D2186B5FD68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75928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719D30EB-F3D5-43DC-8691-560A331FC42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156063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3137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C85DBEA7-2E8B-453D-A224-CBE11F3BBB75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  <a:solidFill>
            <a:schemeClr val="accent1"/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media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0A9B70A-3508-4AD9-A258-2812223A2C10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5393532" y="2726532"/>
            <a:ext cx="1404936" cy="1404936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pPr lvl="0"/>
            <a:r>
              <a:rPr lang="en-US" dirty="0"/>
              <a:t>Play film</a:t>
            </a:r>
          </a:p>
        </p:txBody>
      </p:sp>
    </p:spTree>
    <p:extLst>
      <p:ext uri="{BB962C8B-B14F-4D97-AF65-F5344CB8AC3E}">
        <p14:creationId xmlns:p14="http://schemas.microsoft.com/office/powerpoint/2010/main" val="1578665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51851" y="6356350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74A1B4"/>
                </a:solidFill>
              </a:defRPr>
            </a:lvl1pPr>
          </a:lstStyle>
          <a:p>
            <a:fld id="{F4943F07-E391-4C72-8266-57964B0323CF}" type="datetimeFigureOut">
              <a:rPr lang="en-US" smtClean="0"/>
              <a:pPr/>
              <a:t>8/10/2022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74A1B4"/>
                </a:solidFill>
              </a:defRPr>
            </a:lvl1pPr>
          </a:lstStyle>
          <a:p>
            <a:fld id="{5F400463-1924-4DF0-927A-DA08787EC12C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324711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DD6940C6-B75C-4626-A846-11CF21C73D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3792" y="3197822"/>
            <a:ext cx="3744416" cy="46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971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newable is never alternativ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Renewable</a:t>
            </a:r>
            <a:br>
              <a:rPr lang="da-DK" dirty="0"/>
            </a:br>
            <a:r>
              <a:rPr lang="da-DK" dirty="0"/>
              <a:t>is never</a:t>
            </a:r>
            <a:br>
              <a:rPr lang="da-DK" dirty="0"/>
            </a:br>
            <a:r>
              <a:rPr lang="da-DK" dirty="0"/>
              <a:t>alternative</a:t>
            </a:r>
            <a:endParaRPr lang="en-GB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E990BAA-F8AF-E344-AE26-52A3EA6530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630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895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DD6940C6-B75C-4626-A846-11CF21C73D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3792" y="3197822"/>
            <a:ext cx="3744415" cy="46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385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DD6940C6-B75C-4626-A846-11CF21C73D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3792" y="3197822"/>
            <a:ext cx="3744415" cy="46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508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3FFAD509-3C5A-4F65-A8F5-EFA49E7D114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algn="ctr">
              <a:defRPr sz="2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dirty="0"/>
              <a:t>Drag and drop a picture, to this placeholder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4DC8FFF-668D-4348-BAB4-FEAF261F83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24000" y="3198600"/>
            <a:ext cx="3744000" cy="460800"/>
          </a:xfrm>
          <a:prstGeom prst="rect">
            <a:avLst/>
          </a:prstGeom>
          <a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6984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typografierne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master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379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15" descr="Et billede, der indeholder mølle, tilbehør, vektorgrafik&#10;&#10;Automatisk genereret beskrivelse">
            <a:extLst>
              <a:ext uri="{FF2B5EF4-FFF2-40B4-BE49-F238E27FC236}">
                <a16:creationId xmlns:a16="http://schemas.microsoft.com/office/drawing/2014/main" id="{D6E8A0BD-B739-4778-80A5-487A8B6245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2508" y="0"/>
            <a:ext cx="12195614" cy="685800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4DC8FFF-668D-4348-BAB4-FEAF261F83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24000" y="3198600"/>
            <a:ext cx="3744000" cy="460800"/>
          </a:xfrm>
          <a:prstGeom prst="rect">
            <a:avLst/>
          </a:prstGeom>
          <a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702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typografierne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master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1824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s with text/background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916FDB6-985A-4325-8F16-CB4887DD7C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DBA50A1-B064-42AD-BA7E-9DC2FE1C85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DDB4FC4-2CE5-4347-8044-7A95CBEB8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400C19E-1109-477C-BFBC-59B9C2F23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B54C84-D28E-4EED-A341-62D42E032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old headlines with</a:t>
            </a:r>
            <a:br>
              <a:rPr lang="en-GB" dirty="0"/>
            </a:br>
            <a:r>
              <a:rPr lang="en-GB" dirty="0"/>
              <a:t>text/background imag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5B59C54-DAAA-4D56-B70A-664BE5F1AB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5075238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pic>
        <p:nvPicPr>
          <p:cNvPr id="12" name="Picture 1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6E302CE-C687-7F45-B58B-77683593AB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17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with 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 algn="ctr"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0"/>
            <a:ext cx="5083176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075238" cy="1439813"/>
          </a:xfrm>
        </p:spPr>
        <p:txBody>
          <a:bodyPr/>
          <a:lstStyle/>
          <a:p>
            <a:r>
              <a:rPr lang="en-GB" dirty="0"/>
              <a:t>Bold headline</a:t>
            </a:r>
            <a:br>
              <a:rPr lang="en-GB" dirty="0"/>
            </a:br>
            <a:r>
              <a:rPr lang="en-GB" dirty="0"/>
              <a:t>with text/image</a:t>
            </a:r>
          </a:p>
        </p:txBody>
      </p:sp>
    </p:spTree>
    <p:extLst>
      <p:ext uri="{BB962C8B-B14F-4D97-AF65-F5344CB8AC3E}">
        <p14:creationId xmlns:p14="http://schemas.microsoft.com/office/powerpoint/2010/main" val="376207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s well for longer headlines or less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accent1"/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1"/>
            <a:ext cx="5075238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328034" cy="1511822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Small headline in bold.</a:t>
            </a:r>
            <a:br>
              <a:rPr lang="en-GB" dirty="0"/>
            </a:br>
            <a:r>
              <a:rPr lang="en-GB" dirty="0"/>
              <a:t>This type works well for longer headlines or less space</a:t>
            </a:r>
          </a:p>
        </p:txBody>
      </p:sp>
    </p:spTree>
    <p:extLst>
      <p:ext uri="{BB962C8B-B14F-4D97-AF65-F5344CB8AC3E}">
        <p14:creationId xmlns:p14="http://schemas.microsoft.com/office/powerpoint/2010/main" val="1945427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with text/image background">
    <p:bg>
      <p:bgPr>
        <a:solidFill>
          <a:srgbClr val="F3CFB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0"/>
            <a:ext cx="5083176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075238" cy="1439813"/>
          </a:xfrm>
        </p:spPr>
        <p:txBody>
          <a:bodyPr/>
          <a:lstStyle/>
          <a:p>
            <a:r>
              <a:rPr lang="en-GB" dirty="0"/>
              <a:t>Bold headline</a:t>
            </a:r>
            <a:br>
              <a:rPr lang="en-GB" dirty="0"/>
            </a:br>
            <a:r>
              <a:rPr lang="en-GB" dirty="0"/>
              <a:t>with text/image</a:t>
            </a:r>
          </a:p>
        </p:txBody>
      </p:sp>
    </p:spTree>
    <p:extLst>
      <p:ext uri="{BB962C8B-B14F-4D97-AF65-F5344CB8AC3E}">
        <p14:creationId xmlns:p14="http://schemas.microsoft.com/office/powerpoint/2010/main" val="3176466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s with bulle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0822" y="180157"/>
            <a:ext cx="507907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0825" y="2565400"/>
            <a:ext cx="5079069" cy="33115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0824" y="981074"/>
            <a:ext cx="5079071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old headlines</a:t>
            </a:r>
            <a:br>
              <a:rPr lang="en-US" dirty="0"/>
            </a:br>
            <a:r>
              <a:rPr lang="en-US" dirty="0"/>
              <a:t>with bullets</a:t>
            </a:r>
            <a:endParaRPr lang="en-GB" dirty="0"/>
          </a:p>
        </p:txBody>
      </p:sp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F2F5D09-2174-8948-B718-97A3B1048D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705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is is a big statem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/>
            </a:lvl1pPr>
          </a:lstStyle>
          <a:p>
            <a:r>
              <a:rPr lang="en-GB" dirty="0"/>
              <a:t>This is a big</a:t>
            </a:r>
            <a:br>
              <a:rPr lang="en-GB" dirty="0"/>
            </a:br>
            <a:r>
              <a:rPr lang="en-GB" dirty="0"/>
              <a:t>bold statement </a:t>
            </a:r>
            <a:br>
              <a:rPr lang="en-GB" dirty="0"/>
            </a:br>
            <a:r>
              <a:rPr lang="en-GB" dirty="0"/>
              <a:t>with impact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t>‹nr.›</a:t>
            </a:fld>
            <a:endParaRPr lang="en-GB" dirty="0"/>
          </a:p>
        </p:txBody>
      </p:sp>
      <p:pic>
        <p:nvPicPr>
          <p:cNvPr id="9" name="Billede 10">
            <a:extLst>
              <a:ext uri="{FF2B5EF4-FFF2-40B4-BE49-F238E27FC236}">
                <a16:creationId xmlns:a16="http://schemas.microsoft.com/office/drawing/2014/main" id="{8EF03521-54C8-4B82-8961-26B36D3A9C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170" y="6346800"/>
            <a:ext cx="1519660" cy="18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841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enewable is never altern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Renewable</a:t>
            </a:r>
            <a:br>
              <a:rPr lang="da-DK" dirty="0"/>
            </a:br>
            <a:r>
              <a:rPr lang="da-DK" dirty="0"/>
              <a:t>is never</a:t>
            </a:r>
            <a:br>
              <a:rPr lang="da-DK" dirty="0"/>
            </a:br>
            <a:r>
              <a:rPr lang="da-DK" dirty="0"/>
              <a:t>alternative</a:t>
            </a:r>
            <a:endParaRPr lang="en-GB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7" name="Picture 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F696EAD-5111-FD45-A7FE-5594649706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630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650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newable is never alternativ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Renewable</a:t>
            </a:r>
            <a:br>
              <a:rPr lang="da-DK" dirty="0"/>
            </a:br>
            <a:r>
              <a:rPr lang="da-DK" dirty="0"/>
              <a:t>is never</a:t>
            </a:r>
            <a:br>
              <a:rPr lang="da-DK" dirty="0"/>
            </a:br>
            <a:r>
              <a:rPr lang="da-DK" dirty="0"/>
              <a:t>alternative</a:t>
            </a:r>
            <a:endParaRPr lang="en-GB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E990BAA-F8AF-E344-AE26-52A3EA6530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630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2157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enewable is never altern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Renewable</a:t>
            </a:r>
            <a:br>
              <a:rPr lang="da-DK" dirty="0"/>
            </a:br>
            <a:r>
              <a:rPr lang="da-DK" dirty="0"/>
              <a:t>is never</a:t>
            </a:r>
            <a:br>
              <a:rPr lang="da-DK" dirty="0"/>
            </a:br>
            <a:r>
              <a:rPr lang="da-DK" dirty="0"/>
              <a:t>alternative</a:t>
            </a:r>
            <a:endParaRPr lang="en-GB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7" name="Picture 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F696EAD-5111-FD45-A7FE-5594649706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630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059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quote or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A8070CD-13DA-41D5-8601-72407D66E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379" y="1051160"/>
            <a:ext cx="7416265" cy="505632"/>
          </a:xfrm>
        </p:spPr>
        <p:txBody>
          <a:bodyPr anchor="t"/>
          <a:lstStyle>
            <a:lvl1pPr>
              <a:defRPr sz="2000"/>
            </a:lvl1pPr>
          </a:lstStyle>
          <a:p>
            <a:r>
              <a:rPr lang="en-US" dirty="0"/>
              <a:t>Long quote or statement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8801EFD-1D0C-4B01-9216-7AA7682BA6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1658124"/>
            <a:ext cx="7416265" cy="4212121"/>
          </a:xfrm>
        </p:spPr>
        <p:txBody>
          <a:bodyPr>
            <a:normAutofit/>
          </a:bodyPr>
          <a:lstStyle>
            <a:lvl1pPr>
              <a:defRPr sz="2000"/>
            </a:lvl1pPr>
            <a:lvl2pPr marL="360000" indent="-180000">
              <a:defRPr sz="2000"/>
            </a:lvl2pPr>
            <a:lvl3pPr marL="540000" indent="-180000">
              <a:defRPr sz="2000"/>
            </a:lvl3pPr>
            <a:lvl4pPr marL="720000" indent="-180000">
              <a:defRPr sz="2000"/>
            </a:lvl4pPr>
            <a:lvl5pPr marL="900000" indent="-180000"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A51CFC2D-4EED-4396-8438-0C2947626BE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CC30481B-2807-4731-8EB0-4EF8CCB7F8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A814662A-DED0-404C-9321-D7DF9C0351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6299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4 column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32263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B59B5D2-1146-488D-8CA2-73E4329E720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48587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264911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814029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wo line headline in bold with 4 columns</a:t>
            </a:r>
          </a:p>
        </p:txBody>
      </p:sp>
      <p:pic>
        <p:nvPicPr>
          <p:cNvPr id="14" name="Picture 1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D0C9EA0-2DC6-0542-A34A-D58498BDAC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703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3 column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03812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92244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524278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wo line headline in bold with 3 columns</a:t>
            </a:r>
          </a:p>
        </p:txBody>
      </p:sp>
      <p:pic>
        <p:nvPicPr>
          <p:cNvPr id="11" name="Picture 1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27F022B-4323-0443-A3F8-CC3BBBE34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87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headline in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26D8F05-CD14-4C93-AF2B-D1602EA95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5"/>
            <a:ext cx="5075238" cy="1007766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mall headline in bold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099905"/>
            <a:ext cx="5075238" cy="37798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9AA2542-C717-4281-8C53-DA013E47489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1" y="981075"/>
            <a:ext cx="5583238" cy="48990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751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headline in bold and conten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4044383"/>
            <a:ext cx="2519722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26D8F05-CD14-4C93-AF2B-D1602EA95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981075"/>
            <a:ext cx="11152373" cy="503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Small headline in bold</a:t>
            </a:r>
            <a:endParaRPr lang="en-GB" dirty="0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77555054-57C7-4453-B65F-3F350E8FBB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95794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B04D7CE5-8307-4E6B-9A09-D2186B5FD68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75928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719D30EB-F3D5-43DC-8691-560A331FC42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156063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8486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C85DBEA7-2E8B-453D-A224-CBE11F3BBB75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  <a:solidFill>
            <a:schemeClr val="accent1"/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media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0A9B70A-3508-4AD9-A258-2812223A2C10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5393532" y="2726532"/>
            <a:ext cx="1404936" cy="1404936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pPr lvl="0"/>
            <a:r>
              <a:rPr lang="en-US" dirty="0"/>
              <a:t>Play film</a:t>
            </a:r>
          </a:p>
        </p:txBody>
      </p:sp>
    </p:spTree>
    <p:extLst>
      <p:ext uri="{BB962C8B-B14F-4D97-AF65-F5344CB8AC3E}">
        <p14:creationId xmlns:p14="http://schemas.microsoft.com/office/powerpoint/2010/main" val="1557413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quote or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A8070CD-13DA-41D5-8601-72407D66E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379" y="1051160"/>
            <a:ext cx="7416265" cy="505632"/>
          </a:xfrm>
        </p:spPr>
        <p:txBody>
          <a:bodyPr anchor="t"/>
          <a:lstStyle>
            <a:lvl1pPr>
              <a:defRPr sz="2000"/>
            </a:lvl1pPr>
          </a:lstStyle>
          <a:p>
            <a:r>
              <a:rPr lang="en-US" dirty="0"/>
              <a:t>Long quote or statement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8801EFD-1D0C-4B01-9216-7AA7682BA6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1658124"/>
            <a:ext cx="7416265" cy="4212121"/>
          </a:xfrm>
        </p:spPr>
        <p:txBody>
          <a:bodyPr>
            <a:normAutofit/>
          </a:bodyPr>
          <a:lstStyle>
            <a:lvl1pPr>
              <a:defRPr sz="2000"/>
            </a:lvl1pPr>
            <a:lvl2pPr marL="360000" indent="-180000">
              <a:defRPr sz="2000"/>
            </a:lvl2pPr>
            <a:lvl3pPr marL="540000" indent="-180000">
              <a:defRPr sz="2000"/>
            </a:lvl3pPr>
            <a:lvl4pPr marL="720000" indent="-180000">
              <a:defRPr sz="2000"/>
            </a:lvl4pPr>
            <a:lvl5pPr marL="900000" indent="-180000"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A51CFC2D-4EED-4396-8438-0C2947626BE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CC30481B-2807-4731-8EB0-4EF8CCB7F8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A814662A-DED0-404C-9321-D7DF9C0351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305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4 column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32263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B59B5D2-1146-488D-8CA2-73E4329E720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48587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264911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814029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wo line headline in bold with 4 columns</a:t>
            </a:r>
          </a:p>
        </p:txBody>
      </p:sp>
      <p:pic>
        <p:nvPicPr>
          <p:cNvPr id="14" name="Picture 1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D0C9EA0-2DC6-0542-A34A-D58498BDAC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204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3 column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03812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92244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524278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wo line headline in bold with 3 columns</a:t>
            </a:r>
          </a:p>
        </p:txBody>
      </p:sp>
      <p:pic>
        <p:nvPicPr>
          <p:cNvPr id="11" name="Picture 1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27F022B-4323-0443-A3F8-CC3BBBE34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65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headline in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26D8F05-CD14-4C93-AF2B-D1602EA95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5"/>
            <a:ext cx="5075238" cy="1007766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mall headline in bold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099905"/>
            <a:ext cx="5075238" cy="37798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9AA2542-C717-4281-8C53-DA013E47489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1" y="981075"/>
            <a:ext cx="5583238" cy="48990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28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headline in bold and conten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4044383"/>
            <a:ext cx="2519722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26D8F05-CD14-4C93-AF2B-D1602EA95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981075"/>
            <a:ext cx="11152373" cy="503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Small headline in bold</a:t>
            </a:r>
            <a:endParaRPr lang="en-GB" dirty="0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77555054-57C7-4453-B65F-3F350E8FBB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95794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B04D7CE5-8307-4E6B-9A09-D2186B5FD68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75928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719D30EB-F3D5-43DC-8691-560A331FC42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156063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2484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 headline in bold and conten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8AB9A5C-C8A6-DB47-B295-C8D8A75E00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405853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8AB9A5C-C8A6-DB47-B295-C8D8A75E00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3DFE527A-0BA0-4A42-90AC-1EA04959FCE0}"/>
              </a:ext>
            </a:extLst>
          </p:cNvPr>
          <p:cNvCxnSpPr/>
          <p:nvPr userDrawn="1"/>
        </p:nvCxnSpPr>
        <p:spPr>
          <a:xfrm>
            <a:off x="7032104" y="908720"/>
            <a:ext cx="0" cy="4970128"/>
          </a:xfrm>
          <a:prstGeom prst="line">
            <a:avLst/>
          </a:prstGeom>
          <a:ln w="12700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358C988A-925B-274D-82B0-1CF99FBEB542}"/>
              </a:ext>
            </a:extLst>
          </p:cNvPr>
          <p:cNvCxnSpPr>
            <a:cxnSpLocks/>
          </p:cNvCxnSpPr>
          <p:nvPr userDrawn="1"/>
        </p:nvCxnSpPr>
        <p:spPr>
          <a:xfrm>
            <a:off x="3575720" y="3501008"/>
            <a:ext cx="7128792" cy="0"/>
          </a:xfrm>
          <a:prstGeom prst="line">
            <a:avLst/>
          </a:prstGeom>
          <a:ln w="12700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09487E8B-BA67-B042-AB67-1A6BBCEE9CDA}"/>
              </a:ext>
            </a:extLst>
          </p:cNvPr>
          <p:cNvSpPr txBox="1"/>
          <p:nvPr userDrawn="1"/>
        </p:nvSpPr>
        <p:spPr>
          <a:xfrm>
            <a:off x="9099048" y="2350222"/>
            <a:ext cx="1119408" cy="9863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a-DK" sz="1000" dirty="0"/>
              <a:t>Development:	</a:t>
            </a:r>
          </a:p>
          <a:p>
            <a:pPr>
              <a:lnSpc>
                <a:spcPct val="150000"/>
              </a:lnSpc>
            </a:pPr>
            <a:r>
              <a:rPr lang="da-DK" sz="1000" dirty="0" err="1"/>
              <a:t>Financing</a:t>
            </a:r>
            <a:r>
              <a:rPr lang="da-DK" sz="1000" dirty="0"/>
              <a:t>:	</a:t>
            </a:r>
          </a:p>
          <a:p>
            <a:pPr>
              <a:lnSpc>
                <a:spcPct val="150000"/>
              </a:lnSpc>
            </a:pPr>
            <a:r>
              <a:rPr lang="da-DK" sz="1000" dirty="0"/>
              <a:t>Construction:</a:t>
            </a:r>
          </a:p>
          <a:p>
            <a:pPr>
              <a:lnSpc>
                <a:spcPct val="150000"/>
              </a:lnSpc>
            </a:pPr>
            <a:r>
              <a:rPr lang="da-DK" sz="1000" dirty="0"/>
              <a:t>Operation: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EECCCC6-E9AE-C64F-95C0-3DF9EB387D45}"/>
              </a:ext>
            </a:extLst>
          </p:cNvPr>
          <p:cNvSpPr txBox="1"/>
          <p:nvPr userDrawn="1"/>
        </p:nvSpPr>
        <p:spPr>
          <a:xfrm>
            <a:off x="5332500" y="2350222"/>
            <a:ext cx="1136977" cy="9863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a-DK" sz="1000" dirty="0"/>
              <a:t>Development:	</a:t>
            </a:r>
          </a:p>
          <a:p>
            <a:pPr>
              <a:lnSpc>
                <a:spcPct val="150000"/>
              </a:lnSpc>
            </a:pPr>
            <a:r>
              <a:rPr lang="da-DK" sz="1000" dirty="0" err="1"/>
              <a:t>Financing</a:t>
            </a:r>
            <a:r>
              <a:rPr lang="da-DK" sz="1000" dirty="0"/>
              <a:t>:	</a:t>
            </a:r>
          </a:p>
          <a:p>
            <a:pPr>
              <a:lnSpc>
                <a:spcPct val="150000"/>
              </a:lnSpc>
            </a:pPr>
            <a:r>
              <a:rPr lang="da-DK" sz="1000" dirty="0"/>
              <a:t>Construction:</a:t>
            </a:r>
          </a:p>
          <a:p>
            <a:pPr>
              <a:lnSpc>
                <a:spcPct val="150000"/>
              </a:lnSpc>
            </a:pPr>
            <a:r>
              <a:rPr lang="da-DK" sz="1000" dirty="0"/>
              <a:t>Operation:</a:t>
            </a: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26A071D4-8186-E14E-8CCF-9EA894D4EA82}"/>
              </a:ext>
            </a:extLst>
          </p:cNvPr>
          <p:cNvCxnSpPr>
            <a:cxnSpLocks/>
          </p:cNvCxnSpPr>
          <p:nvPr userDrawn="1"/>
        </p:nvCxnSpPr>
        <p:spPr>
          <a:xfrm>
            <a:off x="3575720" y="6051168"/>
            <a:ext cx="7128792" cy="0"/>
          </a:xfrm>
          <a:prstGeom prst="line">
            <a:avLst/>
          </a:prstGeom>
          <a:ln w="12700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35FA221D-69B4-C940-8E56-159561EE9B70}"/>
              </a:ext>
            </a:extLst>
          </p:cNvPr>
          <p:cNvSpPr txBox="1"/>
          <p:nvPr userDrawn="1"/>
        </p:nvSpPr>
        <p:spPr>
          <a:xfrm>
            <a:off x="9099048" y="4900382"/>
            <a:ext cx="1119408" cy="9863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a-DK" sz="1000" dirty="0"/>
              <a:t>Development:	</a:t>
            </a:r>
          </a:p>
          <a:p>
            <a:pPr>
              <a:lnSpc>
                <a:spcPct val="150000"/>
              </a:lnSpc>
            </a:pPr>
            <a:r>
              <a:rPr lang="da-DK" sz="1000" dirty="0" err="1"/>
              <a:t>Financing</a:t>
            </a:r>
            <a:r>
              <a:rPr lang="da-DK" sz="1000" dirty="0"/>
              <a:t>:	</a:t>
            </a:r>
          </a:p>
          <a:p>
            <a:pPr>
              <a:lnSpc>
                <a:spcPct val="150000"/>
              </a:lnSpc>
            </a:pPr>
            <a:r>
              <a:rPr lang="da-DK" sz="1000" dirty="0"/>
              <a:t>Construction:</a:t>
            </a:r>
          </a:p>
          <a:p>
            <a:pPr>
              <a:lnSpc>
                <a:spcPct val="150000"/>
              </a:lnSpc>
            </a:pPr>
            <a:r>
              <a:rPr lang="da-DK" sz="1000" dirty="0"/>
              <a:t>Operation: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9B542987-E2E7-524F-902B-AE6870F1FA63}"/>
              </a:ext>
            </a:extLst>
          </p:cNvPr>
          <p:cNvSpPr txBox="1"/>
          <p:nvPr userDrawn="1"/>
        </p:nvSpPr>
        <p:spPr>
          <a:xfrm>
            <a:off x="5332500" y="4900382"/>
            <a:ext cx="1136978" cy="9863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a-DK" sz="1000" dirty="0"/>
              <a:t>Development:	</a:t>
            </a:r>
          </a:p>
          <a:p>
            <a:pPr>
              <a:lnSpc>
                <a:spcPct val="150000"/>
              </a:lnSpc>
            </a:pPr>
            <a:r>
              <a:rPr lang="da-DK" sz="1000" dirty="0" err="1"/>
              <a:t>Financing</a:t>
            </a:r>
            <a:r>
              <a:rPr lang="da-DK" sz="1000" dirty="0"/>
              <a:t>:	</a:t>
            </a:r>
          </a:p>
          <a:p>
            <a:pPr>
              <a:lnSpc>
                <a:spcPct val="150000"/>
              </a:lnSpc>
            </a:pPr>
            <a:r>
              <a:rPr lang="da-DK" sz="1000" dirty="0"/>
              <a:t>Construction:</a:t>
            </a:r>
          </a:p>
          <a:p>
            <a:pPr>
              <a:lnSpc>
                <a:spcPct val="150000"/>
              </a:lnSpc>
            </a:pPr>
            <a:r>
              <a:rPr lang="da-DK" sz="1000" dirty="0"/>
              <a:t>Operation:</a:t>
            </a:r>
          </a:p>
        </p:txBody>
      </p:sp>
      <p:sp>
        <p:nvSpPr>
          <p:cNvPr id="95" name="Pladsholder til sidefod 4">
            <a:extLst>
              <a:ext uri="{FF2B5EF4-FFF2-40B4-BE49-F238E27FC236}">
                <a16:creationId xmlns:a16="http://schemas.microsoft.com/office/drawing/2014/main" id="{0D96D2A9-43C1-474D-9690-76F53D479B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380" y="180157"/>
            <a:ext cx="5075796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7" name="Title 6">
            <a:extLst>
              <a:ext uri="{FF2B5EF4-FFF2-40B4-BE49-F238E27FC236}">
                <a16:creationId xmlns:a16="http://schemas.microsoft.com/office/drawing/2014/main" id="{CF38A11C-24D6-2B4D-9123-CB4E277CE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2767188" cy="1832542"/>
          </a:xfrm>
        </p:spPr>
        <p:txBody>
          <a:bodyPr vert="horz"/>
          <a:lstStyle>
            <a:lvl1pPr>
              <a:defRPr sz="4800"/>
            </a:lvl1pPr>
          </a:lstStyle>
          <a:p>
            <a:r>
              <a:rPr lang="en-US" dirty="0"/>
              <a:t>Small headline in bold</a:t>
            </a:r>
            <a:endParaRPr lang="en-GB" dirty="0"/>
          </a:p>
        </p:txBody>
      </p:sp>
      <p:sp>
        <p:nvSpPr>
          <p:cNvPr id="101" name="Content Placeholder 8">
            <a:extLst>
              <a:ext uri="{FF2B5EF4-FFF2-40B4-BE49-F238E27FC236}">
                <a16:creationId xmlns:a16="http://schemas.microsoft.com/office/drawing/2014/main" id="{7DE16DC8-5D46-B746-8BE4-01EAE960483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2894091"/>
            <a:ext cx="2764894" cy="1832542"/>
          </a:xfrm>
        </p:spPr>
        <p:txBody>
          <a:bodyPr>
            <a:norm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  <a:lvl2pPr marL="0" indent="0">
              <a:buNone/>
              <a:defRPr sz="2000" b="0">
                <a:solidFill>
                  <a:schemeClr val="accent1"/>
                </a:solidFill>
              </a:defRPr>
            </a:lvl2pPr>
            <a:lvl3pPr marL="176213" indent="-107950">
              <a:defRPr sz="2000" b="0">
                <a:solidFill>
                  <a:schemeClr val="accent1"/>
                </a:solidFill>
              </a:defRPr>
            </a:lvl3pPr>
            <a:lvl4pPr marL="265113" indent="-107950">
              <a:defRPr sz="2000" b="0">
                <a:solidFill>
                  <a:schemeClr val="accent1"/>
                </a:solidFill>
              </a:defRPr>
            </a:lvl4pPr>
            <a:lvl5pPr marL="452438" indent="-107950">
              <a:defRPr sz="2000" b="0">
                <a:solidFill>
                  <a:schemeClr val="accent1"/>
                </a:solidFill>
              </a:defRPr>
            </a:lvl5pPr>
          </a:lstStyle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7" name="Picture Placeholder 105">
            <a:extLst>
              <a:ext uri="{FF2B5EF4-FFF2-40B4-BE49-F238E27FC236}">
                <a16:creationId xmlns:a16="http://schemas.microsoft.com/office/drawing/2014/main" id="{52A1BFD9-6716-514E-8044-6DAD8177135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72138" y="1235075"/>
            <a:ext cx="1065212" cy="1054100"/>
          </a:xfrm>
          <a:prstGeom prst="ellipse">
            <a:avLst/>
          </a:prstGeom>
          <a:solidFill>
            <a:schemeClr val="tx1"/>
          </a:solidFill>
        </p:spPr>
        <p:txBody>
          <a:bodyPr/>
          <a:lstStyle/>
          <a:p>
            <a:endParaRPr lang="en-GB"/>
          </a:p>
        </p:txBody>
      </p:sp>
      <p:sp>
        <p:nvSpPr>
          <p:cNvPr id="109" name="Picture Placeholder 105">
            <a:extLst>
              <a:ext uri="{FF2B5EF4-FFF2-40B4-BE49-F238E27FC236}">
                <a16:creationId xmlns:a16="http://schemas.microsoft.com/office/drawing/2014/main" id="{597264C2-02E3-6244-A5E6-68B46619139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573816" y="1156417"/>
            <a:ext cx="368974" cy="365125"/>
          </a:xfrm>
          <a:prstGeom prst="ellipse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a</a:t>
            </a:r>
          </a:p>
        </p:txBody>
      </p:sp>
      <p:sp>
        <p:nvSpPr>
          <p:cNvPr id="112" name="Picture Placeholder 105">
            <a:extLst>
              <a:ext uri="{FF2B5EF4-FFF2-40B4-BE49-F238E27FC236}">
                <a16:creationId xmlns:a16="http://schemas.microsoft.com/office/drawing/2014/main" id="{72A3C3DA-03A1-5C43-A641-A7D16305874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398564" y="1235075"/>
            <a:ext cx="1065212" cy="1054100"/>
          </a:xfrm>
          <a:prstGeom prst="ellipse">
            <a:avLst/>
          </a:prstGeom>
          <a:solidFill>
            <a:schemeClr val="tx1"/>
          </a:solidFill>
        </p:spPr>
        <p:txBody>
          <a:bodyPr/>
          <a:lstStyle/>
          <a:p>
            <a:endParaRPr lang="en-GB"/>
          </a:p>
        </p:txBody>
      </p:sp>
      <p:sp>
        <p:nvSpPr>
          <p:cNvPr id="113" name="Picture Placeholder 105">
            <a:extLst>
              <a:ext uri="{FF2B5EF4-FFF2-40B4-BE49-F238E27FC236}">
                <a16:creationId xmlns:a16="http://schemas.microsoft.com/office/drawing/2014/main" id="{10C217BE-0566-0442-8AA8-69C82F2DEF0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300242" y="1156417"/>
            <a:ext cx="368974" cy="365125"/>
          </a:xfrm>
          <a:prstGeom prst="ellipse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a</a:t>
            </a:r>
          </a:p>
        </p:txBody>
      </p:sp>
      <p:sp>
        <p:nvSpPr>
          <p:cNvPr id="118" name="Picture Placeholder 105">
            <a:extLst>
              <a:ext uri="{FF2B5EF4-FFF2-40B4-BE49-F238E27FC236}">
                <a16:creationId xmlns:a16="http://schemas.microsoft.com/office/drawing/2014/main" id="{1A126664-83B2-144A-A0D6-E9BC1A39951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672138" y="3811127"/>
            <a:ext cx="1065212" cy="1054100"/>
          </a:xfrm>
          <a:prstGeom prst="ellipse">
            <a:avLst/>
          </a:prstGeom>
          <a:solidFill>
            <a:schemeClr val="tx1"/>
          </a:solidFill>
        </p:spPr>
        <p:txBody>
          <a:bodyPr/>
          <a:lstStyle/>
          <a:p>
            <a:endParaRPr lang="en-GB"/>
          </a:p>
        </p:txBody>
      </p:sp>
      <p:sp>
        <p:nvSpPr>
          <p:cNvPr id="119" name="Picture Placeholder 105">
            <a:extLst>
              <a:ext uri="{FF2B5EF4-FFF2-40B4-BE49-F238E27FC236}">
                <a16:creationId xmlns:a16="http://schemas.microsoft.com/office/drawing/2014/main" id="{8EF35D4E-B548-844B-9EE7-83DE51CF89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573816" y="3732469"/>
            <a:ext cx="368974" cy="365125"/>
          </a:xfrm>
          <a:prstGeom prst="ellipse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a</a:t>
            </a:r>
          </a:p>
        </p:txBody>
      </p:sp>
      <p:sp>
        <p:nvSpPr>
          <p:cNvPr id="120" name="Picture Placeholder 105">
            <a:extLst>
              <a:ext uri="{FF2B5EF4-FFF2-40B4-BE49-F238E27FC236}">
                <a16:creationId xmlns:a16="http://schemas.microsoft.com/office/drawing/2014/main" id="{9885FA95-1A88-9E47-BC3D-587BE059E6E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98564" y="3811127"/>
            <a:ext cx="1065212" cy="1054100"/>
          </a:xfrm>
          <a:prstGeom prst="ellipse">
            <a:avLst/>
          </a:prstGeom>
          <a:solidFill>
            <a:schemeClr val="tx1"/>
          </a:solidFill>
        </p:spPr>
        <p:txBody>
          <a:bodyPr/>
          <a:lstStyle/>
          <a:p>
            <a:endParaRPr lang="en-GB"/>
          </a:p>
        </p:txBody>
      </p:sp>
      <p:sp>
        <p:nvSpPr>
          <p:cNvPr id="121" name="Picture Placeholder 105">
            <a:extLst>
              <a:ext uri="{FF2B5EF4-FFF2-40B4-BE49-F238E27FC236}">
                <a16:creationId xmlns:a16="http://schemas.microsoft.com/office/drawing/2014/main" id="{3DEE473D-FF3D-8142-BF61-35CEFFD27F2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00242" y="3732469"/>
            <a:ext cx="368974" cy="365125"/>
          </a:xfrm>
          <a:prstGeom prst="ellipse">
            <a:avLst/>
          </a:pr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a</a:t>
            </a:r>
          </a:p>
        </p:txBody>
      </p:sp>
      <p:sp>
        <p:nvSpPr>
          <p:cNvPr id="136" name="Text Placeholder 134">
            <a:extLst>
              <a:ext uri="{FF2B5EF4-FFF2-40B4-BE49-F238E27FC236}">
                <a16:creationId xmlns:a16="http://schemas.microsoft.com/office/drawing/2014/main" id="{0DE820FE-28CD-B440-AC14-CAD4E33968A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8238" y="2070100"/>
            <a:ext cx="1649412" cy="1233488"/>
          </a:xfrm>
        </p:spPr>
        <p:txBody>
          <a:bodyPr/>
          <a:lstStyle/>
          <a:p>
            <a:r>
              <a:rPr lang="da-DK" sz="1000" dirty="0"/>
              <a:t>Year: 	-</a:t>
            </a:r>
          </a:p>
          <a:p>
            <a:r>
              <a:rPr lang="da-DK" sz="1000" b="1" dirty="0"/>
              <a:t>Wind: 	-</a:t>
            </a:r>
          </a:p>
          <a:p>
            <a:r>
              <a:rPr lang="da-DK" sz="1000" b="1" dirty="0"/>
              <a:t>Solar: 	-</a:t>
            </a:r>
          </a:p>
          <a:p>
            <a:endParaRPr lang="da-DK" sz="1400" b="1" dirty="0"/>
          </a:p>
          <a:p>
            <a:r>
              <a:rPr lang="da-DK" sz="1000" b="1" dirty="0"/>
              <a:t>Turbines: </a:t>
            </a:r>
          </a:p>
          <a:p>
            <a:r>
              <a:rPr lang="da-DK" sz="1000" dirty="0"/>
              <a:t> </a:t>
            </a:r>
          </a:p>
        </p:txBody>
      </p:sp>
      <p:sp>
        <p:nvSpPr>
          <p:cNvPr id="138" name="Text Placeholder 134">
            <a:extLst>
              <a:ext uri="{FF2B5EF4-FFF2-40B4-BE49-F238E27FC236}">
                <a16:creationId xmlns:a16="http://schemas.microsoft.com/office/drawing/2014/main" id="{B30D92CC-6015-8E4C-99AC-DE031486CA5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78237" y="1214693"/>
            <a:ext cx="2023397" cy="855406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GB" dirty="0">
                <a:solidFill>
                  <a:schemeClr val="tx1"/>
                </a:solidFill>
              </a:rPr>
              <a:t>Wind Park </a:t>
            </a:r>
          </a:p>
          <a:p>
            <a:r>
              <a:rPr lang="en-GB" b="1" dirty="0" err="1">
                <a:solidFill>
                  <a:schemeClr val="tx1"/>
                </a:solidFill>
              </a:rPr>
              <a:t>Titel</a:t>
            </a:r>
            <a:endParaRPr lang="en-GB" b="1" dirty="0">
              <a:solidFill>
                <a:schemeClr val="tx1"/>
              </a:solidFill>
            </a:endParaRPr>
          </a:p>
        </p:txBody>
      </p:sp>
      <p:pic>
        <p:nvPicPr>
          <p:cNvPr id="144" name="Picture 143" descr="A picture containing monitor, sign, set&#10;&#10;Description automatically generated">
            <a:extLst>
              <a:ext uri="{FF2B5EF4-FFF2-40B4-BE49-F238E27FC236}">
                <a16:creationId xmlns:a16="http://schemas.microsoft.com/office/drawing/2014/main" id="{8336415C-5F5F-0C44-B522-6F7BB7B3BF5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3608" y="2341368"/>
            <a:ext cx="293608" cy="265195"/>
          </a:xfrm>
          <a:prstGeom prst="rect">
            <a:avLst/>
          </a:prstGeom>
        </p:spPr>
      </p:pic>
      <p:pic>
        <p:nvPicPr>
          <p:cNvPr id="145" name="Picture 144" descr="A picture containing monitor, sign, set&#10;&#10;Description automatically generated">
            <a:extLst>
              <a:ext uri="{FF2B5EF4-FFF2-40B4-BE49-F238E27FC236}">
                <a16:creationId xmlns:a16="http://schemas.microsoft.com/office/drawing/2014/main" id="{C4DB4F08-C47B-6A4A-B461-D29387C4A62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3608" y="2589461"/>
            <a:ext cx="293608" cy="265195"/>
          </a:xfrm>
          <a:prstGeom prst="rect">
            <a:avLst/>
          </a:prstGeom>
        </p:spPr>
      </p:pic>
      <p:pic>
        <p:nvPicPr>
          <p:cNvPr id="146" name="Picture 145" descr="A picture containing monitor, sign, set&#10;&#10;Description automatically generated">
            <a:extLst>
              <a:ext uri="{FF2B5EF4-FFF2-40B4-BE49-F238E27FC236}">
                <a16:creationId xmlns:a16="http://schemas.microsoft.com/office/drawing/2014/main" id="{A8A922E5-0BBD-AB4F-8EF0-38E6B719F4B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3608" y="2816289"/>
            <a:ext cx="293608" cy="265195"/>
          </a:xfrm>
          <a:prstGeom prst="rect">
            <a:avLst/>
          </a:prstGeom>
        </p:spPr>
      </p:pic>
      <p:pic>
        <p:nvPicPr>
          <p:cNvPr id="147" name="Picture 146" descr="A picture containing monitor, sign, set&#10;&#10;Description automatically generated">
            <a:extLst>
              <a:ext uri="{FF2B5EF4-FFF2-40B4-BE49-F238E27FC236}">
                <a16:creationId xmlns:a16="http://schemas.microsoft.com/office/drawing/2014/main" id="{09AB0937-B88D-624C-870F-09216EA4B02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3608" y="3043117"/>
            <a:ext cx="293608" cy="265195"/>
          </a:xfrm>
          <a:prstGeom prst="rect">
            <a:avLst/>
          </a:prstGeom>
        </p:spPr>
      </p:pic>
      <p:sp>
        <p:nvSpPr>
          <p:cNvPr id="150" name="Picture Placeholder 149">
            <a:extLst>
              <a:ext uri="{FF2B5EF4-FFF2-40B4-BE49-F238E27FC236}">
                <a16:creationId xmlns:a16="http://schemas.microsoft.com/office/drawing/2014/main" id="{2420F79D-6B39-3E4D-A528-CC2A8BF6B14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469063" y="2349500"/>
            <a:ext cx="268287" cy="239713"/>
          </a:xfrm>
          <a:blipFill>
            <a:blip r:embed="rId8"/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51" name="Picture Placeholder 149">
            <a:extLst>
              <a:ext uri="{FF2B5EF4-FFF2-40B4-BE49-F238E27FC236}">
                <a16:creationId xmlns:a16="http://schemas.microsoft.com/office/drawing/2014/main" id="{31254E1B-7CC1-BB45-823B-C58D9F5DEAE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469063" y="2604682"/>
            <a:ext cx="268287" cy="239713"/>
          </a:xfrm>
          <a:blipFill>
            <a:blip r:embed="rId8"/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52" name="Picture Placeholder 149">
            <a:extLst>
              <a:ext uri="{FF2B5EF4-FFF2-40B4-BE49-F238E27FC236}">
                <a16:creationId xmlns:a16="http://schemas.microsoft.com/office/drawing/2014/main" id="{E0F70679-D68B-904F-83E1-A8947A721389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469063" y="2831510"/>
            <a:ext cx="268287" cy="239713"/>
          </a:xfrm>
          <a:blipFill>
            <a:blip r:embed="rId8"/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53" name="Picture Placeholder 149">
            <a:extLst>
              <a:ext uri="{FF2B5EF4-FFF2-40B4-BE49-F238E27FC236}">
                <a16:creationId xmlns:a16="http://schemas.microsoft.com/office/drawing/2014/main" id="{2589D79A-E70E-E243-ACBE-269210393ED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469063" y="3065427"/>
            <a:ext cx="268287" cy="239713"/>
          </a:xfrm>
          <a:blipFill>
            <a:blip r:embed="rId8"/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64" name="Text Placeholder 134">
            <a:extLst>
              <a:ext uri="{FF2B5EF4-FFF2-40B4-BE49-F238E27FC236}">
                <a16:creationId xmlns:a16="http://schemas.microsoft.com/office/drawing/2014/main" id="{B6FBFD08-F289-0C46-8933-F32415645E9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371280" y="2070100"/>
            <a:ext cx="1649412" cy="1233488"/>
          </a:xfrm>
        </p:spPr>
        <p:txBody>
          <a:bodyPr/>
          <a:lstStyle/>
          <a:p>
            <a:r>
              <a:rPr lang="da-DK" sz="1000" dirty="0"/>
              <a:t>Year: 	-</a:t>
            </a:r>
          </a:p>
          <a:p>
            <a:r>
              <a:rPr lang="da-DK" sz="1000" b="1" dirty="0"/>
              <a:t>Wind: 	-</a:t>
            </a:r>
          </a:p>
          <a:p>
            <a:r>
              <a:rPr lang="da-DK" sz="1000" b="1" dirty="0"/>
              <a:t>Solar: 	-</a:t>
            </a:r>
          </a:p>
          <a:p>
            <a:endParaRPr lang="da-DK" sz="1400" b="1" dirty="0"/>
          </a:p>
          <a:p>
            <a:r>
              <a:rPr lang="da-DK" sz="1000" b="1" dirty="0"/>
              <a:t>Turbines: </a:t>
            </a:r>
          </a:p>
          <a:p>
            <a:r>
              <a:rPr lang="da-DK" sz="1000" dirty="0"/>
              <a:t> </a:t>
            </a:r>
          </a:p>
        </p:txBody>
      </p:sp>
      <p:sp>
        <p:nvSpPr>
          <p:cNvPr id="165" name="Text Placeholder 134">
            <a:extLst>
              <a:ext uri="{FF2B5EF4-FFF2-40B4-BE49-F238E27FC236}">
                <a16:creationId xmlns:a16="http://schemas.microsoft.com/office/drawing/2014/main" id="{23439BED-E131-B545-A1FD-08496386047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371279" y="1214693"/>
            <a:ext cx="2023397" cy="855406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GB" dirty="0">
                <a:solidFill>
                  <a:schemeClr val="tx1"/>
                </a:solidFill>
              </a:rPr>
              <a:t>Wind Park </a:t>
            </a:r>
          </a:p>
          <a:p>
            <a:r>
              <a:rPr lang="en-GB" b="1" dirty="0" err="1">
                <a:solidFill>
                  <a:schemeClr val="tx1"/>
                </a:solidFill>
              </a:rPr>
              <a:t>Titel</a:t>
            </a:r>
            <a:endParaRPr lang="en-GB" b="1" dirty="0">
              <a:solidFill>
                <a:schemeClr val="tx1"/>
              </a:solidFill>
            </a:endParaRPr>
          </a:p>
        </p:txBody>
      </p:sp>
      <p:pic>
        <p:nvPicPr>
          <p:cNvPr id="166" name="Picture 165" descr="A picture containing monitor, sign, set&#10;&#10;Description automatically generated">
            <a:extLst>
              <a:ext uri="{FF2B5EF4-FFF2-40B4-BE49-F238E27FC236}">
                <a16:creationId xmlns:a16="http://schemas.microsoft.com/office/drawing/2014/main" id="{D6A16BF2-51BB-7544-84A1-C8C64AFC19D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6650" y="2341368"/>
            <a:ext cx="293608" cy="265195"/>
          </a:xfrm>
          <a:prstGeom prst="rect">
            <a:avLst/>
          </a:prstGeom>
        </p:spPr>
      </p:pic>
      <p:pic>
        <p:nvPicPr>
          <p:cNvPr id="167" name="Picture 166" descr="A picture containing monitor, sign, set&#10;&#10;Description automatically generated">
            <a:extLst>
              <a:ext uri="{FF2B5EF4-FFF2-40B4-BE49-F238E27FC236}">
                <a16:creationId xmlns:a16="http://schemas.microsoft.com/office/drawing/2014/main" id="{707527E3-EC6A-0C45-990A-75E7D02B51A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6650" y="2589461"/>
            <a:ext cx="293608" cy="265195"/>
          </a:xfrm>
          <a:prstGeom prst="rect">
            <a:avLst/>
          </a:prstGeom>
        </p:spPr>
      </p:pic>
      <p:pic>
        <p:nvPicPr>
          <p:cNvPr id="168" name="Picture 167" descr="A picture containing monitor, sign, set&#10;&#10;Description automatically generated">
            <a:extLst>
              <a:ext uri="{FF2B5EF4-FFF2-40B4-BE49-F238E27FC236}">
                <a16:creationId xmlns:a16="http://schemas.microsoft.com/office/drawing/2014/main" id="{71F68E34-289F-6F42-9E62-5120D629F07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6650" y="2816289"/>
            <a:ext cx="293608" cy="265195"/>
          </a:xfrm>
          <a:prstGeom prst="rect">
            <a:avLst/>
          </a:prstGeom>
        </p:spPr>
      </p:pic>
      <p:pic>
        <p:nvPicPr>
          <p:cNvPr id="169" name="Picture 168" descr="A picture containing monitor, sign, set&#10;&#10;Description automatically generated">
            <a:extLst>
              <a:ext uri="{FF2B5EF4-FFF2-40B4-BE49-F238E27FC236}">
                <a16:creationId xmlns:a16="http://schemas.microsoft.com/office/drawing/2014/main" id="{365BAB39-65BD-1E41-A6C3-0CE2B277F08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6650" y="3043117"/>
            <a:ext cx="293608" cy="265195"/>
          </a:xfrm>
          <a:prstGeom prst="rect">
            <a:avLst/>
          </a:prstGeom>
        </p:spPr>
      </p:pic>
      <p:sp>
        <p:nvSpPr>
          <p:cNvPr id="170" name="Picture Placeholder 149">
            <a:extLst>
              <a:ext uri="{FF2B5EF4-FFF2-40B4-BE49-F238E27FC236}">
                <a16:creationId xmlns:a16="http://schemas.microsoft.com/office/drawing/2014/main" id="{69109405-BFC8-EE44-BD9B-17EC5996F51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10162105" y="2349500"/>
            <a:ext cx="268287" cy="239713"/>
          </a:xfrm>
          <a:blipFill>
            <a:blip r:embed="rId8"/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71" name="Picture Placeholder 149">
            <a:extLst>
              <a:ext uri="{FF2B5EF4-FFF2-40B4-BE49-F238E27FC236}">
                <a16:creationId xmlns:a16="http://schemas.microsoft.com/office/drawing/2014/main" id="{C721206F-7FC0-4B42-A992-14A91831E866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162105" y="2604682"/>
            <a:ext cx="268287" cy="239713"/>
          </a:xfrm>
          <a:blipFill>
            <a:blip r:embed="rId8"/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72" name="Picture Placeholder 149">
            <a:extLst>
              <a:ext uri="{FF2B5EF4-FFF2-40B4-BE49-F238E27FC236}">
                <a16:creationId xmlns:a16="http://schemas.microsoft.com/office/drawing/2014/main" id="{1C4B1CF0-AB5D-EF4A-BB32-C82E06D39AE8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10162105" y="2831510"/>
            <a:ext cx="268287" cy="239713"/>
          </a:xfrm>
          <a:blipFill>
            <a:blip r:embed="rId8"/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73" name="Picture Placeholder 149">
            <a:extLst>
              <a:ext uri="{FF2B5EF4-FFF2-40B4-BE49-F238E27FC236}">
                <a16:creationId xmlns:a16="http://schemas.microsoft.com/office/drawing/2014/main" id="{39F60898-5813-F248-9DED-89928311FA59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10162105" y="3065427"/>
            <a:ext cx="268287" cy="239713"/>
          </a:xfrm>
          <a:blipFill>
            <a:blip r:embed="rId8"/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4" name="Text Placeholder 134">
            <a:extLst>
              <a:ext uri="{FF2B5EF4-FFF2-40B4-BE49-F238E27FC236}">
                <a16:creationId xmlns:a16="http://schemas.microsoft.com/office/drawing/2014/main" id="{00310E2B-C388-C241-B77D-FE2456F3BCE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78238" y="4664444"/>
            <a:ext cx="1649412" cy="1233488"/>
          </a:xfrm>
        </p:spPr>
        <p:txBody>
          <a:bodyPr/>
          <a:lstStyle/>
          <a:p>
            <a:r>
              <a:rPr lang="da-DK" sz="1000" dirty="0"/>
              <a:t>Year: 	-</a:t>
            </a:r>
          </a:p>
          <a:p>
            <a:r>
              <a:rPr lang="da-DK" sz="1000" b="1" dirty="0"/>
              <a:t>Wind: 	-</a:t>
            </a:r>
          </a:p>
          <a:p>
            <a:r>
              <a:rPr lang="da-DK" sz="1000" b="1" dirty="0"/>
              <a:t>Solar: 	-</a:t>
            </a:r>
          </a:p>
          <a:p>
            <a:endParaRPr lang="da-DK" sz="1400" b="1" dirty="0"/>
          </a:p>
          <a:p>
            <a:r>
              <a:rPr lang="da-DK" sz="1000" b="1" dirty="0"/>
              <a:t>Turbines: </a:t>
            </a:r>
          </a:p>
          <a:p>
            <a:r>
              <a:rPr lang="da-DK" sz="1000" dirty="0"/>
              <a:t> </a:t>
            </a:r>
          </a:p>
        </p:txBody>
      </p:sp>
      <p:sp>
        <p:nvSpPr>
          <p:cNvPr id="195" name="Text Placeholder 134">
            <a:extLst>
              <a:ext uri="{FF2B5EF4-FFF2-40B4-BE49-F238E27FC236}">
                <a16:creationId xmlns:a16="http://schemas.microsoft.com/office/drawing/2014/main" id="{55C65889-3074-854D-B039-9700A43F941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678237" y="3809037"/>
            <a:ext cx="2023397" cy="855406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GB" dirty="0">
                <a:solidFill>
                  <a:schemeClr val="tx1"/>
                </a:solidFill>
              </a:rPr>
              <a:t>Wind Park </a:t>
            </a:r>
          </a:p>
          <a:p>
            <a:r>
              <a:rPr lang="en-GB" b="1" dirty="0" err="1">
                <a:solidFill>
                  <a:schemeClr val="tx1"/>
                </a:solidFill>
              </a:rPr>
              <a:t>Titel</a:t>
            </a:r>
            <a:endParaRPr lang="en-GB" b="1" dirty="0">
              <a:solidFill>
                <a:schemeClr val="tx1"/>
              </a:solidFill>
            </a:endParaRPr>
          </a:p>
        </p:txBody>
      </p:sp>
      <p:pic>
        <p:nvPicPr>
          <p:cNvPr id="196" name="Picture 195" descr="A picture containing monitor, sign, set&#10;&#10;Description automatically generated">
            <a:extLst>
              <a:ext uri="{FF2B5EF4-FFF2-40B4-BE49-F238E27FC236}">
                <a16:creationId xmlns:a16="http://schemas.microsoft.com/office/drawing/2014/main" id="{815933DE-33F4-B74A-BCB4-1D45A180CFA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3608" y="4935712"/>
            <a:ext cx="293608" cy="265195"/>
          </a:xfrm>
          <a:prstGeom prst="rect">
            <a:avLst/>
          </a:prstGeom>
        </p:spPr>
      </p:pic>
      <p:pic>
        <p:nvPicPr>
          <p:cNvPr id="197" name="Picture 196" descr="A picture containing monitor, sign, set&#10;&#10;Description automatically generated">
            <a:extLst>
              <a:ext uri="{FF2B5EF4-FFF2-40B4-BE49-F238E27FC236}">
                <a16:creationId xmlns:a16="http://schemas.microsoft.com/office/drawing/2014/main" id="{50D02FCA-8ACA-7846-84DC-45421CECDB9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3608" y="5183805"/>
            <a:ext cx="293608" cy="265195"/>
          </a:xfrm>
          <a:prstGeom prst="rect">
            <a:avLst/>
          </a:prstGeom>
        </p:spPr>
      </p:pic>
      <p:pic>
        <p:nvPicPr>
          <p:cNvPr id="198" name="Picture 197" descr="A picture containing monitor, sign, set&#10;&#10;Description automatically generated">
            <a:extLst>
              <a:ext uri="{FF2B5EF4-FFF2-40B4-BE49-F238E27FC236}">
                <a16:creationId xmlns:a16="http://schemas.microsoft.com/office/drawing/2014/main" id="{5CBA5222-ACEB-544F-A96B-192C3A10A0E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3608" y="5410633"/>
            <a:ext cx="293608" cy="265195"/>
          </a:xfrm>
          <a:prstGeom prst="rect">
            <a:avLst/>
          </a:prstGeom>
        </p:spPr>
      </p:pic>
      <p:pic>
        <p:nvPicPr>
          <p:cNvPr id="199" name="Picture 198" descr="A picture containing monitor, sign, set&#10;&#10;Description automatically generated">
            <a:extLst>
              <a:ext uri="{FF2B5EF4-FFF2-40B4-BE49-F238E27FC236}">
                <a16:creationId xmlns:a16="http://schemas.microsoft.com/office/drawing/2014/main" id="{368B7833-40E9-CF42-971B-30725E2CE5B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3608" y="5637461"/>
            <a:ext cx="293608" cy="265195"/>
          </a:xfrm>
          <a:prstGeom prst="rect">
            <a:avLst/>
          </a:prstGeom>
        </p:spPr>
      </p:pic>
      <p:sp>
        <p:nvSpPr>
          <p:cNvPr id="200" name="Picture Placeholder 149">
            <a:extLst>
              <a:ext uri="{FF2B5EF4-FFF2-40B4-BE49-F238E27FC236}">
                <a16:creationId xmlns:a16="http://schemas.microsoft.com/office/drawing/2014/main" id="{8304CC43-E2E4-354D-8DEF-8D1E102EDC96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6469063" y="4943844"/>
            <a:ext cx="268287" cy="239713"/>
          </a:xfrm>
          <a:blipFill>
            <a:blip r:embed="rId8"/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01" name="Picture Placeholder 149">
            <a:extLst>
              <a:ext uri="{FF2B5EF4-FFF2-40B4-BE49-F238E27FC236}">
                <a16:creationId xmlns:a16="http://schemas.microsoft.com/office/drawing/2014/main" id="{E8910522-6047-3048-8A5A-165F136B8FA9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6469063" y="5199026"/>
            <a:ext cx="268287" cy="239713"/>
          </a:xfrm>
          <a:blipFill>
            <a:blip r:embed="rId8"/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02" name="Picture Placeholder 149">
            <a:extLst>
              <a:ext uri="{FF2B5EF4-FFF2-40B4-BE49-F238E27FC236}">
                <a16:creationId xmlns:a16="http://schemas.microsoft.com/office/drawing/2014/main" id="{6A417A94-53A9-6641-A6C6-0D3566482F4C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6469063" y="5425854"/>
            <a:ext cx="268287" cy="239713"/>
          </a:xfrm>
          <a:blipFill>
            <a:blip r:embed="rId8"/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03" name="Picture Placeholder 149">
            <a:extLst>
              <a:ext uri="{FF2B5EF4-FFF2-40B4-BE49-F238E27FC236}">
                <a16:creationId xmlns:a16="http://schemas.microsoft.com/office/drawing/2014/main" id="{D8FD59A9-96F3-5A47-9E70-384344E77CF7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6469063" y="5659771"/>
            <a:ext cx="268287" cy="239713"/>
          </a:xfrm>
          <a:blipFill>
            <a:blip r:embed="rId8"/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04" name="Text Placeholder 134">
            <a:extLst>
              <a:ext uri="{FF2B5EF4-FFF2-40B4-BE49-F238E27FC236}">
                <a16:creationId xmlns:a16="http://schemas.microsoft.com/office/drawing/2014/main" id="{5CAD4D3F-101D-834F-9DC5-C79BF300ADC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371280" y="4664444"/>
            <a:ext cx="1649412" cy="1233488"/>
          </a:xfrm>
        </p:spPr>
        <p:txBody>
          <a:bodyPr/>
          <a:lstStyle/>
          <a:p>
            <a:r>
              <a:rPr lang="da-DK" sz="1000" dirty="0"/>
              <a:t>Year: 	-</a:t>
            </a:r>
          </a:p>
          <a:p>
            <a:r>
              <a:rPr lang="da-DK" sz="1000" b="1" dirty="0"/>
              <a:t>Wind: 	-</a:t>
            </a:r>
          </a:p>
          <a:p>
            <a:r>
              <a:rPr lang="da-DK" sz="1000" b="1" dirty="0"/>
              <a:t>Solar: 	-</a:t>
            </a:r>
          </a:p>
          <a:p>
            <a:endParaRPr lang="da-DK" sz="1400" b="1" dirty="0"/>
          </a:p>
          <a:p>
            <a:r>
              <a:rPr lang="da-DK" sz="1000" b="1" dirty="0"/>
              <a:t>Turbines: </a:t>
            </a:r>
          </a:p>
          <a:p>
            <a:r>
              <a:rPr lang="da-DK" sz="1000" dirty="0"/>
              <a:t> </a:t>
            </a:r>
          </a:p>
        </p:txBody>
      </p:sp>
      <p:sp>
        <p:nvSpPr>
          <p:cNvPr id="205" name="Text Placeholder 134">
            <a:extLst>
              <a:ext uri="{FF2B5EF4-FFF2-40B4-BE49-F238E27FC236}">
                <a16:creationId xmlns:a16="http://schemas.microsoft.com/office/drawing/2014/main" id="{E919B3DC-845A-0642-BC60-520475F6AC5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371279" y="3809037"/>
            <a:ext cx="2023397" cy="855406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GB" dirty="0">
                <a:solidFill>
                  <a:schemeClr val="tx1"/>
                </a:solidFill>
              </a:rPr>
              <a:t>Wind Park </a:t>
            </a:r>
          </a:p>
          <a:p>
            <a:r>
              <a:rPr lang="en-GB" b="1" dirty="0" err="1">
                <a:solidFill>
                  <a:schemeClr val="tx1"/>
                </a:solidFill>
              </a:rPr>
              <a:t>Titel</a:t>
            </a:r>
            <a:endParaRPr lang="en-GB" b="1" dirty="0">
              <a:solidFill>
                <a:schemeClr val="tx1"/>
              </a:solidFill>
            </a:endParaRPr>
          </a:p>
        </p:txBody>
      </p:sp>
      <p:pic>
        <p:nvPicPr>
          <p:cNvPr id="206" name="Picture 205" descr="A picture containing monitor, sign, set&#10;&#10;Description automatically generated">
            <a:extLst>
              <a:ext uri="{FF2B5EF4-FFF2-40B4-BE49-F238E27FC236}">
                <a16:creationId xmlns:a16="http://schemas.microsoft.com/office/drawing/2014/main" id="{CD0D93DE-A717-6040-8BC0-B7E5B5C3E67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6650" y="4935712"/>
            <a:ext cx="293608" cy="265195"/>
          </a:xfrm>
          <a:prstGeom prst="rect">
            <a:avLst/>
          </a:prstGeom>
        </p:spPr>
      </p:pic>
      <p:pic>
        <p:nvPicPr>
          <p:cNvPr id="207" name="Picture 206" descr="A picture containing monitor, sign, set&#10;&#10;Description automatically generated">
            <a:extLst>
              <a:ext uri="{FF2B5EF4-FFF2-40B4-BE49-F238E27FC236}">
                <a16:creationId xmlns:a16="http://schemas.microsoft.com/office/drawing/2014/main" id="{5ACF0143-5C3D-2F48-84D2-CAEF13C2F2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6650" y="5183805"/>
            <a:ext cx="293608" cy="265195"/>
          </a:xfrm>
          <a:prstGeom prst="rect">
            <a:avLst/>
          </a:prstGeom>
        </p:spPr>
      </p:pic>
      <p:pic>
        <p:nvPicPr>
          <p:cNvPr id="208" name="Picture 207" descr="A picture containing monitor, sign, set&#10;&#10;Description automatically generated">
            <a:extLst>
              <a:ext uri="{FF2B5EF4-FFF2-40B4-BE49-F238E27FC236}">
                <a16:creationId xmlns:a16="http://schemas.microsoft.com/office/drawing/2014/main" id="{48FC0815-3C50-3440-9135-4BFF3BF6550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6650" y="5410633"/>
            <a:ext cx="293608" cy="265195"/>
          </a:xfrm>
          <a:prstGeom prst="rect">
            <a:avLst/>
          </a:prstGeom>
        </p:spPr>
      </p:pic>
      <p:pic>
        <p:nvPicPr>
          <p:cNvPr id="209" name="Picture 208" descr="A picture containing monitor, sign, set&#10;&#10;Description automatically generated">
            <a:extLst>
              <a:ext uri="{FF2B5EF4-FFF2-40B4-BE49-F238E27FC236}">
                <a16:creationId xmlns:a16="http://schemas.microsoft.com/office/drawing/2014/main" id="{814C2C49-8F6C-DC41-8B2B-6B87DC4B4B3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6650" y="5637461"/>
            <a:ext cx="293608" cy="265195"/>
          </a:xfrm>
          <a:prstGeom prst="rect">
            <a:avLst/>
          </a:prstGeom>
        </p:spPr>
      </p:pic>
      <p:sp>
        <p:nvSpPr>
          <p:cNvPr id="210" name="Picture Placeholder 149">
            <a:extLst>
              <a:ext uri="{FF2B5EF4-FFF2-40B4-BE49-F238E27FC236}">
                <a16:creationId xmlns:a16="http://schemas.microsoft.com/office/drawing/2014/main" id="{0D9C4E9D-A11B-CB44-9DEC-72C5A8D42AB3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10162105" y="4943844"/>
            <a:ext cx="268287" cy="239713"/>
          </a:xfrm>
          <a:blipFill>
            <a:blip r:embed="rId8"/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11" name="Picture Placeholder 149">
            <a:extLst>
              <a:ext uri="{FF2B5EF4-FFF2-40B4-BE49-F238E27FC236}">
                <a16:creationId xmlns:a16="http://schemas.microsoft.com/office/drawing/2014/main" id="{AE69D555-01D3-FD40-91A5-2B38F3446A96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10162105" y="5199026"/>
            <a:ext cx="268287" cy="239713"/>
          </a:xfrm>
          <a:blipFill>
            <a:blip r:embed="rId8"/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12" name="Picture Placeholder 149">
            <a:extLst>
              <a:ext uri="{FF2B5EF4-FFF2-40B4-BE49-F238E27FC236}">
                <a16:creationId xmlns:a16="http://schemas.microsoft.com/office/drawing/2014/main" id="{39933A60-6F54-674A-935C-96CB959A1B5D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10162105" y="5425854"/>
            <a:ext cx="268287" cy="239713"/>
          </a:xfrm>
          <a:blipFill>
            <a:blip r:embed="rId8"/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13" name="Picture Placeholder 149">
            <a:extLst>
              <a:ext uri="{FF2B5EF4-FFF2-40B4-BE49-F238E27FC236}">
                <a16:creationId xmlns:a16="http://schemas.microsoft.com/office/drawing/2014/main" id="{5AB9D2CF-FABE-0747-9446-E45DFA0BF026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10162105" y="5659771"/>
            <a:ext cx="268287" cy="239713"/>
          </a:xfrm>
          <a:blipFill>
            <a:blip r:embed="rId8"/>
            <a:stretch>
              <a:fillRect/>
            </a:stretch>
          </a:blipFill>
        </p:spPr>
        <p:txBody>
          <a:bodyPr/>
          <a:lstStyle/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51992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DD6940C6-B75C-4626-A846-11CF21C73D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3792" y="3197822"/>
            <a:ext cx="3744415" cy="46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98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C85DBEA7-2E8B-453D-A224-CBE11F3BBB75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  <a:solidFill>
            <a:schemeClr val="accent1"/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media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0A9B70A-3508-4AD9-A258-2812223A2C10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5393532" y="2726532"/>
            <a:ext cx="1404936" cy="1404936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pPr lvl="0"/>
            <a:r>
              <a:rPr lang="en-US" dirty="0"/>
              <a:t>Play film</a:t>
            </a:r>
          </a:p>
        </p:txBody>
      </p:sp>
    </p:spTree>
    <p:extLst>
      <p:ext uri="{BB962C8B-B14F-4D97-AF65-F5344CB8AC3E}">
        <p14:creationId xmlns:p14="http://schemas.microsoft.com/office/powerpoint/2010/main" val="821824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DD6940C6-B75C-4626-A846-11CF21C73D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3792" y="3197822"/>
            <a:ext cx="3744416" cy="46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946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DD6940C6-B75C-4626-A846-11CF21C73D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3792" y="3197822"/>
            <a:ext cx="3744415" cy="46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25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DD6940C6-B75C-4626-A846-11CF21C73D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3792" y="3197822"/>
            <a:ext cx="3744415" cy="46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399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3FFAD509-3C5A-4F65-A8F5-EFA49E7D114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algn="ctr">
              <a:defRPr sz="2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dirty="0"/>
              <a:t>Drag and drop a picture, to this placeholder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4DC8FFF-668D-4348-BAB4-FEAF261F83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24000" y="3198600"/>
            <a:ext cx="3744000" cy="460800"/>
          </a:xfrm>
          <a:prstGeom prst="rect">
            <a:avLst/>
          </a:prstGeom>
          <a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6984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typografierne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master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0469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15" descr="Et billede, der indeholder mølle, tilbehør, vektorgrafik&#10;&#10;Automatisk genereret beskrivelse">
            <a:extLst>
              <a:ext uri="{FF2B5EF4-FFF2-40B4-BE49-F238E27FC236}">
                <a16:creationId xmlns:a16="http://schemas.microsoft.com/office/drawing/2014/main" id="{D6E8A0BD-B739-4778-80A5-487A8B6245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2508" y="0"/>
            <a:ext cx="12195614" cy="685800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4DC8FFF-668D-4348-BAB4-FEAF261F83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24000" y="3198600"/>
            <a:ext cx="3744000" cy="460800"/>
          </a:xfrm>
          <a:prstGeom prst="rect">
            <a:avLst/>
          </a:prstGeom>
          <a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702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typografierne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master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9066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s with text/background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916FDB6-985A-4325-8F16-CB4887DD7C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DBA50A1-B064-42AD-BA7E-9DC2FE1C85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DDB4FC4-2CE5-4347-8044-7A95CBEB8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400C19E-1109-477C-BFBC-59B9C2F23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B54C84-D28E-4EED-A341-62D42E032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old headlines with</a:t>
            </a:r>
            <a:br>
              <a:rPr lang="en-GB" dirty="0"/>
            </a:br>
            <a:r>
              <a:rPr lang="en-GB" dirty="0"/>
              <a:t>text/background imag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5B59C54-DAAA-4D56-B70A-664BE5F1AB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5075238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pic>
        <p:nvPicPr>
          <p:cNvPr id="12" name="Picture 1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6E302CE-C687-7F45-B58B-77683593AB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59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with 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 algn="ctr"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0"/>
            <a:ext cx="5083176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075238" cy="1439813"/>
          </a:xfrm>
        </p:spPr>
        <p:txBody>
          <a:bodyPr/>
          <a:lstStyle/>
          <a:p>
            <a:r>
              <a:rPr lang="en-GB" dirty="0"/>
              <a:t>Bold headline</a:t>
            </a:r>
            <a:br>
              <a:rPr lang="en-GB" dirty="0"/>
            </a:br>
            <a:r>
              <a:rPr lang="en-GB" dirty="0"/>
              <a:t>with text/image</a:t>
            </a:r>
          </a:p>
        </p:txBody>
      </p:sp>
    </p:spTree>
    <p:extLst>
      <p:ext uri="{BB962C8B-B14F-4D97-AF65-F5344CB8AC3E}">
        <p14:creationId xmlns:p14="http://schemas.microsoft.com/office/powerpoint/2010/main" val="42450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s well for longer headlines or less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accent1"/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1"/>
            <a:ext cx="5075238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328034" cy="1511822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Small headline in bold.</a:t>
            </a:r>
            <a:br>
              <a:rPr lang="en-GB" dirty="0"/>
            </a:br>
            <a:r>
              <a:rPr lang="en-GB" dirty="0"/>
              <a:t>This type works well for longer headlines or less space</a:t>
            </a:r>
          </a:p>
        </p:txBody>
      </p:sp>
    </p:spTree>
    <p:extLst>
      <p:ext uri="{BB962C8B-B14F-4D97-AF65-F5344CB8AC3E}">
        <p14:creationId xmlns:p14="http://schemas.microsoft.com/office/powerpoint/2010/main" val="1427816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with text/image background">
    <p:bg>
      <p:bgPr>
        <a:solidFill>
          <a:srgbClr val="F3CFB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0"/>
            <a:ext cx="5083176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075238" cy="1439813"/>
          </a:xfrm>
        </p:spPr>
        <p:txBody>
          <a:bodyPr/>
          <a:lstStyle/>
          <a:p>
            <a:r>
              <a:rPr lang="en-GB" dirty="0"/>
              <a:t>Bold headline</a:t>
            </a:r>
            <a:br>
              <a:rPr lang="en-GB" dirty="0"/>
            </a:br>
            <a:r>
              <a:rPr lang="en-GB" dirty="0"/>
              <a:t>with text/image</a:t>
            </a:r>
          </a:p>
        </p:txBody>
      </p:sp>
    </p:spTree>
    <p:extLst>
      <p:ext uri="{BB962C8B-B14F-4D97-AF65-F5344CB8AC3E}">
        <p14:creationId xmlns:p14="http://schemas.microsoft.com/office/powerpoint/2010/main" val="1805642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DD6940C6-B75C-4626-A846-11CF21C73D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3792" y="3197822"/>
            <a:ext cx="3744415" cy="46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105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s with bulle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0822" y="180157"/>
            <a:ext cx="507907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0825" y="2565400"/>
            <a:ext cx="5079069" cy="33115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0824" y="981074"/>
            <a:ext cx="5079071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old headlines</a:t>
            </a:r>
            <a:br>
              <a:rPr lang="en-US" dirty="0"/>
            </a:br>
            <a:r>
              <a:rPr lang="en-US" dirty="0"/>
              <a:t>with bullets</a:t>
            </a:r>
            <a:endParaRPr lang="en-GB" dirty="0"/>
          </a:p>
        </p:txBody>
      </p:sp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F2F5D09-2174-8948-B718-97A3B1048D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742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is is a big statem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/>
            </a:lvl1pPr>
          </a:lstStyle>
          <a:p>
            <a:r>
              <a:rPr lang="en-GB" dirty="0"/>
              <a:t>This is a big</a:t>
            </a:r>
            <a:br>
              <a:rPr lang="en-GB" dirty="0"/>
            </a:br>
            <a:r>
              <a:rPr lang="en-GB" dirty="0"/>
              <a:t>bold statement </a:t>
            </a:r>
            <a:br>
              <a:rPr lang="en-GB" dirty="0"/>
            </a:br>
            <a:r>
              <a:rPr lang="en-GB" dirty="0"/>
              <a:t>with impact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t>‹nr.›</a:t>
            </a:fld>
            <a:endParaRPr lang="en-GB" dirty="0"/>
          </a:p>
        </p:txBody>
      </p:sp>
      <p:pic>
        <p:nvPicPr>
          <p:cNvPr id="9" name="Billede 10">
            <a:extLst>
              <a:ext uri="{FF2B5EF4-FFF2-40B4-BE49-F238E27FC236}">
                <a16:creationId xmlns:a16="http://schemas.microsoft.com/office/drawing/2014/main" id="{8EF03521-54C8-4B82-8961-26B36D3A9C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170" y="6346800"/>
            <a:ext cx="1519660" cy="18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3311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newable is never alternativ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Renewable</a:t>
            </a:r>
            <a:br>
              <a:rPr lang="da-DK" dirty="0"/>
            </a:br>
            <a:r>
              <a:rPr lang="da-DK" dirty="0"/>
              <a:t>is never</a:t>
            </a:r>
            <a:br>
              <a:rPr lang="da-DK" dirty="0"/>
            </a:br>
            <a:r>
              <a:rPr lang="da-DK" dirty="0"/>
              <a:t>alternative</a:t>
            </a:r>
            <a:endParaRPr lang="en-GB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E990BAA-F8AF-E344-AE26-52A3EA6530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630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668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enewable is never altern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Renewable</a:t>
            </a:r>
            <a:br>
              <a:rPr lang="da-DK" dirty="0"/>
            </a:br>
            <a:r>
              <a:rPr lang="da-DK" dirty="0"/>
              <a:t>is never</a:t>
            </a:r>
            <a:br>
              <a:rPr lang="da-DK" dirty="0"/>
            </a:br>
            <a:r>
              <a:rPr lang="da-DK" dirty="0"/>
              <a:t>alternative</a:t>
            </a:r>
            <a:endParaRPr lang="en-GB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7" name="Picture 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F696EAD-5111-FD45-A7FE-5594649706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630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199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quote or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A8070CD-13DA-41D5-8601-72407D66E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379" y="1051160"/>
            <a:ext cx="7416265" cy="505632"/>
          </a:xfrm>
        </p:spPr>
        <p:txBody>
          <a:bodyPr anchor="t"/>
          <a:lstStyle>
            <a:lvl1pPr>
              <a:defRPr sz="2000"/>
            </a:lvl1pPr>
          </a:lstStyle>
          <a:p>
            <a:r>
              <a:rPr lang="en-US" dirty="0"/>
              <a:t>Long quote or statement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8801EFD-1D0C-4B01-9216-7AA7682BA6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1658124"/>
            <a:ext cx="7416265" cy="4212121"/>
          </a:xfrm>
        </p:spPr>
        <p:txBody>
          <a:bodyPr>
            <a:normAutofit/>
          </a:bodyPr>
          <a:lstStyle>
            <a:lvl1pPr>
              <a:defRPr sz="2000"/>
            </a:lvl1pPr>
            <a:lvl2pPr marL="360000" indent="-180000">
              <a:defRPr sz="2000"/>
            </a:lvl2pPr>
            <a:lvl3pPr marL="540000" indent="-180000">
              <a:defRPr sz="2000"/>
            </a:lvl3pPr>
            <a:lvl4pPr marL="720000" indent="-180000">
              <a:defRPr sz="2000"/>
            </a:lvl4pPr>
            <a:lvl5pPr marL="900000" indent="-180000"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A51CFC2D-4EED-4396-8438-0C2947626BE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CC30481B-2807-4731-8EB0-4EF8CCB7F8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A814662A-DED0-404C-9321-D7DF9C0351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7832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4 column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32263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B59B5D2-1146-488D-8CA2-73E4329E720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48587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264911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814029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wo line headline in bold with 4 columns</a:t>
            </a:r>
          </a:p>
        </p:txBody>
      </p:sp>
      <p:pic>
        <p:nvPicPr>
          <p:cNvPr id="14" name="Picture 1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D0C9EA0-2DC6-0542-A34A-D58498BDAC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422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3 column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03812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92244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524278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wo line headline in bold with 3 columns</a:t>
            </a:r>
          </a:p>
        </p:txBody>
      </p:sp>
      <p:pic>
        <p:nvPicPr>
          <p:cNvPr id="11" name="Picture 1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27F022B-4323-0443-A3F8-CC3BBBE34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886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headline in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26D8F05-CD14-4C93-AF2B-D1602EA95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5"/>
            <a:ext cx="5075238" cy="1007766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mall headline in bold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099905"/>
            <a:ext cx="5075238" cy="37798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9AA2542-C717-4281-8C53-DA013E47489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1" y="981075"/>
            <a:ext cx="5583238" cy="48990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0614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headline in bold and conten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4044383"/>
            <a:ext cx="2519722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26D8F05-CD14-4C93-AF2B-D1602EA95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981075"/>
            <a:ext cx="11152373" cy="503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Small headline in bold</a:t>
            </a:r>
            <a:endParaRPr lang="en-GB" dirty="0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77555054-57C7-4453-B65F-3F350E8FBB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95794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B04D7CE5-8307-4E6B-9A09-D2186B5FD68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75928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719D30EB-F3D5-43DC-8691-560A331FC42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156063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4203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C85DBEA7-2E8B-453D-A224-CBE11F3BBB75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  <a:solidFill>
            <a:schemeClr val="accent1"/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media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0A9B70A-3508-4AD9-A258-2812223A2C10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5393532" y="2726532"/>
            <a:ext cx="1404936" cy="1404936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pPr lvl="0"/>
            <a:r>
              <a:rPr lang="en-US" dirty="0"/>
              <a:t>Play film</a:t>
            </a:r>
          </a:p>
        </p:txBody>
      </p:sp>
    </p:spTree>
    <p:extLst>
      <p:ext uri="{BB962C8B-B14F-4D97-AF65-F5344CB8AC3E}">
        <p14:creationId xmlns:p14="http://schemas.microsoft.com/office/powerpoint/2010/main" val="2512118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3FFAD509-3C5A-4F65-A8F5-EFA49E7D114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algn="ctr">
              <a:defRPr sz="2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dirty="0"/>
              <a:t>Drag and drop a picture, to this placeholder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4DC8FFF-668D-4348-BAB4-FEAF261F83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24000" y="3198600"/>
            <a:ext cx="3744000" cy="460800"/>
          </a:xfrm>
          <a:prstGeom prst="rect">
            <a:avLst/>
          </a:prstGeom>
          <a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6984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typografierne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master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1504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51851" y="6356350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74A1B4"/>
                </a:solidFill>
              </a:defRPr>
            </a:lvl1pPr>
          </a:lstStyle>
          <a:p>
            <a:fld id="{F4943F07-E391-4C72-8266-57964B0323CF}" type="datetimeFigureOut">
              <a:rPr lang="en-US" smtClean="0"/>
              <a:pPr/>
              <a:t>8/10/2022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74A1B4"/>
                </a:solidFill>
              </a:defRPr>
            </a:lvl1pPr>
          </a:lstStyle>
          <a:p>
            <a:fld id="{5F400463-1924-4DF0-927A-DA08787EC12C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84690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DD6940C6-B75C-4626-A846-11CF21C73D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3792" y="3197822"/>
            <a:ext cx="3744416" cy="46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315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DD6940C6-B75C-4626-A846-11CF21C73D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3792" y="3197822"/>
            <a:ext cx="3744415" cy="46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374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DD6940C6-B75C-4626-A846-11CF21C73D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3792" y="3197822"/>
            <a:ext cx="3744415" cy="46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5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3FFAD509-3C5A-4F65-A8F5-EFA49E7D114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algn="ctr">
              <a:defRPr sz="2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dirty="0"/>
              <a:t>Drag and drop a picture, to this placeholder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4DC8FFF-668D-4348-BAB4-FEAF261F83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24000" y="3198600"/>
            <a:ext cx="3744000" cy="460800"/>
          </a:xfrm>
          <a:prstGeom prst="rect">
            <a:avLst/>
          </a:prstGeom>
          <a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6984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typografierne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master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0242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15" descr="Et billede, der indeholder mølle, tilbehør, vektorgrafik&#10;&#10;Automatisk genereret beskrivelse">
            <a:extLst>
              <a:ext uri="{FF2B5EF4-FFF2-40B4-BE49-F238E27FC236}">
                <a16:creationId xmlns:a16="http://schemas.microsoft.com/office/drawing/2014/main" id="{D6E8A0BD-B739-4778-80A5-487A8B6245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2508" y="0"/>
            <a:ext cx="12195614" cy="685800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4DC8FFF-668D-4348-BAB4-FEAF261F83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24000" y="3198600"/>
            <a:ext cx="3744000" cy="460800"/>
          </a:xfrm>
          <a:prstGeom prst="rect">
            <a:avLst/>
          </a:prstGeom>
          <a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702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typografierne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master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2898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s with text/background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916FDB6-985A-4325-8F16-CB4887DD7C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DBA50A1-B064-42AD-BA7E-9DC2FE1C85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DDB4FC4-2CE5-4347-8044-7A95CBEB8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400C19E-1109-477C-BFBC-59B9C2F23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B54C84-D28E-4EED-A341-62D42E032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old headlines with</a:t>
            </a:r>
            <a:br>
              <a:rPr lang="en-GB" dirty="0"/>
            </a:br>
            <a:r>
              <a:rPr lang="en-GB" dirty="0"/>
              <a:t>text/background imag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5B59C54-DAAA-4D56-B70A-664BE5F1AB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5075238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pic>
        <p:nvPicPr>
          <p:cNvPr id="12" name="Picture 1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6E302CE-C687-7F45-B58B-77683593AB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915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with 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 algn="ctr"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0"/>
            <a:ext cx="5083176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075238" cy="1439813"/>
          </a:xfrm>
        </p:spPr>
        <p:txBody>
          <a:bodyPr/>
          <a:lstStyle/>
          <a:p>
            <a:r>
              <a:rPr lang="en-GB" dirty="0"/>
              <a:t>Bold headline</a:t>
            </a:r>
            <a:br>
              <a:rPr lang="en-GB" dirty="0"/>
            </a:br>
            <a:r>
              <a:rPr lang="en-GB" dirty="0"/>
              <a:t>with text/image</a:t>
            </a:r>
          </a:p>
        </p:txBody>
      </p:sp>
    </p:spTree>
    <p:extLst>
      <p:ext uri="{BB962C8B-B14F-4D97-AF65-F5344CB8AC3E}">
        <p14:creationId xmlns:p14="http://schemas.microsoft.com/office/powerpoint/2010/main" val="300668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s well for longer headlines or less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accent1"/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1"/>
            <a:ext cx="5075238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328034" cy="1511822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Small headline in bold.</a:t>
            </a:r>
            <a:br>
              <a:rPr lang="en-GB" dirty="0"/>
            </a:br>
            <a:r>
              <a:rPr lang="en-GB" dirty="0"/>
              <a:t>This type works well for longer headlines or less space</a:t>
            </a:r>
          </a:p>
        </p:txBody>
      </p:sp>
    </p:spTree>
    <p:extLst>
      <p:ext uri="{BB962C8B-B14F-4D97-AF65-F5344CB8AC3E}">
        <p14:creationId xmlns:p14="http://schemas.microsoft.com/office/powerpoint/2010/main" val="3435772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with text/image background">
    <p:bg>
      <p:bgPr>
        <a:solidFill>
          <a:srgbClr val="F3CFB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0"/>
            <a:ext cx="5083176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075238" cy="1439813"/>
          </a:xfrm>
        </p:spPr>
        <p:txBody>
          <a:bodyPr/>
          <a:lstStyle/>
          <a:p>
            <a:r>
              <a:rPr lang="en-GB" dirty="0"/>
              <a:t>Bold headline</a:t>
            </a:r>
            <a:br>
              <a:rPr lang="en-GB" dirty="0"/>
            </a:br>
            <a:r>
              <a:rPr lang="en-GB" dirty="0"/>
              <a:t>with text/image</a:t>
            </a:r>
          </a:p>
        </p:txBody>
      </p:sp>
    </p:spTree>
    <p:extLst>
      <p:ext uri="{BB962C8B-B14F-4D97-AF65-F5344CB8AC3E}">
        <p14:creationId xmlns:p14="http://schemas.microsoft.com/office/powerpoint/2010/main" val="3800868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15" descr="Et billede, der indeholder mølle, tilbehør, vektorgrafik&#10;&#10;Automatisk genereret beskrivelse">
            <a:extLst>
              <a:ext uri="{FF2B5EF4-FFF2-40B4-BE49-F238E27FC236}">
                <a16:creationId xmlns:a16="http://schemas.microsoft.com/office/drawing/2014/main" id="{D6E8A0BD-B739-4778-80A5-487A8B6245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2508" y="0"/>
            <a:ext cx="12195614" cy="685800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4DC8FFF-668D-4348-BAB4-FEAF261F83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24000" y="3198600"/>
            <a:ext cx="3744000" cy="460800"/>
          </a:xfrm>
          <a:prstGeom prst="rect">
            <a:avLst/>
          </a:prstGeom>
          <a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702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typografierne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master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1357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s with bulle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0822" y="180157"/>
            <a:ext cx="507907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0825" y="2565400"/>
            <a:ext cx="5079069" cy="33115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0824" y="981074"/>
            <a:ext cx="5079071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old headlines</a:t>
            </a:r>
            <a:br>
              <a:rPr lang="en-US" dirty="0"/>
            </a:br>
            <a:r>
              <a:rPr lang="en-US" dirty="0"/>
              <a:t>with bullets</a:t>
            </a:r>
            <a:endParaRPr lang="en-GB" dirty="0"/>
          </a:p>
        </p:txBody>
      </p:sp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F2F5D09-2174-8948-B718-97A3B1048D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862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is is a big statem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/>
            </a:lvl1pPr>
          </a:lstStyle>
          <a:p>
            <a:r>
              <a:rPr lang="en-GB" dirty="0"/>
              <a:t>This is a big</a:t>
            </a:r>
            <a:br>
              <a:rPr lang="en-GB" dirty="0"/>
            </a:br>
            <a:r>
              <a:rPr lang="en-GB" dirty="0"/>
              <a:t>bold statement </a:t>
            </a:r>
            <a:br>
              <a:rPr lang="en-GB" dirty="0"/>
            </a:br>
            <a:r>
              <a:rPr lang="en-GB" dirty="0"/>
              <a:t>with impact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t>‹nr.›</a:t>
            </a:fld>
            <a:endParaRPr lang="en-GB" dirty="0"/>
          </a:p>
        </p:txBody>
      </p:sp>
      <p:pic>
        <p:nvPicPr>
          <p:cNvPr id="9" name="Billede 10">
            <a:extLst>
              <a:ext uri="{FF2B5EF4-FFF2-40B4-BE49-F238E27FC236}">
                <a16:creationId xmlns:a16="http://schemas.microsoft.com/office/drawing/2014/main" id="{8EF03521-54C8-4B82-8961-26B36D3A9C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170" y="6346800"/>
            <a:ext cx="1519660" cy="18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859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newable is never alternativ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Renewable</a:t>
            </a:r>
            <a:br>
              <a:rPr lang="da-DK" dirty="0"/>
            </a:br>
            <a:r>
              <a:rPr lang="da-DK" dirty="0"/>
              <a:t>is never</a:t>
            </a:r>
            <a:br>
              <a:rPr lang="da-DK" dirty="0"/>
            </a:br>
            <a:r>
              <a:rPr lang="da-DK" dirty="0"/>
              <a:t>alternative</a:t>
            </a:r>
            <a:endParaRPr lang="en-GB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E990BAA-F8AF-E344-AE26-52A3EA6530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630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685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enewable is never altern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Renewable</a:t>
            </a:r>
            <a:br>
              <a:rPr lang="da-DK" dirty="0"/>
            </a:br>
            <a:r>
              <a:rPr lang="da-DK" dirty="0"/>
              <a:t>is never</a:t>
            </a:r>
            <a:br>
              <a:rPr lang="da-DK" dirty="0"/>
            </a:br>
            <a:r>
              <a:rPr lang="da-DK" dirty="0"/>
              <a:t>alternative</a:t>
            </a:r>
            <a:endParaRPr lang="en-GB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7" name="Picture 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F696EAD-5111-FD45-A7FE-5594649706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630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404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quote or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A8070CD-13DA-41D5-8601-72407D66E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379" y="1051160"/>
            <a:ext cx="7416265" cy="505632"/>
          </a:xfrm>
        </p:spPr>
        <p:txBody>
          <a:bodyPr anchor="t"/>
          <a:lstStyle>
            <a:lvl1pPr>
              <a:defRPr sz="2000"/>
            </a:lvl1pPr>
          </a:lstStyle>
          <a:p>
            <a:r>
              <a:rPr lang="en-US" dirty="0"/>
              <a:t>Long quote or statement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8801EFD-1D0C-4B01-9216-7AA7682BA6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1658124"/>
            <a:ext cx="7416265" cy="4212121"/>
          </a:xfrm>
        </p:spPr>
        <p:txBody>
          <a:bodyPr>
            <a:normAutofit/>
          </a:bodyPr>
          <a:lstStyle>
            <a:lvl1pPr>
              <a:defRPr sz="2000"/>
            </a:lvl1pPr>
            <a:lvl2pPr marL="360000" indent="-180000">
              <a:defRPr sz="2000"/>
            </a:lvl2pPr>
            <a:lvl3pPr marL="540000" indent="-180000">
              <a:defRPr sz="2000"/>
            </a:lvl3pPr>
            <a:lvl4pPr marL="720000" indent="-180000">
              <a:defRPr sz="2000"/>
            </a:lvl4pPr>
            <a:lvl5pPr marL="900000" indent="-180000"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A51CFC2D-4EED-4396-8438-0C2947626BE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CC30481B-2807-4731-8EB0-4EF8CCB7F8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A814662A-DED0-404C-9321-D7DF9C0351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8260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4 column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32263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B59B5D2-1146-488D-8CA2-73E4329E720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48587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264911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814029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wo line headline in bold with 4 columns</a:t>
            </a:r>
          </a:p>
        </p:txBody>
      </p:sp>
      <p:pic>
        <p:nvPicPr>
          <p:cNvPr id="14" name="Picture 1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D0C9EA0-2DC6-0542-A34A-D58498BDAC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259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3 column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03812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92244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524278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wo line headline in bold with 3 columns</a:t>
            </a:r>
          </a:p>
        </p:txBody>
      </p:sp>
      <p:pic>
        <p:nvPicPr>
          <p:cNvPr id="11" name="Picture 1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27F022B-4323-0443-A3F8-CC3BBBE34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389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headline in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26D8F05-CD14-4C93-AF2B-D1602EA95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5"/>
            <a:ext cx="5075238" cy="1007766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mall headline in bold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099905"/>
            <a:ext cx="5075238" cy="37798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9AA2542-C717-4281-8C53-DA013E47489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1" y="981075"/>
            <a:ext cx="5583238" cy="48990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1721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headline in bold and conten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4044383"/>
            <a:ext cx="2519722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26D8F05-CD14-4C93-AF2B-D1602EA95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981075"/>
            <a:ext cx="11152373" cy="503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Small headline in bold</a:t>
            </a:r>
            <a:endParaRPr lang="en-GB" dirty="0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77555054-57C7-4453-B65F-3F350E8FBB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95794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B04D7CE5-8307-4E6B-9A09-D2186B5FD68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75928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719D30EB-F3D5-43DC-8691-560A331FC42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156063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256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C85DBEA7-2E8B-453D-A224-CBE11F3BBB75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  <a:solidFill>
            <a:schemeClr val="accent1"/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media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0A9B70A-3508-4AD9-A258-2812223A2C10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5393532" y="2726532"/>
            <a:ext cx="1404936" cy="1404936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pPr lvl="0"/>
            <a:r>
              <a:rPr lang="en-US" dirty="0"/>
              <a:t>Play film</a:t>
            </a:r>
          </a:p>
        </p:txBody>
      </p:sp>
    </p:spTree>
    <p:extLst>
      <p:ext uri="{BB962C8B-B14F-4D97-AF65-F5344CB8AC3E}">
        <p14:creationId xmlns:p14="http://schemas.microsoft.com/office/powerpoint/2010/main" val="1922480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s with text/background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916FDB6-985A-4325-8F16-CB4887DD7C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DBA50A1-B064-42AD-BA7E-9DC2FE1C85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DDB4FC4-2CE5-4347-8044-7A95CBEB8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400C19E-1109-477C-BFBC-59B9C2F23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B54C84-D28E-4EED-A341-62D42E032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old headlines with</a:t>
            </a:r>
            <a:br>
              <a:rPr lang="en-GB" dirty="0"/>
            </a:br>
            <a:r>
              <a:rPr lang="en-GB" dirty="0"/>
              <a:t>text/background imag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5B59C54-DAAA-4D56-B70A-664BE5F1AB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5075238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pic>
        <p:nvPicPr>
          <p:cNvPr id="12" name="Picture 1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6E302CE-C687-7F45-B58B-77683593AB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906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DD6940C6-B75C-4626-A846-11CF21C73D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3792" y="3197822"/>
            <a:ext cx="3744416" cy="46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275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DD6940C6-B75C-4626-A846-11CF21C73D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3792" y="3197822"/>
            <a:ext cx="3744415" cy="46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887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DD6940C6-B75C-4626-A846-11CF21C73D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3792" y="3197822"/>
            <a:ext cx="3744415" cy="46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599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3FFAD509-3C5A-4F65-A8F5-EFA49E7D114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algn="ctr">
              <a:defRPr sz="2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dirty="0"/>
              <a:t>Drag and drop a picture, to this placeholder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4DC8FFF-668D-4348-BAB4-FEAF261F83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24000" y="3198600"/>
            <a:ext cx="3744000" cy="460800"/>
          </a:xfrm>
          <a:prstGeom prst="rect">
            <a:avLst/>
          </a:prstGeom>
          <a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6984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typografierne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master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0204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15" descr="Et billede, der indeholder mølle, tilbehør, vektorgrafik&#10;&#10;Automatisk genereret beskrivelse">
            <a:extLst>
              <a:ext uri="{FF2B5EF4-FFF2-40B4-BE49-F238E27FC236}">
                <a16:creationId xmlns:a16="http://schemas.microsoft.com/office/drawing/2014/main" id="{D6E8A0BD-B739-4778-80A5-487A8B6245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2508" y="0"/>
            <a:ext cx="12195614" cy="685800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4DC8FFF-668D-4348-BAB4-FEAF261F83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24000" y="3198600"/>
            <a:ext cx="3744000" cy="460800"/>
          </a:xfrm>
          <a:prstGeom prst="rect">
            <a:avLst/>
          </a:prstGeom>
          <a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702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typografierne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master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7945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s with text/background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916FDB6-985A-4325-8F16-CB4887DD7C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DBA50A1-B064-42AD-BA7E-9DC2FE1C85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DDB4FC4-2CE5-4347-8044-7A95CBEB8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400C19E-1109-477C-BFBC-59B9C2F23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B54C84-D28E-4EED-A341-62D42E032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old headlines with</a:t>
            </a:r>
            <a:br>
              <a:rPr lang="en-GB" dirty="0"/>
            </a:br>
            <a:r>
              <a:rPr lang="en-GB" dirty="0"/>
              <a:t>text/background imag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5B59C54-DAAA-4D56-B70A-664BE5F1AB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5075238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pic>
        <p:nvPicPr>
          <p:cNvPr id="12" name="Picture 1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6E302CE-C687-7F45-B58B-77683593AB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637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with 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 algn="ctr"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0"/>
            <a:ext cx="5083176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075238" cy="1439813"/>
          </a:xfrm>
        </p:spPr>
        <p:txBody>
          <a:bodyPr/>
          <a:lstStyle/>
          <a:p>
            <a:r>
              <a:rPr lang="en-GB" dirty="0"/>
              <a:t>Bold headline</a:t>
            </a:r>
            <a:br>
              <a:rPr lang="en-GB" dirty="0"/>
            </a:br>
            <a:r>
              <a:rPr lang="en-GB" dirty="0"/>
              <a:t>with text/image</a:t>
            </a:r>
          </a:p>
        </p:txBody>
      </p:sp>
    </p:spTree>
    <p:extLst>
      <p:ext uri="{BB962C8B-B14F-4D97-AF65-F5344CB8AC3E}">
        <p14:creationId xmlns:p14="http://schemas.microsoft.com/office/powerpoint/2010/main" val="394832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s well for longer headlines or less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accent1"/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1"/>
            <a:ext cx="5075238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328034" cy="1511822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Small headline in bold.</a:t>
            </a:r>
            <a:br>
              <a:rPr lang="en-GB" dirty="0"/>
            </a:br>
            <a:r>
              <a:rPr lang="en-GB" dirty="0"/>
              <a:t>This type works well for longer headlines or less space</a:t>
            </a:r>
          </a:p>
        </p:txBody>
      </p:sp>
    </p:spTree>
    <p:extLst>
      <p:ext uri="{BB962C8B-B14F-4D97-AF65-F5344CB8AC3E}">
        <p14:creationId xmlns:p14="http://schemas.microsoft.com/office/powerpoint/2010/main" val="2495561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with text/image background">
    <p:bg>
      <p:bgPr>
        <a:solidFill>
          <a:srgbClr val="F3CFB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0"/>
            <a:ext cx="5083176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075238" cy="1439813"/>
          </a:xfrm>
        </p:spPr>
        <p:txBody>
          <a:bodyPr/>
          <a:lstStyle/>
          <a:p>
            <a:r>
              <a:rPr lang="en-GB" dirty="0"/>
              <a:t>Bold headline</a:t>
            </a:r>
            <a:br>
              <a:rPr lang="en-GB" dirty="0"/>
            </a:br>
            <a:r>
              <a:rPr lang="en-GB" dirty="0"/>
              <a:t>with text/image</a:t>
            </a:r>
          </a:p>
        </p:txBody>
      </p:sp>
    </p:spTree>
    <p:extLst>
      <p:ext uri="{BB962C8B-B14F-4D97-AF65-F5344CB8AC3E}">
        <p14:creationId xmlns:p14="http://schemas.microsoft.com/office/powerpoint/2010/main" val="1303939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s with bulle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0822" y="180157"/>
            <a:ext cx="507907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0825" y="2565400"/>
            <a:ext cx="5079069" cy="33115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0824" y="981074"/>
            <a:ext cx="5079071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old headlines</a:t>
            </a:r>
            <a:br>
              <a:rPr lang="en-US" dirty="0"/>
            </a:br>
            <a:r>
              <a:rPr lang="en-US" dirty="0"/>
              <a:t>with bullets</a:t>
            </a:r>
            <a:endParaRPr lang="en-GB" dirty="0"/>
          </a:p>
        </p:txBody>
      </p:sp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F2F5D09-2174-8948-B718-97A3B1048D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765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with 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 algn="ctr"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0"/>
            <a:ext cx="5083176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075238" cy="1439813"/>
          </a:xfrm>
        </p:spPr>
        <p:txBody>
          <a:bodyPr/>
          <a:lstStyle/>
          <a:p>
            <a:r>
              <a:rPr lang="en-GB" dirty="0"/>
              <a:t>Bold headline</a:t>
            </a:r>
            <a:br>
              <a:rPr lang="en-GB" dirty="0"/>
            </a:br>
            <a:r>
              <a:rPr lang="en-GB" dirty="0"/>
              <a:t>with text/image</a:t>
            </a:r>
          </a:p>
        </p:txBody>
      </p:sp>
    </p:spTree>
    <p:extLst>
      <p:ext uri="{BB962C8B-B14F-4D97-AF65-F5344CB8AC3E}">
        <p14:creationId xmlns:p14="http://schemas.microsoft.com/office/powerpoint/2010/main" val="2189053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is is a big statem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/>
            </a:lvl1pPr>
          </a:lstStyle>
          <a:p>
            <a:r>
              <a:rPr lang="en-GB" dirty="0"/>
              <a:t>This is a big</a:t>
            </a:r>
            <a:br>
              <a:rPr lang="en-GB" dirty="0"/>
            </a:br>
            <a:r>
              <a:rPr lang="en-GB" dirty="0"/>
              <a:t>bold statement </a:t>
            </a:r>
            <a:br>
              <a:rPr lang="en-GB" dirty="0"/>
            </a:br>
            <a:r>
              <a:rPr lang="en-GB" dirty="0"/>
              <a:t>with impact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t>‹nr.›</a:t>
            </a:fld>
            <a:endParaRPr lang="en-GB" dirty="0"/>
          </a:p>
        </p:txBody>
      </p:sp>
      <p:pic>
        <p:nvPicPr>
          <p:cNvPr id="9" name="Billede 10">
            <a:extLst>
              <a:ext uri="{FF2B5EF4-FFF2-40B4-BE49-F238E27FC236}">
                <a16:creationId xmlns:a16="http://schemas.microsoft.com/office/drawing/2014/main" id="{8EF03521-54C8-4B82-8961-26B36D3A9C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170" y="6346800"/>
            <a:ext cx="1519660" cy="18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47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newable is never alternativ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Renewable</a:t>
            </a:r>
            <a:br>
              <a:rPr lang="da-DK" dirty="0"/>
            </a:br>
            <a:r>
              <a:rPr lang="da-DK" dirty="0"/>
              <a:t>is never</a:t>
            </a:r>
            <a:br>
              <a:rPr lang="da-DK" dirty="0"/>
            </a:br>
            <a:r>
              <a:rPr lang="da-DK" dirty="0"/>
              <a:t>alternative</a:t>
            </a:r>
            <a:endParaRPr lang="en-GB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E990BAA-F8AF-E344-AE26-52A3EA6530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630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103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enewable is never altern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Renewable</a:t>
            </a:r>
            <a:br>
              <a:rPr lang="da-DK" dirty="0"/>
            </a:br>
            <a:r>
              <a:rPr lang="da-DK" dirty="0"/>
              <a:t>is never</a:t>
            </a:r>
            <a:br>
              <a:rPr lang="da-DK" dirty="0"/>
            </a:br>
            <a:r>
              <a:rPr lang="da-DK" dirty="0"/>
              <a:t>alternative</a:t>
            </a:r>
            <a:endParaRPr lang="en-GB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7" name="Picture 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F696EAD-5111-FD45-A7FE-5594649706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630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13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quote or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A8070CD-13DA-41D5-8601-72407D66E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379" y="1051160"/>
            <a:ext cx="7416265" cy="505632"/>
          </a:xfrm>
        </p:spPr>
        <p:txBody>
          <a:bodyPr anchor="t"/>
          <a:lstStyle>
            <a:lvl1pPr>
              <a:defRPr sz="2000"/>
            </a:lvl1pPr>
          </a:lstStyle>
          <a:p>
            <a:r>
              <a:rPr lang="en-US" dirty="0"/>
              <a:t>Long quote or statement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8801EFD-1D0C-4B01-9216-7AA7682BA6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1658124"/>
            <a:ext cx="7416265" cy="4212121"/>
          </a:xfrm>
        </p:spPr>
        <p:txBody>
          <a:bodyPr>
            <a:normAutofit/>
          </a:bodyPr>
          <a:lstStyle>
            <a:lvl1pPr>
              <a:defRPr sz="2000"/>
            </a:lvl1pPr>
            <a:lvl2pPr marL="360000" indent="-180000">
              <a:defRPr sz="2000"/>
            </a:lvl2pPr>
            <a:lvl3pPr marL="540000" indent="-180000">
              <a:defRPr sz="2000"/>
            </a:lvl3pPr>
            <a:lvl4pPr marL="720000" indent="-180000">
              <a:defRPr sz="2000"/>
            </a:lvl4pPr>
            <a:lvl5pPr marL="900000" indent="-180000"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A51CFC2D-4EED-4396-8438-0C2947626BE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CC30481B-2807-4731-8EB0-4EF8CCB7F8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A814662A-DED0-404C-9321-D7DF9C0351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9647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4 column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32263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B59B5D2-1146-488D-8CA2-73E4329E720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48587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264911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814029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wo line headline in bold with 4 columns</a:t>
            </a:r>
          </a:p>
        </p:txBody>
      </p:sp>
      <p:pic>
        <p:nvPicPr>
          <p:cNvPr id="14" name="Picture 1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D0C9EA0-2DC6-0542-A34A-D58498BDAC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154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3 column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03812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92244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524278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wo line headline in bold with 3 columns</a:t>
            </a:r>
          </a:p>
        </p:txBody>
      </p:sp>
      <p:pic>
        <p:nvPicPr>
          <p:cNvPr id="11" name="Picture 1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27F022B-4323-0443-A3F8-CC3BBBE34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51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headline in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26D8F05-CD14-4C93-AF2B-D1602EA95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5"/>
            <a:ext cx="5075238" cy="1007766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mall headline in bold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099905"/>
            <a:ext cx="5075238" cy="37798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9AA2542-C717-4281-8C53-DA013E47489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1" y="981075"/>
            <a:ext cx="5583238" cy="48990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5777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headline in bold and conten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4044383"/>
            <a:ext cx="2519722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26D8F05-CD14-4C93-AF2B-D1602EA95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981075"/>
            <a:ext cx="11152373" cy="503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Small headline in bold</a:t>
            </a:r>
            <a:endParaRPr lang="en-GB" dirty="0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77555054-57C7-4453-B65F-3F350E8FBB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95794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B04D7CE5-8307-4E6B-9A09-D2186B5FD68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75928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719D30EB-F3D5-43DC-8691-560A331FC42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156063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124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C85DBEA7-2E8B-453D-A224-CBE11F3BBB75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  <a:solidFill>
            <a:schemeClr val="accent1"/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media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0A9B70A-3508-4AD9-A258-2812223A2C10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5393532" y="2726532"/>
            <a:ext cx="1404936" cy="1404936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pPr lvl="0"/>
            <a:r>
              <a:rPr lang="en-US" dirty="0"/>
              <a:t>Play film</a:t>
            </a:r>
          </a:p>
        </p:txBody>
      </p:sp>
    </p:spTree>
    <p:extLst>
      <p:ext uri="{BB962C8B-B14F-4D97-AF65-F5344CB8AC3E}">
        <p14:creationId xmlns:p14="http://schemas.microsoft.com/office/powerpoint/2010/main" val="1405245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51851" y="6356350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74A1B4"/>
                </a:solidFill>
              </a:defRPr>
            </a:lvl1pPr>
          </a:lstStyle>
          <a:p>
            <a:fld id="{F4943F07-E391-4C72-8266-57964B0323CF}" type="datetimeFigureOut">
              <a:rPr lang="en-US" smtClean="0"/>
              <a:pPr/>
              <a:t>8/10/2022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74A1B4"/>
                </a:solidFill>
              </a:defRPr>
            </a:lvl1pPr>
          </a:lstStyle>
          <a:p>
            <a:fld id="{5F400463-1924-4DF0-927A-DA08787EC12C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5018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s well for longer headlines or less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accent1"/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1"/>
            <a:ext cx="5075238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328034" cy="1511822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Small headline in bold.</a:t>
            </a:r>
            <a:br>
              <a:rPr lang="en-GB" dirty="0"/>
            </a:br>
            <a:r>
              <a:rPr lang="en-GB" dirty="0"/>
              <a:t>This type works well for longer headlines or less space</a:t>
            </a:r>
          </a:p>
        </p:txBody>
      </p:sp>
    </p:spTree>
    <p:extLst>
      <p:ext uri="{BB962C8B-B14F-4D97-AF65-F5344CB8AC3E}">
        <p14:creationId xmlns:p14="http://schemas.microsoft.com/office/powerpoint/2010/main" val="980785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DD6940C6-B75C-4626-A846-11CF21C73D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3792" y="3197822"/>
            <a:ext cx="3744416" cy="46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55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DD6940C6-B75C-4626-A846-11CF21C73D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3792" y="3197822"/>
            <a:ext cx="3744415" cy="46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834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DD6940C6-B75C-4626-A846-11CF21C73D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3792" y="3197822"/>
            <a:ext cx="3744415" cy="46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292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3FFAD509-3C5A-4F65-A8F5-EFA49E7D114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algn="ctr">
              <a:defRPr sz="2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 dirty="0"/>
              <a:t>Drag and drop a picture, to this placeholder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4DC8FFF-668D-4348-BAB4-FEAF261F83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24000" y="3198600"/>
            <a:ext cx="3744000" cy="460800"/>
          </a:xfrm>
          <a:prstGeom prst="rect">
            <a:avLst/>
          </a:prstGeom>
          <a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6984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typografierne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master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9799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15" descr="Et billede, der indeholder mølle, tilbehør, vektorgrafik&#10;&#10;Automatisk genereret beskrivelse">
            <a:extLst>
              <a:ext uri="{FF2B5EF4-FFF2-40B4-BE49-F238E27FC236}">
                <a16:creationId xmlns:a16="http://schemas.microsoft.com/office/drawing/2014/main" id="{D6E8A0BD-B739-4778-80A5-487A8B6245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2508" y="0"/>
            <a:ext cx="12195614" cy="685800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4DC8FFF-668D-4348-BAB4-FEAF261F83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24000" y="3198600"/>
            <a:ext cx="3744000" cy="460800"/>
          </a:xfrm>
          <a:prstGeom prst="rect">
            <a:avLst/>
          </a:prstGeom>
          <a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702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redigere</a:t>
            </a:r>
            <a:r>
              <a:rPr lang="en-GB" dirty="0"/>
              <a:t> </a:t>
            </a:r>
            <a:r>
              <a:rPr lang="en-GB" dirty="0" err="1"/>
              <a:t>teksttypografierne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master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7356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s with text/background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916FDB6-985A-4325-8F16-CB4887DD7C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DBA50A1-B064-42AD-BA7E-9DC2FE1C85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DDB4FC4-2CE5-4347-8044-7A95CBEB8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400C19E-1109-477C-BFBC-59B9C2F23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B54C84-D28E-4EED-A341-62D42E032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old headlines with</a:t>
            </a:r>
            <a:br>
              <a:rPr lang="en-GB" dirty="0"/>
            </a:br>
            <a:r>
              <a:rPr lang="en-GB" dirty="0"/>
              <a:t>text/background imag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5B59C54-DAAA-4D56-B70A-664BE5F1AB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5075238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pic>
        <p:nvPicPr>
          <p:cNvPr id="12" name="Picture 1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6E302CE-C687-7F45-B58B-77683593AB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93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with 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 algn="ctr"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0"/>
            <a:ext cx="5083176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075238" cy="1439813"/>
          </a:xfrm>
        </p:spPr>
        <p:txBody>
          <a:bodyPr/>
          <a:lstStyle/>
          <a:p>
            <a:r>
              <a:rPr lang="en-GB" dirty="0"/>
              <a:t>Bold headline</a:t>
            </a:r>
            <a:br>
              <a:rPr lang="en-GB" dirty="0"/>
            </a:br>
            <a:r>
              <a:rPr lang="en-GB" dirty="0"/>
              <a:t>with text/image</a:t>
            </a:r>
          </a:p>
        </p:txBody>
      </p:sp>
    </p:spTree>
    <p:extLst>
      <p:ext uri="{BB962C8B-B14F-4D97-AF65-F5344CB8AC3E}">
        <p14:creationId xmlns:p14="http://schemas.microsoft.com/office/powerpoint/2010/main" val="3060351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s well for longer headlines or less 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accent1"/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1"/>
            <a:ext cx="5075238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328034" cy="1511822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Small headline in bold.</a:t>
            </a:r>
            <a:br>
              <a:rPr lang="en-GB" dirty="0"/>
            </a:br>
            <a:r>
              <a:rPr lang="en-GB" dirty="0"/>
              <a:t>This type works well for longer headlines or less space</a:t>
            </a:r>
          </a:p>
        </p:txBody>
      </p:sp>
    </p:spTree>
    <p:extLst>
      <p:ext uri="{BB962C8B-B14F-4D97-AF65-F5344CB8AC3E}">
        <p14:creationId xmlns:p14="http://schemas.microsoft.com/office/powerpoint/2010/main" val="1588138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with text/image background">
    <p:bg>
      <p:bgPr>
        <a:solidFill>
          <a:srgbClr val="F3CFB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0"/>
            <a:ext cx="5083176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075238" cy="1439813"/>
          </a:xfrm>
        </p:spPr>
        <p:txBody>
          <a:bodyPr/>
          <a:lstStyle/>
          <a:p>
            <a:r>
              <a:rPr lang="en-GB" dirty="0"/>
              <a:t>Bold headline</a:t>
            </a:r>
            <a:br>
              <a:rPr lang="en-GB" dirty="0"/>
            </a:br>
            <a:r>
              <a:rPr lang="en-GB" dirty="0"/>
              <a:t>with text/image</a:t>
            </a:r>
          </a:p>
        </p:txBody>
      </p:sp>
    </p:spTree>
    <p:extLst>
      <p:ext uri="{BB962C8B-B14F-4D97-AF65-F5344CB8AC3E}">
        <p14:creationId xmlns:p14="http://schemas.microsoft.com/office/powerpoint/2010/main" val="1632964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s with bulle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0822" y="180157"/>
            <a:ext cx="507907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0825" y="2565400"/>
            <a:ext cx="5079069" cy="33115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0824" y="981074"/>
            <a:ext cx="5079071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old headlines</a:t>
            </a:r>
            <a:br>
              <a:rPr lang="en-US" dirty="0"/>
            </a:br>
            <a:r>
              <a:rPr lang="en-US" dirty="0"/>
              <a:t>with bullets</a:t>
            </a:r>
            <a:endParaRPr lang="en-GB" dirty="0"/>
          </a:p>
        </p:txBody>
      </p:sp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F2F5D09-2174-8948-B718-97A3B1048D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498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with text/image background">
    <p:bg>
      <p:bgPr>
        <a:solidFill>
          <a:srgbClr val="F3CFB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0"/>
            <a:ext cx="5083176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075238" cy="1439813"/>
          </a:xfrm>
        </p:spPr>
        <p:txBody>
          <a:bodyPr/>
          <a:lstStyle/>
          <a:p>
            <a:r>
              <a:rPr lang="en-GB" dirty="0"/>
              <a:t>Bold headline</a:t>
            </a:r>
            <a:br>
              <a:rPr lang="en-GB" dirty="0"/>
            </a:br>
            <a:r>
              <a:rPr lang="en-GB" dirty="0"/>
              <a:t>with text/image</a:t>
            </a:r>
          </a:p>
        </p:txBody>
      </p:sp>
    </p:spTree>
    <p:extLst>
      <p:ext uri="{BB962C8B-B14F-4D97-AF65-F5344CB8AC3E}">
        <p14:creationId xmlns:p14="http://schemas.microsoft.com/office/powerpoint/2010/main" val="824457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is is a big statem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/>
            </a:lvl1pPr>
          </a:lstStyle>
          <a:p>
            <a:r>
              <a:rPr lang="en-GB" dirty="0"/>
              <a:t>This is a big</a:t>
            </a:r>
            <a:br>
              <a:rPr lang="en-GB" dirty="0"/>
            </a:br>
            <a:r>
              <a:rPr lang="en-GB" dirty="0"/>
              <a:t>bold statement </a:t>
            </a:r>
            <a:br>
              <a:rPr lang="en-GB" dirty="0"/>
            </a:br>
            <a:r>
              <a:rPr lang="en-GB" dirty="0"/>
              <a:t>with impact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t>‹nr.›</a:t>
            </a:fld>
            <a:endParaRPr lang="en-GB" dirty="0"/>
          </a:p>
        </p:txBody>
      </p:sp>
      <p:pic>
        <p:nvPicPr>
          <p:cNvPr id="9" name="Billede 10">
            <a:extLst>
              <a:ext uri="{FF2B5EF4-FFF2-40B4-BE49-F238E27FC236}">
                <a16:creationId xmlns:a16="http://schemas.microsoft.com/office/drawing/2014/main" id="{8EF03521-54C8-4B82-8961-26B36D3A9C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170" y="6346800"/>
            <a:ext cx="1519660" cy="18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359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newable is never alternativ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Renewable</a:t>
            </a:r>
            <a:br>
              <a:rPr lang="da-DK" dirty="0"/>
            </a:br>
            <a:r>
              <a:rPr lang="da-DK" dirty="0"/>
              <a:t>is never</a:t>
            </a:r>
            <a:br>
              <a:rPr lang="da-DK" dirty="0"/>
            </a:br>
            <a:r>
              <a:rPr lang="da-DK" dirty="0"/>
              <a:t>alternative</a:t>
            </a:r>
            <a:endParaRPr lang="en-GB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E990BAA-F8AF-E344-AE26-52A3EA6530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630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88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enewable is never altern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>
                <a:solidFill>
                  <a:schemeClr val="bg1"/>
                </a:solidFill>
              </a:defRPr>
            </a:lvl1pPr>
          </a:lstStyle>
          <a:p>
            <a:r>
              <a:rPr lang="da-DK" dirty="0" err="1"/>
              <a:t>Renewable</a:t>
            </a:r>
            <a:br>
              <a:rPr lang="da-DK" dirty="0"/>
            </a:br>
            <a:r>
              <a:rPr lang="da-DK" dirty="0"/>
              <a:t>is never</a:t>
            </a:r>
            <a:br>
              <a:rPr lang="da-DK" dirty="0"/>
            </a:br>
            <a:r>
              <a:rPr lang="da-DK" dirty="0"/>
              <a:t>alternative</a:t>
            </a:r>
            <a:endParaRPr lang="en-GB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7" name="Picture 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F696EAD-5111-FD45-A7FE-5594649706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630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994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quote or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A8070CD-13DA-41D5-8601-72407D66E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379" y="1051160"/>
            <a:ext cx="7416265" cy="505632"/>
          </a:xfrm>
        </p:spPr>
        <p:txBody>
          <a:bodyPr anchor="t"/>
          <a:lstStyle>
            <a:lvl1pPr>
              <a:defRPr sz="2000"/>
            </a:lvl1pPr>
          </a:lstStyle>
          <a:p>
            <a:r>
              <a:rPr lang="en-US" dirty="0"/>
              <a:t>Long quote or statement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8801EFD-1D0C-4B01-9216-7AA7682BA6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1658124"/>
            <a:ext cx="7416265" cy="4212121"/>
          </a:xfrm>
        </p:spPr>
        <p:txBody>
          <a:bodyPr>
            <a:normAutofit/>
          </a:bodyPr>
          <a:lstStyle>
            <a:lvl1pPr>
              <a:defRPr sz="2000"/>
            </a:lvl1pPr>
            <a:lvl2pPr marL="360000" indent="-180000">
              <a:defRPr sz="2000"/>
            </a:lvl2pPr>
            <a:lvl3pPr marL="540000" indent="-180000">
              <a:defRPr sz="2000"/>
            </a:lvl3pPr>
            <a:lvl4pPr marL="720000" indent="-180000">
              <a:defRPr sz="2000"/>
            </a:lvl4pPr>
            <a:lvl5pPr marL="900000" indent="-180000"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A51CFC2D-4EED-4396-8438-0C2947626BE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CC30481B-2807-4731-8EB0-4EF8CCB7F8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A814662A-DED0-404C-9321-D7DF9C0351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2810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4 column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32263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B59B5D2-1146-488D-8CA2-73E4329E720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48587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264911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814029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wo line headline in bold with 4 columns</a:t>
            </a:r>
          </a:p>
        </p:txBody>
      </p:sp>
      <p:pic>
        <p:nvPicPr>
          <p:cNvPr id="14" name="Picture 1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D0C9EA0-2DC6-0542-A34A-D58498BDAC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706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3 column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03812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92244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524278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wo line headline in bold with 3 columns</a:t>
            </a:r>
          </a:p>
        </p:txBody>
      </p:sp>
      <p:pic>
        <p:nvPicPr>
          <p:cNvPr id="11" name="Picture 1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27F022B-4323-0443-A3F8-CC3BBBE34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7411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headline in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26D8F05-CD14-4C93-AF2B-D1602EA95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5"/>
            <a:ext cx="5075238" cy="1007766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Small headline in bold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099905"/>
            <a:ext cx="5075238" cy="37798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9AA2542-C717-4281-8C53-DA013E47489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1" y="981075"/>
            <a:ext cx="5583238" cy="48990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4519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headline in bold and conten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4044383"/>
            <a:ext cx="2519722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26D8F05-CD14-4C93-AF2B-D1602EA95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981075"/>
            <a:ext cx="11152373" cy="503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Small headline in bold</a:t>
            </a:r>
            <a:endParaRPr lang="en-GB" dirty="0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77555054-57C7-4453-B65F-3F350E8FBB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95794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B04D7CE5-8307-4E6B-9A09-D2186B5FD68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75928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719D30EB-F3D5-43DC-8691-560A331FC42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156063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Subject Titl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753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C85DBEA7-2E8B-453D-A224-CBE11F3BBB75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  <a:solidFill>
            <a:schemeClr val="accent1"/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media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0A9B70A-3508-4AD9-A258-2812223A2C10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5393532" y="2726532"/>
            <a:ext cx="1404936" cy="1404936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pPr lvl="0"/>
            <a:r>
              <a:rPr lang="en-US" dirty="0"/>
              <a:t>Play film</a:t>
            </a:r>
          </a:p>
        </p:txBody>
      </p:sp>
    </p:spTree>
    <p:extLst>
      <p:ext uri="{BB962C8B-B14F-4D97-AF65-F5344CB8AC3E}">
        <p14:creationId xmlns:p14="http://schemas.microsoft.com/office/powerpoint/2010/main" val="1063104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DD6940C6-B75C-4626-A846-11CF21C73D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3792" y="3197822"/>
            <a:ext cx="3744416" cy="46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47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3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image" Target="../media/image15.emf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oleObject" Target="../embeddings/oleObject3.bin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3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oleObject" Target="../embeddings/oleObject4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2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image" Target="../media/image15.emf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oleObject" Target="../embeddings/oleObject5.bin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tags" Target="../tags/tag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18" Type="http://schemas.openxmlformats.org/officeDocument/2006/relationships/slideLayout" Target="../slideLayouts/slideLayout97.xml"/><Relationship Id="rId3" Type="http://schemas.openxmlformats.org/officeDocument/2006/relationships/slideLayout" Target="../slideLayouts/slideLayout82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23" Type="http://schemas.openxmlformats.org/officeDocument/2006/relationships/image" Target="../media/image15.emf"/><Relationship Id="rId10" Type="http://schemas.openxmlformats.org/officeDocument/2006/relationships/slideLayout" Target="../slideLayouts/slideLayout89.xml"/><Relationship Id="rId19" Type="http://schemas.openxmlformats.org/officeDocument/2006/relationships/slideLayout" Target="../slideLayouts/slideLayout98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Relationship Id="rId22" Type="http://schemas.openxmlformats.org/officeDocument/2006/relationships/oleObject" Target="../embeddings/oleObject6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01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24" Type="http://schemas.openxmlformats.org/officeDocument/2006/relationships/image" Target="../media/image15.emf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23" Type="http://schemas.openxmlformats.org/officeDocument/2006/relationships/oleObject" Target="../embeddings/oleObject7.bin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tags" Target="../tags/tag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31.xml"/><Relationship Id="rId18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21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20.xml"/><Relationship Id="rId16" Type="http://schemas.openxmlformats.org/officeDocument/2006/relationships/slideLayout" Target="../slideLayouts/slideLayout134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3.xml"/><Relationship Id="rId23" Type="http://schemas.openxmlformats.org/officeDocument/2006/relationships/image" Target="../media/image15.emf"/><Relationship Id="rId10" Type="http://schemas.openxmlformats.org/officeDocument/2006/relationships/slideLayout" Target="../slideLayouts/slideLayout128.xml"/><Relationship Id="rId19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Relationship Id="rId22" Type="http://schemas.openxmlformats.org/officeDocument/2006/relationships/oleObject" Target="../embeddings/oleObject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60B891-97ED-2143-AAFF-3A69A2F6D4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5542229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7772400" imgH="10058400" progId="TCLayout.ActiveDocument.1">
                  <p:embed/>
                </p:oleObj>
              </mc:Choice>
              <mc:Fallback>
                <p:oleObj name="think-cell Slide" r:id="rId2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60B891-97ED-2143-AAFF-3A69A2F6D4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C615A2BC-20A6-4087-8DC7-AABB802ABB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981074"/>
            <a:ext cx="6732190" cy="14398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F1BD5E3-F58F-451C-85B0-E8507C5F6B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29967" y="6308927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6CACFFE-2BDF-48B5-8B15-E863CD4513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380" y="180157"/>
            <a:ext cx="5075796" cy="3651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1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1EC8109-3915-479D-81B2-82826C3D08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560" y="6308928"/>
            <a:ext cx="54333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B2F75C6F-4D24-4E44-93EE-74058228D260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8" y="6345324"/>
            <a:ext cx="1519660" cy="187646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A69BB4A-D696-4957-BADD-4C5A9A5A09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2565400"/>
            <a:ext cx="11160125" cy="33115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1699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800" r:id="rId19"/>
    <p:sldLayoutId id="2147483679" r:id="rId20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52000" indent="-10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360000" indent="-10795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468000" indent="-10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576000" indent="-10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16">
          <p15:clr>
            <a:srgbClr val="F26B43"/>
          </p15:clr>
        </p15:guide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5">
          <p15:clr>
            <a:srgbClr val="F26B43"/>
          </p15:clr>
        </p15:guide>
        <p15:guide id="5" orient="horz" pos="3702">
          <p15:clr>
            <a:srgbClr val="F26B43"/>
          </p15:clr>
        </p15:guide>
        <p15:guide id="6" pos="4158">
          <p15:clr>
            <a:srgbClr val="F26B43"/>
          </p15:clr>
        </p15:guide>
        <p15:guide id="7" pos="3522">
          <p15:clr>
            <a:srgbClr val="F26B43"/>
          </p15:clr>
        </p15:guide>
        <p15:guide id="8" orient="horz" pos="61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6D50340-57DB-9A45-9172-212A54007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75331893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7772400" imgH="10058400" progId="TCLayout.ActiveDocument.1">
                  <p:embed/>
                </p:oleObj>
              </mc:Choice>
              <mc:Fallback>
                <p:oleObj name="think-cell Slide" r:id="rId2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6D50340-57DB-9A45-9172-212A54007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C615A2BC-20A6-4087-8DC7-AABB802ABB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981074"/>
            <a:ext cx="6732190" cy="14398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F1BD5E3-F58F-451C-85B0-E8507C5F6B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29967" y="6308927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6CACFFE-2BDF-48B5-8B15-E863CD4513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380" y="180157"/>
            <a:ext cx="5075796" cy="3651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1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1EC8109-3915-479D-81B2-82826C3D08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560" y="6308928"/>
            <a:ext cx="54333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B2F75C6F-4D24-4E44-93EE-74058228D260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8" y="6345324"/>
            <a:ext cx="1519660" cy="187646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A69BB4A-D696-4957-BADD-4C5A9A5A09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2565400"/>
            <a:ext cx="11160125" cy="33115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9148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696" r:id="rId16"/>
    <p:sldLayoutId id="2147483697" r:id="rId17"/>
    <p:sldLayoutId id="2147483698" r:id="rId18"/>
    <p:sldLayoutId id="2147483699" r:id="rId19"/>
    <p:sldLayoutId id="2147483801" r:id="rId20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52000" indent="-10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360000" indent="-10795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468000" indent="-10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576000" indent="-10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16">
          <p15:clr>
            <a:srgbClr val="F26B43"/>
          </p15:clr>
        </p15:guide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5">
          <p15:clr>
            <a:srgbClr val="F26B43"/>
          </p15:clr>
        </p15:guide>
        <p15:guide id="5" orient="horz" pos="3702">
          <p15:clr>
            <a:srgbClr val="F26B43"/>
          </p15:clr>
        </p15:guide>
        <p15:guide id="6" pos="4158">
          <p15:clr>
            <a:srgbClr val="F26B43"/>
          </p15:clr>
        </p15:guide>
        <p15:guide id="7" pos="3522">
          <p15:clr>
            <a:srgbClr val="F26B43"/>
          </p15:clr>
        </p15:guide>
        <p15:guide id="8" orient="horz" pos="61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60B891-97ED-2143-AAFF-3A69A2F6D4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651527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7772400" imgH="10058400" progId="TCLayout.ActiveDocument.1">
                  <p:embed/>
                </p:oleObj>
              </mc:Choice>
              <mc:Fallback>
                <p:oleObj name="think-cell Slide" r:id="rId22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60B891-97ED-2143-AAFF-3A69A2F6D4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C615A2BC-20A6-4087-8DC7-AABB802ABB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981074"/>
            <a:ext cx="6732190" cy="14398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F1BD5E3-F58F-451C-85B0-E8507C5F6B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29967" y="6308927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6CACFFE-2BDF-48B5-8B15-E863CD4513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380" y="180157"/>
            <a:ext cx="5075796" cy="3651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1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1EC8109-3915-479D-81B2-82826C3D08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560" y="6308928"/>
            <a:ext cx="54333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B2F75C6F-4D24-4E44-93EE-74058228D260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8" y="6345324"/>
            <a:ext cx="1519660" cy="187646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A69BB4A-D696-4957-BADD-4C5A9A5A09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2565400"/>
            <a:ext cx="11160125" cy="33115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980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52000" indent="-10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360000" indent="-10795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468000" indent="-10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576000" indent="-10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16">
          <p15:clr>
            <a:srgbClr val="F26B43"/>
          </p15:clr>
        </p15:guide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5">
          <p15:clr>
            <a:srgbClr val="F26B43"/>
          </p15:clr>
        </p15:guide>
        <p15:guide id="5" orient="horz" pos="3702">
          <p15:clr>
            <a:srgbClr val="F26B43"/>
          </p15:clr>
        </p15:guide>
        <p15:guide id="6" pos="4158">
          <p15:clr>
            <a:srgbClr val="F26B43"/>
          </p15:clr>
        </p15:guide>
        <p15:guide id="7" pos="3522">
          <p15:clr>
            <a:srgbClr val="F26B43"/>
          </p15:clr>
        </p15:guide>
        <p15:guide id="8" orient="horz" pos="61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6D50340-57DB-9A45-9172-212A54007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2439788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7772400" imgH="10058400" progId="TCLayout.ActiveDocument.1">
                  <p:embed/>
                </p:oleObj>
              </mc:Choice>
              <mc:Fallback>
                <p:oleObj name="think-cell Slide" r:id="rId2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6D50340-57DB-9A45-9172-212A54007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C615A2BC-20A6-4087-8DC7-AABB802ABB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981074"/>
            <a:ext cx="6732190" cy="14398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F1BD5E3-F58F-451C-85B0-E8507C5F6B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29967" y="6308927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6CACFFE-2BDF-48B5-8B15-E863CD4513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380" y="180157"/>
            <a:ext cx="5075796" cy="3651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1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1EC8109-3915-479D-81B2-82826C3D08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560" y="6308928"/>
            <a:ext cx="54333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B2F75C6F-4D24-4E44-93EE-74058228D260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8" y="6345324"/>
            <a:ext cx="1519660" cy="187646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A69BB4A-D696-4957-BADD-4C5A9A5A09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2565400"/>
            <a:ext cx="11160125" cy="33115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04519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802" r:id="rId20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52000" indent="-10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360000" indent="-10795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468000" indent="-10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576000" indent="-10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16">
          <p15:clr>
            <a:srgbClr val="F26B43"/>
          </p15:clr>
        </p15:guide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5">
          <p15:clr>
            <a:srgbClr val="F26B43"/>
          </p15:clr>
        </p15:guide>
        <p15:guide id="5" orient="horz" pos="3702">
          <p15:clr>
            <a:srgbClr val="F26B43"/>
          </p15:clr>
        </p15:guide>
        <p15:guide id="6" pos="4158">
          <p15:clr>
            <a:srgbClr val="F26B43"/>
          </p15:clr>
        </p15:guide>
        <p15:guide id="7" pos="3522">
          <p15:clr>
            <a:srgbClr val="F26B43"/>
          </p15:clr>
        </p15:guide>
        <p15:guide id="8" orient="horz" pos="61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6D50340-57DB-9A45-9172-212A54007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7838473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7772400" imgH="10058400" progId="TCLayout.ActiveDocument.1">
                  <p:embed/>
                </p:oleObj>
              </mc:Choice>
              <mc:Fallback>
                <p:oleObj name="think-cell Slide" r:id="rId22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6D50340-57DB-9A45-9172-212A54007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C615A2BC-20A6-4087-8DC7-AABB802ABB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981074"/>
            <a:ext cx="6732190" cy="14398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F1BD5E3-F58F-451C-85B0-E8507C5F6B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29967" y="6308927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6CACFFE-2BDF-48B5-8B15-E863CD4513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380" y="180157"/>
            <a:ext cx="5075796" cy="3651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1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1EC8109-3915-479D-81B2-82826C3D08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560" y="6308928"/>
            <a:ext cx="54333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B2F75C6F-4D24-4E44-93EE-74058228D260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8" y="6345324"/>
            <a:ext cx="1519660" cy="187646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A69BB4A-D696-4957-BADD-4C5A9A5A09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2565400"/>
            <a:ext cx="11160125" cy="33115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2243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7" r:id="rId17"/>
    <p:sldLayoutId id="2147483758" r:id="rId18"/>
    <p:sldLayoutId id="2147483759" r:id="rId19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52000" indent="-10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360000" indent="-10795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468000" indent="-10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576000" indent="-10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16">
          <p15:clr>
            <a:srgbClr val="F26B43"/>
          </p15:clr>
        </p15:guide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5">
          <p15:clr>
            <a:srgbClr val="F26B43"/>
          </p15:clr>
        </p15:guide>
        <p15:guide id="5" orient="horz" pos="3702">
          <p15:clr>
            <a:srgbClr val="F26B43"/>
          </p15:clr>
        </p15:guide>
        <p15:guide id="6" pos="4158">
          <p15:clr>
            <a:srgbClr val="F26B43"/>
          </p15:clr>
        </p15:guide>
        <p15:guide id="7" pos="3522">
          <p15:clr>
            <a:srgbClr val="F26B43"/>
          </p15:clr>
        </p15:guide>
        <p15:guide id="8" orient="horz" pos="61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6D50340-57DB-9A45-9172-212A54007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64150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7772400" imgH="10058400" progId="TCLayout.ActiveDocument.1">
                  <p:embed/>
                </p:oleObj>
              </mc:Choice>
              <mc:Fallback>
                <p:oleObj name="think-cell Slide" r:id="rId2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6D50340-57DB-9A45-9172-212A54007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C615A2BC-20A6-4087-8DC7-AABB802ABB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981074"/>
            <a:ext cx="6732190" cy="14398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F1BD5E3-F58F-451C-85B0-E8507C5F6B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29967" y="6308927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6CACFFE-2BDF-48B5-8B15-E863CD4513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380" y="180157"/>
            <a:ext cx="5075796" cy="3651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1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1EC8109-3915-479D-81B2-82826C3D08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560" y="6308928"/>
            <a:ext cx="54333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B2F75C6F-4D24-4E44-93EE-74058228D260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8" y="6345324"/>
            <a:ext cx="1519660" cy="187646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A69BB4A-D696-4957-BADD-4C5A9A5A09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2565400"/>
            <a:ext cx="11160125" cy="33115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3241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  <p:sldLayoutId id="2147483776" r:id="rId16"/>
    <p:sldLayoutId id="2147483777" r:id="rId17"/>
    <p:sldLayoutId id="2147483778" r:id="rId18"/>
    <p:sldLayoutId id="2147483779" r:id="rId19"/>
    <p:sldLayoutId id="2147483803" r:id="rId20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52000" indent="-10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360000" indent="-10795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468000" indent="-10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576000" indent="-10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16">
          <p15:clr>
            <a:srgbClr val="F26B43"/>
          </p15:clr>
        </p15:guide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5">
          <p15:clr>
            <a:srgbClr val="F26B43"/>
          </p15:clr>
        </p15:guide>
        <p15:guide id="5" orient="horz" pos="3702">
          <p15:clr>
            <a:srgbClr val="F26B43"/>
          </p15:clr>
        </p15:guide>
        <p15:guide id="6" pos="4158">
          <p15:clr>
            <a:srgbClr val="F26B43"/>
          </p15:clr>
        </p15:guide>
        <p15:guide id="7" pos="3522">
          <p15:clr>
            <a:srgbClr val="F26B43"/>
          </p15:clr>
        </p15:guide>
        <p15:guide id="8" orient="horz" pos="618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6D50340-57DB-9A45-9172-212A54007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3794336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7772400" imgH="10058400" progId="TCLayout.ActiveDocument.1">
                  <p:embed/>
                </p:oleObj>
              </mc:Choice>
              <mc:Fallback>
                <p:oleObj name="think-cell Slide" r:id="rId22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6D50340-57DB-9A45-9172-212A54007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C615A2BC-20A6-4087-8DC7-AABB802ABB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981074"/>
            <a:ext cx="6732190" cy="14398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F1BD5E3-F58F-451C-85B0-E8507C5F6B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29967" y="6308927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6CACFFE-2BDF-48B5-8B15-E863CD4513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380" y="180157"/>
            <a:ext cx="5075796" cy="3651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1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1EC8109-3915-479D-81B2-82826C3D08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560" y="6308928"/>
            <a:ext cx="54333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B2F75C6F-4D24-4E44-93EE-74058228D260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8" y="6345324"/>
            <a:ext cx="1519660" cy="187646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A69BB4A-D696-4957-BADD-4C5A9A5A09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2565400"/>
            <a:ext cx="11160125" cy="33115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035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  <p:sldLayoutId id="2147483799" r:id="rId19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52000" indent="-10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360000" indent="-10795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468000" indent="-10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576000" indent="-10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16">
          <p15:clr>
            <a:srgbClr val="F26B43"/>
          </p15:clr>
        </p15:guide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5">
          <p15:clr>
            <a:srgbClr val="F26B43"/>
          </p15:clr>
        </p15:guide>
        <p15:guide id="5" orient="horz" pos="3702">
          <p15:clr>
            <a:srgbClr val="F26B43"/>
          </p15:clr>
        </p15:guide>
        <p15:guide id="6" pos="4158">
          <p15:clr>
            <a:srgbClr val="F26B43"/>
          </p15:clr>
        </p15:guide>
        <p15:guide id="7" pos="3522">
          <p15:clr>
            <a:srgbClr val="F26B43"/>
          </p15:clr>
        </p15:guide>
        <p15:guide id="8" orient="horz" pos="61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7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13" Type="http://schemas.openxmlformats.org/officeDocument/2006/relationships/image" Target="../media/image25.emf"/><Relationship Id="rId18" Type="http://schemas.openxmlformats.org/officeDocument/2006/relationships/image" Target="../media/image30.emf"/><Relationship Id="rId3" Type="http://schemas.openxmlformats.org/officeDocument/2006/relationships/oleObject" Target="../embeddings/oleObject9.bin"/><Relationship Id="rId21" Type="http://schemas.openxmlformats.org/officeDocument/2006/relationships/image" Target="../media/image33.png"/><Relationship Id="rId7" Type="http://schemas.openxmlformats.org/officeDocument/2006/relationships/image" Target="../media/image19.emf"/><Relationship Id="rId12" Type="http://schemas.openxmlformats.org/officeDocument/2006/relationships/image" Target="../media/image24.emf"/><Relationship Id="rId17" Type="http://schemas.openxmlformats.org/officeDocument/2006/relationships/image" Target="../media/image29.emf"/><Relationship Id="rId2" Type="http://schemas.openxmlformats.org/officeDocument/2006/relationships/slideLayout" Target="../slideLayouts/slideLayout36.xml"/><Relationship Id="rId16" Type="http://schemas.openxmlformats.org/officeDocument/2006/relationships/image" Target="../media/image28.emf"/><Relationship Id="rId20" Type="http://schemas.openxmlformats.org/officeDocument/2006/relationships/image" Target="../media/image32.png"/><Relationship Id="rId1" Type="http://schemas.openxmlformats.org/officeDocument/2006/relationships/tags" Target="../tags/tag10.xml"/><Relationship Id="rId6" Type="http://schemas.openxmlformats.org/officeDocument/2006/relationships/image" Target="../media/image18.emf"/><Relationship Id="rId11" Type="http://schemas.openxmlformats.org/officeDocument/2006/relationships/image" Target="../media/image23.emf"/><Relationship Id="rId5" Type="http://schemas.openxmlformats.org/officeDocument/2006/relationships/image" Target="../media/image2.png"/><Relationship Id="rId15" Type="http://schemas.openxmlformats.org/officeDocument/2006/relationships/image" Target="../media/image27.emf"/><Relationship Id="rId10" Type="http://schemas.openxmlformats.org/officeDocument/2006/relationships/image" Target="../media/image22.emf"/><Relationship Id="rId19" Type="http://schemas.openxmlformats.org/officeDocument/2006/relationships/image" Target="../media/image31.emf"/><Relationship Id="rId4" Type="http://schemas.openxmlformats.org/officeDocument/2006/relationships/image" Target="../media/image17.emf"/><Relationship Id="rId9" Type="http://schemas.openxmlformats.org/officeDocument/2006/relationships/image" Target="../media/image21.emf"/><Relationship Id="rId14" Type="http://schemas.openxmlformats.org/officeDocument/2006/relationships/image" Target="../media/image26.emf"/><Relationship Id="rId22" Type="http://schemas.openxmlformats.org/officeDocument/2006/relationships/image" Target="../media/image3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emf"/><Relationship Id="rId3" Type="http://schemas.openxmlformats.org/officeDocument/2006/relationships/tags" Target="../tags/tag13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113.xml"/><Relationship Id="rId5" Type="http://schemas.openxmlformats.org/officeDocument/2006/relationships/tags" Target="../tags/tag15.xml"/><Relationship Id="rId10" Type="http://schemas.openxmlformats.org/officeDocument/2006/relationships/image" Target="../media/image36.png"/><Relationship Id="rId4" Type="http://schemas.openxmlformats.org/officeDocument/2006/relationships/tags" Target="../tags/tag14.xml"/><Relationship Id="rId9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7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87.xml"/><Relationship Id="rId6" Type="http://schemas.openxmlformats.org/officeDocument/2006/relationships/image" Target="../media/image41.pn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0" Type="http://schemas.openxmlformats.org/officeDocument/2006/relationships/image" Target="../media/image45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tiff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51.png"/><Relationship Id="rId12" Type="http://schemas.openxmlformats.org/officeDocument/2006/relationships/image" Target="../media/image56.svg"/><Relationship Id="rId2" Type="http://schemas.openxmlformats.org/officeDocument/2006/relationships/slideLayout" Target="../slideLayouts/slideLayout93.xml"/><Relationship Id="rId1" Type="http://schemas.openxmlformats.org/officeDocument/2006/relationships/tags" Target="../tags/tag16.xml"/><Relationship Id="rId6" Type="http://schemas.openxmlformats.org/officeDocument/2006/relationships/image" Target="../media/image50.tiff"/><Relationship Id="rId11" Type="http://schemas.openxmlformats.org/officeDocument/2006/relationships/image" Target="../media/image55.png"/><Relationship Id="rId5" Type="http://schemas.openxmlformats.org/officeDocument/2006/relationships/image" Target="../media/image49.emf"/><Relationship Id="rId10" Type="http://schemas.openxmlformats.org/officeDocument/2006/relationships/image" Target="../media/image54.sv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5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824730CC-C017-4B48-8940-2895896F8AC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E1609B-02CC-0C44-8561-251B18F198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25000" lnSpcReduction="20000"/>
          </a:bodyPr>
          <a:lstStyle/>
          <a:p>
            <a:endParaRPr lang="en-DK" dirty="0"/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1957D86D-4DF9-4688-9F54-26C7F94DFE0B}"/>
              </a:ext>
            </a:extLst>
          </p:cNvPr>
          <p:cNvSpPr txBox="1"/>
          <p:nvPr/>
        </p:nvSpPr>
        <p:spPr>
          <a:xfrm>
            <a:off x="2156691" y="4704702"/>
            <a:ext cx="787861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dirty="0">
                <a:solidFill>
                  <a:schemeClr val="bg1"/>
                </a:solidFill>
              </a:rPr>
              <a:t>Øster Starup </a:t>
            </a:r>
          </a:p>
          <a:p>
            <a:pPr algn="ctr"/>
            <a:r>
              <a:rPr lang="da-DK" dirty="0">
                <a:solidFill>
                  <a:schemeClr val="bg1"/>
                </a:solidFill>
              </a:rPr>
              <a:t>Informationsmøde </a:t>
            </a:r>
          </a:p>
          <a:p>
            <a:pPr algn="ctr"/>
            <a:r>
              <a:rPr lang="da-DK" dirty="0">
                <a:solidFill>
                  <a:schemeClr val="bg1"/>
                </a:solidFill>
              </a:rPr>
              <a:t>29. april 2022</a:t>
            </a:r>
          </a:p>
        </p:txBody>
      </p:sp>
    </p:spTree>
    <p:extLst>
      <p:ext uri="{BB962C8B-B14F-4D97-AF65-F5344CB8AC3E}">
        <p14:creationId xmlns:p14="http://schemas.microsoft.com/office/powerpoint/2010/main" val="493471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1778E9-08F9-419B-8AEC-153890413C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981075"/>
            <a:ext cx="6732190" cy="1004480"/>
          </a:xfrm>
        </p:spPr>
        <p:txBody>
          <a:bodyPr/>
          <a:lstStyle/>
          <a:p>
            <a:r>
              <a:rPr lang="da-DK" dirty="0">
                <a:solidFill>
                  <a:schemeClr val="tx1"/>
                </a:solidFill>
              </a:rPr>
              <a:t>DE LOVPLIGTIGE VE-ORDNINGER</a:t>
            </a:r>
            <a:br>
              <a:rPr lang="da-DK" dirty="0">
                <a:solidFill>
                  <a:schemeClr val="tx1"/>
                </a:solidFill>
              </a:rPr>
            </a:br>
            <a:r>
              <a:rPr lang="da-DK" dirty="0">
                <a:solidFill>
                  <a:schemeClr val="tx1"/>
                </a:solidFill>
              </a:rPr>
              <a:t>(Lov om fremme af vedvarende energi)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54B5BE4-7381-4AAD-8E4C-11768C50CD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7" y="2313897"/>
            <a:ext cx="11160125" cy="3635103"/>
          </a:xfrm>
        </p:spPr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tx1"/>
                </a:solidFill>
              </a:rPr>
              <a:t>Værditabsordning</a:t>
            </a:r>
          </a:p>
          <a:p>
            <a:pPr marL="594900" lvl="1" indent="-342900"/>
            <a:r>
              <a:rPr lang="da-DK" sz="2000" dirty="0">
                <a:solidFill>
                  <a:schemeClr val="tx1"/>
                </a:solidFill>
              </a:rPr>
              <a:t>Kan søges af naboer til projektet</a:t>
            </a:r>
          </a:p>
          <a:p>
            <a:pPr marL="594900" lvl="1" indent="-342900"/>
            <a:endParaRPr lang="da-DK" sz="20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tx1"/>
                </a:solidFill>
              </a:rPr>
              <a:t>Salgsoption</a:t>
            </a:r>
          </a:p>
          <a:p>
            <a:pPr marL="594900" lvl="1" indent="-342900"/>
            <a:r>
              <a:rPr lang="da-DK" sz="2000" dirty="0">
                <a:solidFill>
                  <a:schemeClr val="tx1"/>
                </a:solidFill>
              </a:rPr>
              <a:t>Kan søges af naboer til projektet indenfor 6 x totalhøjde</a:t>
            </a:r>
          </a:p>
          <a:p>
            <a:pPr marL="594900" lvl="1" indent="-342900"/>
            <a:endParaRPr lang="da-DK" sz="20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tx1"/>
                </a:solidFill>
              </a:rPr>
              <a:t>VE-bonus</a:t>
            </a:r>
          </a:p>
          <a:p>
            <a:pPr marL="702900" lvl="2" indent="-342900"/>
            <a:r>
              <a:rPr lang="da-DK" sz="2000" dirty="0">
                <a:solidFill>
                  <a:schemeClr val="tx1"/>
                </a:solidFill>
              </a:rPr>
              <a:t>Kan søges af naboer indenfor 8 x totalhøjd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tx1"/>
                </a:solidFill>
              </a:rPr>
              <a:t>Grøn pulje</a:t>
            </a:r>
          </a:p>
          <a:p>
            <a:pPr marL="594900" lvl="1" indent="-342900"/>
            <a:r>
              <a:rPr lang="da-DK" sz="2000" dirty="0">
                <a:solidFill>
                  <a:schemeClr val="tx1"/>
                </a:solidFill>
              </a:rPr>
              <a:t>Opstiller skal betale et beløb på125.000 kr. pr. MW </a:t>
            </a:r>
          </a:p>
          <a:p>
            <a:pPr marL="594900" lvl="1" indent="-342900"/>
            <a:endParaRPr lang="da-DK" sz="2000" dirty="0">
              <a:solidFill>
                <a:schemeClr val="tx1"/>
              </a:solidFill>
            </a:endParaRPr>
          </a:p>
          <a:p>
            <a:pPr marL="594900" lvl="1" indent="-342900"/>
            <a:endParaRPr lang="da-DK" sz="2000" dirty="0">
              <a:solidFill>
                <a:schemeClr val="tx1"/>
              </a:solidFill>
            </a:endParaRPr>
          </a:p>
          <a:p>
            <a:pPr marL="594900" lvl="1" indent="-342900"/>
            <a:endParaRPr lang="da-DK" sz="2000" dirty="0">
              <a:solidFill>
                <a:schemeClr val="tx1"/>
              </a:solidFill>
            </a:endParaRPr>
          </a:p>
          <a:p>
            <a:pPr>
              <a:spcBef>
                <a:spcPts val="1200"/>
              </a:spcBef>
            </a:pPr>
            <a:r>
              <a:rPr lang="da-DK" dirty="0">
                <a:solidFill>
                  <a:schemeClr val="tx1"/>
                </a:solidFill>
              </a:rPr>
              <a:t>	</a:t>
            </a:r>
          </a:p>
          <a:p>
            <a:pPr>
              <a:spcBef>
                <a:spcPts val="1200"/>
              </a:spcBef>
            </a:pPr>
            <a:r>
              <a:rPr lang="da-DK" dirty="0">
                <a:solidFill>
                  <a:schemeClr val="tx1"/>
                </a:solidFill>
              </a:rPr>
              <a:t>	</a:t>
            </a:r>
          </a:p>
          <a:p>
            <a:endParaRPr lang="da-DK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da-DK" dirty="0">
              <a:solidFill>
                <a:schemeClr val="tx1"/>
              </a:solidFill>
            </a:endParaRPr>
          </a:p>
          <a:p>
            <a:endParaRPr lang="da-DK" dirty="0">
              <a:solidFill>
                <a:schemeClr val="tx1"/>
              </a:solidFill>
            </a:endParaRPr>
          </a:p>
        </p:txBody>
      </p:sp>
      <p:pic>
        <p:nvPicPr>
          <p:cNvPr id="11" name="Grafik 10" descr="Vindmøller kontur">
            <a:extLst>
              <a:ext uri="{FF2B5EF4-FFF2-40B4-BE49-F238E27FC236}">
                <a16:creationId xmlns:a16="http://schemas.microsoft.com/office/drawing/2014/main" id="{FA69E375-84EB-4766-99B7-F6F9C94462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98792" y="909000"/>
            <a:ext cx="2520000" cy="25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9834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7B4FFB-3384-4F78-A433-D8642E69E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379" y="1051160"/>
            <a:ext cx="10722892" cy="1098151"/>
          </a:xfrm>
        </p:spPr>
        <p:txBody>
          <a:bodyPr/>
          <a:lstStyle/>
          <a:p>
            <a:r>
              <a:rPr lang="da-DK" sz="4000" dirty="0"/>
              <a:t>Idékatalog for lokale projekter og lokal forankring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C1CB26-B48A-4473-B6C5-105686042C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318994"/>
            <a:ext cx="7416265" cy="3551251"/>
          </a:xfrm>
        </p:spPr>
        <p:txBody>
          <a:bodyPr/>
          <a:lstStyle/>
          <a:p>
            <a:pPr lvl="0"/>
            <a:endParaRPr lang="da-DK" sz="1800" dirty="0">
              <a:effectLst/>
              <a:latin typeface="+mj-lt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endParaRPr lang="da-DK" sz="1800" dirty="0">
              <a:effectLst/>
              <a:latin typeface="+mj-lt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da-DK" sz="1800" dirty="0"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Vi påtænker at arbejde videre med et idékatalog 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endParaRPr lang="da-DK" sz="1800" dirty="0">
              <a:latin typeface="+mj-lt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da-DK" sz="1800" dirty="0"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Kan evt. kobles sammen med midlerne fra Grøn Pulje</a:t>
            </a:r>
          </a:p>
          <a:p>
            <a:pPr marL="342900" lvl="0" indent="-342900">
              <a:buFont typeface="Symbol" panose="05050102010706020507" pitchFamily="18" charset="2"/>
              <a:buChar char=""/>
            </a:pPr>
            <a:endParaRPr lang="da-DK" sz="1800" dirty="0">
              <a:latin typeface="+mj-lt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da-DK" sz="1800" dirty="0"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Evt. samarbejde med </a:t>
            </a:r>
            <a:r>
              <a:rPr lang="da-DK" sz="1800" dirty="0"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l</a:t>
            </a:r>
            <a:r>
              <a:rPr lang="da-DK" sz="1800" dirty="0">
                <a:effectLst/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okale foreninger </a:t>
            </a:r>
            <a:endParaRPr lang="da-DK" sz="1800" dirty="0">
              <a:effectLst/>
              <a:latin typeface="+mj-lt"/>
              <a:ea typeface="Calibri" panose="020F0502020204030204" pitchFamily="34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endParaRPr lang="da-DK" sz="1800" dirty="0">
              <a:effectLst/>
              <a:highlight>
                <a:srgbClr val="FFFF00"/>
              </a:highlight>
              <a:latin typeface="+mj-lt"/>
              <a:ea typeface="Calibri" panose="020F0502020204030204" pitchFamily="34" charset="0"/>
            </a:endParaRPr>
          </a:p>
          <a:p>
            <a:pPr marL="342900" indent="-342900">
              <a:spcBef>
                <a:spcPts val="600"/>
              </a:spcBef>
              <a:buFontTx/>
              <a:buChar char="-"/>
            </a:pPr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1C1249D7-2BF2-4BEA-9705-6A63207029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pPr/>
              <a:t>11</a:t>
            </a:fld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E1F56A-E5B4-4102-92F9-1FFC7238A5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9583" y="1941958"/>
            <a:ext cx="4038645" cy="4152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260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5989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el 1"/>
          <p:cNvSpPr>
            <a:spLocks noGrp="1"/>
          </p:cNvSpPr>
          <p:nvPr>
            <p:ph type="title"/>
          </p:nvPr>
        </p:nvSpPr>
        <p:spPr>
          <a:xfrm>
            <a:off x="1847528" y="325629"/>
            <a:ext cx="7772400" cy="604837"/>
          </a:xfrm>
        </p:spPr>
        <p:txBody>
          <a:bodyPr>
            <a:normAutofit/>
          </a:bodyPr>
          <a:lstStyle/>
          <a:p>
            <a:pPr eaLnBrk="1" hangingPunct="1"/>
            <a:r>
              <a:rPr lang="da-DK" dirty="0">
                <a:solidFill>
                  <a:schemeClr val="tx1"/>
                </a:solidFill>
              </a:rPr>
              <a:t>VÆRDITABSORDNINGEN</a:t>
            </a:r>
          </a:p>
        </p:txBody>
      </p:sp>
      <p:sp>
        <p:nvSpPr>
          <p:cNvPr id="5123" name="Pladsholder til indhold 2"/>
          <p:cNvSpPr>
            <a:spLocks noGrp="1"/>
          </p:cNvSpPr>
          <p:nvPr>
            <p:ph idx="1"/>
          </p:nvPr>
        </p:nvSpPr>
        <p:spPr>
          <a:xfrm>
            <a:off x="551384" y="1321931"/>
            <a:ext cx="8424936" cy="5234915"/>
          </a:xfrm>
        </p:spPr>
        <p:txBody>
          <a:bodyPr>
            <a:normAutofit/>
          </a:bodyPr>
          <a:lstStyle/>
          <a:p>
            <a:pPr marL="0" indent="0">
              <a:lnSpc>
                <a:spcPts val="3500"/>
              </a:lnSpc>
              <a:buNone/>
              <a:defRPr/>
            </a:pPr>
            <a:r>
              <a:rPr lang="da-DK" dirty="0">
                <a:solidFill>
                  <a:schemeClr val="tx1"/>
                </a:solidFill>
              </a:rPr>
              <a:t>Værditabsordningen giver lokale borgere mulighed for at søge erstatning, hvis deres ejendom falder i værdi som følge af opstilling af vindmøller og/eller solceller.</a:t>
            </a:r>
            <a:br>
              <a:rPr lang="da-DK" sz="2400" dirty="0">
                <a:solidFill>
                  <a:schemeClr val="tx1"/>
                </a:solidFill>
              </a:rPr>
            </a:br>
            <a:endParaRPr lang="da-DK" sz="2400" dirty="0">
              <a:solidFill>
                <a:schemeClr val="tx1"/>
              </a:solidFill>
            </a:endParaRPr>
          </a:p>
          <a:p>
            <a:pPr marL="0" indent="0">
              <a:lnSpc>
                <a:spcPts val="3500"/>
              </a:lnSpc>
              <a:buNone/>
              <a:defRPr/>
            </a:pPr>
            <a:r>
              <a:rPr lang="da-DK" b="1" dirty="0">
                <a:solidFill>
                  <a:schemeClr val="tx1"/>
                </a:solidFill>
              </a:rPr>
              <a:t>Hvem er omfattet af ordningen?</a:t>
            </a:r>
          </a:p>
          <a:p>
            <a:pPr marL="0" indent="0">
              <a:lnSpc>
                <a:spcPts val="3500"/>
              </a:lnSpc>
              <a:buNone/>
              <a:defRPr/>
            </a:pPr>
            <a:r>
              <a:rPr lang="da-DK" dirty="0">
                <a:solidFill>
                  <a:schemeClr val="tx1"/>
                </a:solidFill>
              </a:rPr>
              <a:t>I princippet er alle lokale borgere omfattet af ordningen. Det afgørende er, om der sker en værdiforringelse på mere end 1 procent af boligens værdi eller boligdelen af et landbrug.</a:t>
            </a:r>
          </a:p>
          <a:p>
            <a:pPr marL="0" indent="0">
              <a:lnSpc>
                <a:spcPts val="3500"/>
              </a:lnSpc>
              <a:buNone/>
              <a:defRPr/>
            </a:pPr>
            <a:endParaRPr lang="da-DK" sz="2400" dirty="0"/>
          </a:p>
          <a:p>
            <a:pPr marL="0" indent="0">
              <a:lnSpc>
                <a:spcPts val="3500"/>
              </a:lnSpc>
              <a:buNone/>
              <a:defRPr/>
            </a:pPr>
            <a:endParaRPr lang="da-DK" sz="2400" dirty="0">
              <a:solidFill>
                <a:srgbClr val="0070C0"/>
              </a:solidFill>
            </a:endParaRPr>
          </a:p>
          <a:p>
            <a:pPr eaLnBrk="1" hangingPunct="1">
              <a:lnSpc>
                <a:spcPct val="150000"/>
              </a:lnSpc>
              <a:buFontTx/>
              <a:buNone/>
              <a:defRPr/>
            </a:pPr>
            <a:endParaRPr lang="da-DK" sz="1800" dirty="0">
              <a:solidFill>
                <a:srgbClr val="0070C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2B2756-C73B-413F-8C9A-989F04B270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60296" y="1412776"/>
            <a:ext cx="3196162" cy="4537946"/>
          </a:xfrm>
          <a:prstGeom prst="rect">
            <a:avLst/>
          </a:prstGeom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9907181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6F1B08-F543-481F-80E8-64EB74E16A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>
                <a:solidFill>
                  <a:schemeClr val="tx1"/>
                </a:solidFill>
              </a:rPr>
              <a:t>SALGSOP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123D6D-5B03-49DA-8C5A-4052A97A64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417639"/>
            <a:ext cx="10972800" cy="4708526"/>
          </a:xfrm>
        </p:spPr>
        <p:txBody>
          <a:bodyPr/>
          <a:lstStyle/>
          <a:p>
            <a:pPr>
              <a:spcBef>
                <a:spcPts val="1200"/>
              </a:spcBef>
            </a:pPr>
            <a:endParaRPr lang="da-DK" dirty="0"/>
          </a:p>
          <a:p>
            <a:endParaRPr lang="da-DK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E926D54-07C1-4744-8C9F-343727EDFBCE}"/>
              </a:ext>
            </a:extLst>
          </p:cNvPr>
          <p:cNvSpPr/>
          <p:nvPr/>
        </p:nvSpPr>
        <p:spPr>
          <a:xfrm>
            <a:off x="553847" y="1268760"/>
            <a:ext cx="7862664" cy="46063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fontAlgn="base">
              <a:spcBef>
                <a:spcPts val="1000"/>
              </a:spcBef>
              <a:buFont typeface="Arial" pitchFamily="34" charset="0"/>
              <a:buChar char="•"/>
            </a:pPr>
            <a:r>
              <a:rPr lang="da-DK" sz="2000" dirty="0"/>
              <a:t>Naboer i afstanden 4-6 gange møllehøjde fra nærmeste vindmølle og/eller 0-200 m afstand fra større solcelleanlæg, kan vælge at sælge deres beboelsesejendom til opstilleren.</a:t>
            </a:r>
          </a:p>
          <a:p>
            <a:pPr marL="342900" indent="-342900" fontAlgn="base">
              <a:spcBef>
                <a:spcPts val="1000"/>
              </a:spcBef>
              <a:buFont typeface="Arial" pitchFamily="34" charset="0"/>
              <a:buChar char="•"/>
            </a:pPr>
            <a:r>
              <a:rPr lang="da-DK" sz="2000" dirty="0"/>
              <a:t>Muligheden gælder i op til et år efter 1 kWh er produceret. </a:t>
            </a:r>
          </a:p>
          <a:p>
            <a:pPr marL="342900" indent="-342900" fontAlgn="base">
              <a:spcBef>
                <a:spcPts val="1000"/>
              </a:spcBef>
              <a:buFont typeface="Arial" pitchFamily="34" charset="0"/>
              <a:buChar char="•"/>
            </a:pPr>
            <a:r>
              <a:rPr lang="da-DK" sz="2000" dirty="0"/>
              <a:t>Beboelsesejendommens værdi vurderes af den uafhængige taksationsmyndighed, der også foretager vurdering af værditab. </a:t>
            </a:r>
          </a:p>
          <a:p>
            <a:pPr marL="342900" indent="-342900" fontAlgn="base">
              <a:spcBef>
                <a:spcPts val="1000"/>
              </a:spcBef>
              <a:buFont typeface="Arial" pitchFamily="34" charset="0"/>
              <a:buChar char="•"/>
            </a:pPr>
            <a:r>
              <a:rPr lang="da-DK" sz="2000" u="sng" dirty="0"/>
              <a:t>Alene</a:t>
            </a:r>
            <a:r>
              <a:rPr lang="da-DK" sz="2000" dirty="0"/>
              <a:t> ejendomsejere, der har fået tildelt værditab på over 1 pct. af ejendommens værdi af </a:t>
            </a:r>
            <a:r>
              <a:rPr lang="da-DK" sz="2000" dirty="0" err="1"/>
              <a:t>taksationsmyndigheden</a:t>
            </a:r>
            <a:r>
              <a:rPr lang="da-DK" sz="2000" dirty="0"/>
              <a:t>, kan anvende salgsoptionen. </a:t>
            </a:r>
          </a:p>
          <a:p>
            <a:pPr marL="342900" indent="-342900" fontAlgn="base">
              <a:spcBef>
                <a:spcPts val="1000"/>
              </a:spcBef>
              <a:buFont typeface="Arial" pitchFamily="34" charset="0"/>
              <a:buChar char="•"/>
            </a:pPr>
            <a:r>
              <a:rPr lang="da-DK" sz="2000" b="1" dirty="0"/>
              <a:t>Man skal ansøge om salgsoptionen samtidig med, at der anmeldes krav om værditab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736B1DB-9643-4C47-AB1E-0101D07A07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16280" y="1273344"/>
            <a:ext cx="3205707" cy="4536000"/>
          </a:xfrm>
          <a:prstGeom prst="rect">
            <a:avLst/>
          </a:prstGeom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63960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6F1B08-F543-481F-80E8-64EB74E16A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78098"/>
          </a:xfrm>
        </p:spPr>
        <p:txBody>
          <a:bodyPr/>
          <a:lstStyle/>
          <a:p>
            <a:r>
              <a:rPr lang="da-DK" dirty="0">
                <a:solidFill>
                  <a:schemeClr val="tx1"/>
                </a:solidFill>
              </a:rPr>
              <a:t>VE-BONUS ORDN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123D6D-5B03-49DA-8C5A-4052A97A64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68760"/>
            <a:ext cx="7789642" cy="4857405"/>
          </a:xfrm>
        </p:spPr>
        <p:txBody>
          <a:bodyPr/>
          <a:lstStyle/>
          <a:p>
            <a:pPr fontAlgn="base">
              <a:spcBef>
                <a:spcPts val="1200"/>
              </a:spcBef>
            </a:pPr>
            <a:r>
              <a:rPr lang="da-DK" dirty="0">
                <a:solidFill>
                  <a:schemeClr val="tx1"/>
                </a:solidFill>
              </a:rPr>
              <a:t>VE-bonusordningen giver naboer i afstanden 4-8 gange møllehøjde fra nærmeste vindmølle og/eller 0-200 meter fra større solcelleanlæg ret til en bonus. </a:t>
            </a:r>
          </a:p>
          <a:p>
            <a:pPr fontAlgn="base">
              <a:spcBef>
                <a:spcPts val="1200"/>
              </a:spcBef>
            </a:pPr>
            <a:r>
              <a:rPr lang="da-DK" dirty="0">
                <a:solidFill>
                  <a:schemeClr val="tx1"/>
                </a:solidFill>
              </a:rPr>
              <a:t>Bonussen baseres på produktionen fra anlægget svarende til 6,5 kW. Størrelsen på bonussen vil variere i anlæggets levetid i og med, den afhænger af anlæggets produktion og elprisen.</a:t>
            </a:r>
          </a:p>
          <a:p>
            <a:pPr fontAlgn="base">
              <a:spcBef>
                <a:spcPts val="1200"/>
              </a:spcBef>
            </a:pPr>
            <a:r>
              <a:rPr lang="da-DK" dirty="0">
                <a:solidFill>
                  <a:schemeClr val="tx1"/>
                </a:solidFill>
              </a:rPr>
              <a:t>Bonussen er skattefri, og forventes at være mellem 3.000 og 6.500 kr. pr. år pr. husstand.</a:t>
            </a:r>
          </a:p>
          <a:p>
            <a:pPr fontAlgn="base"/>
            <a:endParaRPr lang="da-DK" dirty="0"/>
          </a:p>
          <a:p>
            <a:endParaRPr lang="da-DK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C751D88-8BF0-450C-B486-3643E4387A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16280" y="1269571"/>
            <a:ext cx="3183158" cy="4536000"/>
          </a:xfrm>
          <a:prstGeom prst="rect">
            <a:avLst/>
          </a:prstGeom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774817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6F1B08-F543-481F-80E8-64EB74E16A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>
                <a:solidFill>
                  <a:schemeClr val="tx1"/>
                </a:solidFill>
              </a:rPr>
              <a:t>GRØN PULJ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123D6D-5B03-49DA-8C5A-4052A97A64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417639"/>
            <a:ext cx="10972800" cy="4708526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da-DK" dirty="0">
                <a:solidFill>
                  <a:schemeClr val="tx1"/>
                </a:solidFill>
              </a:rPr>
              <a:t>Opstiller af vindmøller og solceller skal indbetale et beløb til en grøn pulje</a:t>
            </a:r>
          </a:p>
          <a:p>
            <a:pPr>
              <a:spcBef>
                <a:spcPts val="1200"/>
              </a:spcBef>
            </a:pPr>
            <a:r>
              <a:rPr lang="da-DK" dirty="0">
                <a:solidFill>
                  <a:schemeClr val="tx1"/>
                </a:solidFill>
              </a:rPr>
              <a:t>Beløbet udbetales til den kommune, hvori anlægget nettilsluttes senest 14 dage efter den første producerede kWh</a:t>
            </a:r>
          </a:p>
          <a:p>
            <a:pPr>
              <a:spcBef>
                <a:spcPts val="1200"/>
              </a:spcBef>
            </a:pPr>
            <a:r>
              <a:rPr lang="da-DK" dirty="0">
                <a:solidFill>
                  <a:schemeClr val="tx1"/>
                </a:solidFill>
              </a:rPr>
              <a:t>Opstiller skal betale et beløb, som svarer til: </a:t>
            </a:r>
          </a:p>
          <a:p>
            <a:pPr lvl="1">
              <a:spcBef>
                <a:spcPts val="1200"/>
              </a:spcBef>
            </a:pPr>
            <a:r>
              <a:rPr lang="da-DK" sz="2000" dirty="0">
                <a:solidFill>
                  <a:schemeClr val="tx1"/>
                </a:solidFill>
              </a:rPr>
              <a:t>125.000 kr. pr. MW ved landvindmøller</a:t>
            </a:r>
          </a:p>
          <a:p>
            <a:pPr lvl="1">
              <a:spcBef>
                <a:spcPts val="1200"/>
              </a:spcBef>
            </a:pPr>
            <a:r>
              <a:rPr lang="da-DK" sz="2000" dirty="0">
                <a:solidFill>
                  <a:schemeClr val="tx1"/>
                </a:solidFill>
              </a:rPr>
              <a:t>40.000 kr. pr MW sol</a:t>
            </a:r>
            <a:r>
              <a:rPr lang="da-DK" dirty="0">
                <a:solidFill>
                  <a:schemeClr val="tx1"/>
                </a:solidFill>
              </a:rPr>
              <a:t>	</a:t>
            </a:r>
          </a:p>
          <a:p>
            <a:pPr>
              <a:spcBef>
                <a:spcPts val="1200"/>
              </a:spcBef>
            </a:pPr>
            <a:r>
              <a:rPr lang="da-DK" dirty="0">
                <a:solidFill>
                  <a:schemeClr val="tx1"/>
                </a:solidFill>
              </a:rPr>
              <a:t>Kommunalbestyrelsen modtager tilskuddet fra den grønne pulje</a:t>
            </a:r>
          </a:p>
          <a:p>
            <a:pPr>
              <a:spcBef>
                <a:spcPts val="1200"/>
              </a:spcBef>
            </a:pPr>
            <a:r>
              <a:rPr lang="da-DK" dirty="0">
                <a:solidFill>
                  <a:schemeClr val="tx1"/>
                </a:solidFill>
              </a:rPr>
              <a:t>Hvis ikke kommunalbestyrelsen har allokeret midlerne 3 år efter indbetaling, skal de betale pengene tilbage til staten</a:t>
            </a:r>
          </a:p>
          <a:p>
            <a:endParaRPr lang="da-DK" dirty="0"/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726797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2A3067-2BC6-4630-9DE0-47AF297BCB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981074"/>
            <a:ext cx="11160125" cy="1439813"/>
          </a:xfrm>
        </p:spPr>
        <p:txBody>
          <a:bodyPr/>
          <a:lstStyle/>
          <a:p>
            <a:pPr algn="ctr"/>
            <a:r>
              <a:rPr lang="da-DK" dirty="0"/>
              <a:t>Informationsmøde for Lokalforening</a:t>
            </a:r>
            <a:br>
              <a:rPr lang="da-DK" dirty="0"/>
            </a:br>
            <a:r>
              <a:rPr lang="da-DK" dirty="0" err="1"/>
              <a:t>Østerstarup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453CAD61-9B10-4DEE-85AF-8AEA6B2976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758462"/>
            <a:ext cx="11160125" cy="411846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a-DK" sz="2400" dirty="0"/>
              <a:t>Agenda:</a:t>
            </a:r>
          </a:p>
          <a:p>
            <a:pPr marL="457200" lvl="0" indent="-457200">
              <a:lnSpc>
                <a:spcPct val="150000"/>
              </a:lnSpc>
              <a:buFont typeface="+mj-lt"/>
              <a:buAutoNum type="arabicPeriod"/>
            </a:pPr>
            <a:r>
              <a:rPr lang="da-DK" dirty="0"/>
              <a:t>Præsentation af Eurowind Energy A/S</a:t>
            </a:r>
          </a:p>
          <a:p>
            <a:pPr marL="457200" lvl="0" indent="-457200">
              <a:lnSpc>
                <a:spcPct val="150000"/>
              </a:lnSpc>
              <a:buFont typeface="+mj-lt"/>
              <a:buAutoNum type="arabicPeriod"/>
            </a:pPr>
            <a:r>
              <a:rPr lang="da-DK" dirty="0"/>
              <a:t>Projektgennemgang  </a:t>
            </a:r>
          </a:p>
          <a:p>
            <a:pPr marL="457200" lvl="0" indent="-457200">
              <a:lnSpc>
                <a:spcPct val="150000"/>
              </a:lnSpc>
              <a:buFont typeface="+mj-lt"/>
              <a:buAutoNum type="arabicPeriod"/>
            </a:pPr>
            <a:r>
              <a:rPr lang="da-DK" dirty="0"/>
              <a:t>VE-Loven (Taksation, Salgsoption, VE-Bonus og Grøn pulje)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da-DK" dirty="0"/>
              <a:t>Idekatalog for lokale projekter og lokalforankring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da-DK" dirty="0"/>
              <a:t>Eventuelt</a:t>
            </a:r>
          </a:p>
        </p:txBody>
      </p:sp>
    </p:spTree>
    <p:extLst>
      <p:ext uri="{BB962C8B-B14F-4D97-AF65-F5344CB8AC3E}">
        <p14:creationId xmlns:p14="http://schemas.microsoft.com/office/powerpoint/2010/main" val="1491744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D095C21E-10FE-F949-A775-D69DFCA0B4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64477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D095C21E-10FE-F949-A775-D69DFCA0B4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Rectangle 81">
            <a:extLst>
              <a:ext uri="{FF2B5EF4-FFF2-40B4-BE49-F238E27FC236}">
                <a16:creationId xmlns:a16="http://schemas.microsoft.com/office/drawing/2014/main" id="{D1676E58-813C-8C48-B824-D9A9E5DE7BAF}"/>
              </a:ext>
            </a:extLst>
          </p:cNvPr>
          <p:cNvSpPr/>
          <p:nvPr/>
        </p:nvSpPr>
        <p:spPr>
          <a:xfrm>
            <a:off x="1" y="771138"/>
            <a:ext cx="6411309" cy="212028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dirty="0">
              <a:solidFill>
                <a:schemeClr val="accent2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A8C03DD-7864-9749-BBEC-34661AAC575E}"/>
              </a:ext>
            </a:extLst>
          </p:cNvPr>
          <p:cNvSpPr/>
          <p:nvPr/>
        </p:nvSpPr>
        <p:spPr>
          <a:xfrm>
            <a:off x="85941" y="6222626"/>
            <a:ext cx="2771779" cy="6206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 sz="1000" dirty="0">
              <a:solidFill>
                <a:schemeClr val="bg1"/>
              </a:solidFill>
            </a:endParaRPr>
          </a:p>
        </p:txBody>
      </p:sp>
      <p:pic>
        <p:nvPicPr>
          <p:cNvPr id="20" name="Billede 10">
            <a:extLst>
              <a:ext uri="{FF2B5EF4-FFF2-40B4-BE49-F238E27FC236}">
                <a16:creationId xmlns:a16="http://schemas.microsoft.com/office/drawing/2014/main" id="{DB869AD4-AC36-6848-8A6E-6E304F92D975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8" y="6345324"/>
            <a:ext cx="1519660" cy="187646"/>
          </a:xfrm>
          <a:prstGeom prst="rect">
            <a:avLst/>
          </a:prstGeom>
        </p:spPr>
      </p:pic>
      <p:grpSp>
        <p:nvGrpSpPr>
          <p:cNvPr id="21" name="Group 332">
            <a:extLst>
              <a:ext uri="{FF2B5EF4-FFF2-40B4-BE49-F238E27FC236}">
                <a16:creationId xmlns:a16="http://schemas.microsoft.com/office/drawing/2014/main" id="{51F66990-DFA0-4FDC-A449-85E6351C99AE}"/>
              </a:ext>
            </a:extLst>
          </p:cNvPr>
          <p:cNvGrpSpPr>
            <a:grpSpLocks noChangeAspect="1"/>
          </p:cNvGrpSpPr>
          <p:nvPr/>
        </p:nvGrpSpPr>
        <p:grpSpPr>
          <a:xfrm>
            <a:off x="7483394" y="0"/>
            <a:ext cx="4756855" cy="2915131"/>
            <a:chOff x="1142316" y="314650"/>
            <a:chExt cx="9937104" cy="6089697"/>
          </a:xfrm>
        </p:grpSpPr>
        <p:sp>
          <p:nvSpPr>
            <p:cNvPr id="22" name="Freeform 334">
              <a:extLst>
                <a:ext uri="{FF2B5EF4-FFF2-40B4-BE49-F238E27FC236}">
                  <a16:creationId xmlns:a16="http://schemas.microsoft.com/office/drawing/2014/main" id="{AEE906C4-D6C0-4BC9-A749-123F6B7A3BC3}"/>
                </a:ext>
              </a:extLst>
            </p:cNvPr>
            <p:cNvSpPr/>
            <p:nvPr/>
          </p:nvSpPr>
          <p:spPr>
            <a:xfrm>
              <a:off x="8884454" y="314650"/>
              <a:ext cx="1346158" cy="961183"/>
            </a:xfrm>
            <a:custGeom>
              <a:avLst/>
              <a:gdLst>
                <a:gd name="connsiteX0" fmla="*/ 494778 w 1321496"/>
                <a:gd name="connsiteY0" fmla="*/ 43841 h 876821"/>
                <a:gd name="connsiteX1" fmla="*/ 331940 w 1321496"/>
                <a:gd name="connsiteY1" fmla="*/ 81419 h 876821"/>
                <a:gd name="connsiteX2" fmla="*/ 319414 w 1321496"/>
                <a:gd name="connsiteY2" fmla="*/ 156575 h 876821"/>
                <a:gd name="connsiteX3" fmla="*/ 288099 w 1321496"/>
                <a:gd name="connsiteY3" fmla="*/ 256783 h 876821"/>
                <a:gd name="connsiteX4" fmla="*/ 256783 w 1321496"/>
                <a:gd name="connsiteY4" fmla="*/ 306887 h 876821"/>
                <a:gd name="connsiteX5" fmla="*/ 181627 w 1321496"/>
                <a:gd name="connsiteY5" fmla="*/ 338202 h 876821"/>
                <a:gd name="connsiteX6" fmla="*/ 125260 w 1321496"/>
                <a:gd name="connsiteY6" fmla="*/ 369517 h 876821"/>
                <a:gd name="connsiteX7" fmla="*/ 112734 w 1321496"/>
                <a:gd name="connsiteY7" fmla="*/ 438410 h 876821"/>
                <a:gd name="connsiteX8" fmla="*/ 75156 w 1321496"/>
                <a:gd name="connsiteY8" fmla="*/ 488515 h 876821"/>
                <a:gd name="connsiteX9" fmla="*/ 37578 w 1321496"/>
                <a:gd name="connsiteY9" fmla="*/ 563671 h 876821"/>
                <a:gd name="connsiteX10" fmla="*/ 0 w 1321496"/>
                <a:gd name="connsiteY10" fmla="*/ 607512 h 876821"/>
                <a:gd name="connsiteX11" fmla="*/ 62630 w 1321496"/>
                <a:gd name="connsiteY11" fmla="*/ 701457 h 876821"/>
                <a:gd name="connsiteX12" fmla="*/ 93945 w 1321496"/>
                <a:gd name="connsiteY12" fmla="*/ 764087 h 876821"/>
                <a:gd name="connsiteX13" fmla="*/ 131523 w 1321496"/>
                <a:gd name="connsiteY13" fmla="*/ 845506 h 876821"/>
                <a:gd name="connsiteX14" fmla="*/ 294362 w 1321496"/>
                <a:gd name="connsiteY14" fmla="*/ 864295 h 876821"/>
                <a:gd name="connsiteX15" fmla="*/ 482252 w 1321496"/>
                <a:gd name="connsiteY15" fmla="*/ 876821 h 876821"/>
                <a:gd name="connsiteX16" fmla="*/ 645090 w 1321496"/>
                <a:gd name="connsiteY16" fmla="*/ 807928 h 876821"/>
                <a:gd name="connsiteX17" fmla="*/ 726509 w 1321496"/>
                <a:gd name="connsiteY17" fmla="*/ 770350 h 876821"/>
                <a:gd name="connsiteX18" fmla="*/ 870559 w 1321496"/>
                <a:gd name="connsiteY18" fmla="*/ 713983 h 876821"/>
                <a:gd name="connsiteX19" fmla="*/ 995819 w 1321496"/>
                <a:gd name="connsiteY19" fmla="*/ 695194 h 876821"/>
                <a:gd name="connsiteX20" fmla="*/ 1108553 w 1321496"/>
                <a:gd name="connsiteY20" fmla="*/ 638827 h 876821"/>
                <a:gd name="connsiteX21" fmla="*/ 1152394 w 1321496"/>
                <a:gd name="connsiteY21" fmla="*/ 576197 h 876821"/>
                <a:gd name="connsiteX22" fmla="*/ 1265129 w 1321496"/>
                <a:gd name="connsiteY22" fmla="*/ 526093 h 876821"/>
                <a:gd name="connsiteX23" fmla="*/ 1321496 w 1321496"/>
                <a:gd name="connsiteY23" fmla="*/ 444674 h 876821"/>
                <a:gd name="connsiteX24" fmla="*/ 1296444 w 1321496"/>
                <a:gd name="connsiteY24" fmla="*/ 325676 h 876821"/>
                <a:gd name="connsiteX25" fmla="*/ 1252603 w 1321496"/>
                <a:gd name="connsiteY25" fmla="*/ 288098 h 876821"/>
                <a:gd name="connsiteX26" fmla="*/ 1252603 w 1321496"/>
                <a:gd name="connsiteY26" fmla="*/ 288098 h 876821"/>
                <a:gd name="connsiteX27" fmla="*/ 1171183 w 1321496"/>
                <a:gd name="connsiteY27" fmla="*/ 244257 h 876821"/>
                <a:gd name="connsiteX28" fmla="*/ 1083501 w 1321496"/>
                <a:gd name="connsiteY28" fmla="*/ 206679 h 876821"/>
                <a:gd name="connsiteX29" fmla="*/ 1033397 w 1321496"/>
                <a:gd name="connsiteY29" fmla="*/ 150312 h 876821"/>
                <a:gd name="connsiteX30" fmla="*/ 1052186 w 1321496"/>
                <a:gd name="connsiteY30" fmla="*/ 100208 h 876821"/>
                <a:gd name="connsiteX31" fmla="*/ 1052186 w 1321496"/>
                <a:gd name="connsiteY31" fmla="*/ 62630 h 876821"/>
                <a:gd name="connsiteX32" fmla="*/ 1008345 w 1321496"/>
                <a:gd name="connsiteY32" fmla="*/ 31315 h 876821"/>
                <a:gd name="connsiteX33" fmla="*/ 801666 w 1321496"/>
                <a:gd name="connsiteY33" fmla="*/ 0 h 876821"/>
                <a:gd name="connsiteX34" fmla="*/ 551145 w 1321496"/>
                <a:gd name="connsiteY34" fmla="*/ 31315 h 876821"/>
                <a:gd name="connsiteX35" fmla="*/ 494778 w 1321496"/>
                <a:gd name="connsiteY35" fmla="*/ 43841 h 876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321496" h="876821">
                  <a:moveTo>
                    <a:pt x="494778" y="43841"/>
                  </a:moveTo>
                  <a:lnTo>
                    <a:pt x="331940" y="81419"/>
                  </a:lnTo>
                  <a:lnTo>
                    <a:pt x="319414" y="156575"/>
                  </a:lnTo>
                  <a:lnTo>
                    <a:pt x="288099" y="256783"/>
                  </a:lnTo>
                  <a:lnTo>
                    <a:pt x="256783" y="306887"/>
                  </a:lnTo>
                  <a:lnTo>
                    <a:pt x="181627" y="338202"/>
                  </a:lnTo>
                  <a:lnTo>
                    <a:pt x="125260" y="369517"/>
                  </a:lnTo>
                  <a:lnTo>
                    <a:pt x="112734" y="438410"/>
                  </a:lnTo>
                  <a:lnTo>
                    <a:pt x="75156" y="488515"/>
                  </a:lnTo>
                  <a:lnTo>
                    <a:pt x="37578" y="563671"/>
                  </a:lnTo>
                  <a:lnTo>
                    <a:pt x="0" y="607512"/>
                  </a:lnTo>
                  <a:lnTo>
                    <a:pt x="62630" y="701457"/>
                  </a:lnTo>
                  <a:lnTo>
                    <a:pt x="93945" y="764087"/>
                  </a:lnTo>
                  <a:lnTo>
                    <a:pt x="131523" y="845506"/>
                  </a:lnTo>
                  <a:lnTo>
                    <a:pt x="294362" y="864295"/>
                  </a:lnTo>
                  <a:lnTo>
                    <a:pt x="482252" y="876821"/>
                  </a:lnTo>
                  <a:lnTo>
                    <a:pt x="645090" y="807928"/>
                  </a:lnTo>
                  <a:lnTo>
                    <a:pt x="726509" y="770350"/>
                  </a:lnTo>
                  <a:lnTo>
                    <a:pt x="870559" y="713983"/>
                  </a:lnTo>
                  <a:lnTo>
                    <a:pt x="995819" y="695194"/>
                  </a:lnTo>
                  <a:lnTo>
                    <a:pt x="1108553" y="638827"/>
                  </a:lnTo>
                  <a:lnTo>
                    <a:pt x="1152394" y="576197"/>
                  </a:lnTo>
                  <a:lnTo>
                    <a:pt x="1265129" y="526093"/>
                  </a:lnTo>
                  <a:lnTo>
                    <a:pt x="1321496" y="444674"/>
                  </a:lnTo>
                  <a:lnTo>
                    <a:pt x="1296444" y="325676"/>
                  </a:lnTo>
                  <a:lnTo>
                    <a:pt x="1252603" y="288098"/>
                  </a:lnTo>
                  <a:lnTo>
                    <a:pt x="1252603" y="288098"/>
                  </a:lnTo>
                  <a:lnTo>
                    <a:pt x="1171183" y="244257"/>
                  </a:lnTo>
                  <a:lnTo>
                    <a:pt x="1083501" y="206679"/>
                  </a:lnTo>
                  <a:lnTo>
                    <a:pt x="1033397" y="150312"/>
                  </a:lnTo>
                  <a:lnTo>
                    <a:pt x="1052186" y="100208"/>
                  </a:lnTo>
                  <a:lnTo>
                    <a:pt x="1052186" y="62630"/>
                  </a:lnTo>
                  <a:lnTo>
                    <a:pt x="1008345" y="31315"/>
                  </a:lnTo>
                  <a:lnTo>
                    <a:pt x="801666" y="0"/>
                  </a:lnTo>
                  <a:lnTo>
                    <a:pt x="551145" y="31315"/>
                  </a:lnTo>
                  <a:lnTo>
                    <a:pt x="494778" y="43841"/>
                  </a:lnTo>
                  <a:close/>
                </a:path>
              </a:pathLst>
            </a:custGeom>
            <a:solidFill>
              <a:schemeClr val="tx1"/>
            </a:solidFill>
            <a:ln>
              <a:solidFill>
                <a:sysClr val="window" lastClr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3" name="Freeform 26" descr="© INSCALE GmbH, 05.05.2010&#10;http://www.presentationload.com/">
              <a:extLst>
                <a:ext uri="{FF2B5EF4-FFF2-40B4-BE49-F238E27FC236}">
                  <a16:creationId xmlns:a16="http://schemas.microsoft.com/office/drawing/2014/main" id="{EA1112DF-7628-4C34-BEAF-71822A2FD64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42316" y="1066558"/>
              <a:ext cx="2411706" cy="1105979"/>
            </a:xfrm>
            <a:custGeom>
              <a:avLst/>
              <a:gdLst/>
              <a:ahLst/>
              <a:cxnLst>
                <a:cxn ang="0">
                  <a:pos x="2480" y="201"/>
                </a:cxn>
                <a:cxn ang="0">
                  <a:pos x="2188" y="278"/>
                </a:cxn>
                <a:cxn ang="0">
                  <a:pos x="2132" y="324"/>
                </a:cxn>
                <a:cxn ang="0">
                  <a:pos x="2049" y="357"/>
                </a:cxn>
                <a:cxn ang="0">
                  <a:pos x="1824" y="413"/>
                </a:cxn>
                <a:cxn ang="0">
                  <a:pos x="1906" y="294"/>
                </a:cxn>
                <a:cxn ang="0">
                  <a:pos x="1888" y="211"/>
                </a:cxn>
                <a:cxn ang="0">
                  <a:pos x="1909" y="159"/>
                </a:cxn>
                <a:cxn ang="0">
                  <a:pos x="1821" y="151"/>
                </a:cxn>
                <a:cxn ang="0">
                  <a:pos x="1700" y="142"/>
                </a:cxn>
                <a:cxn ang="0">
                  <a:pos x="1667" y="101"/>
                </a:cxn>
                <a:cxn ang="0">
                  <a:pos x="1627" y="67"/>
                </a:cxn>
                <a:cxn ang="0">
                  <a:pos x="1510" y="35"/>
                </a:cxn>
                <a:cxn ang="0">
                  <a:pos x="292" y="130"/>
                </a:cxn>
                <a:cxn ang="0">
                  <a:pos x="255" y="78"/>
                </a:cxn>
                <a:cxn ang="0">
                  <a:pos x="250" y="177"/>
                </a:cxn>
                <a:cxn ang="0">
                  <a:pos x="66" y="387"/>
                </a:cxn>
                <a:cxn ang="0">
                  <a:pos x="29" y="605"/>
                </a:cxn>
                <a:cxn ang="0">
                  <a:pos x="20" y="688"/>
                </a:cxn>
                <a:cxn ang="0">
                  <a:pos x="108" y="822"/>
                </a:cxn>
                <a:cxn ang="0">
                  <a:pos x="380" y="973"/>
                </a:cxn>
                <a:cxn ang="0">
                  <a:pos x="625" y="975"/>
                </a:cxn>
                <a:cxn ang="0">
                  <a:pos x="756" y="1047"/>
                </a:cxn>
                <a:cxn ang="0">
                  <a:pos x="851" y="1169"/>
                </a:cxn>
                <a:cxn ang="0">
                  <a:pos x="914" y="1254"/>
                </a:cxn>
                <a:cxn ang="0">
                  <a:pos x="950" y="1180"/>
                </a:cxn>
                <a:cxn ang="0">
                  <a:pos x="999" y="1128"/>
                </a:cxn>
                <a:cxn ang="0">
                  <a:pos x="1143" y="1040"/>
                </a:cxn>
                <a:cxn ang="0">
                  <a:pos x="1288" y="1079"/>
                </a:cxn>
                <a:cxn ang="0">
                  <a:pos x="1354" y="1087"/>
                </a:cxn>
                <a:cxn ang="0">
                  <a:pos x="1365" y="1024"/>
                </a:cxn>
                <a:cxn ang="0">
                  <a:pos x="1487" y="1024"/>
                </a:cxn>
                <a:cxn ang="0">
                  <a:pos x="1616" y="1079"/>
                </a:cxn>
                <a:cxn ang="0">
                  <a:pos x="1634" y="1212"/>
                </a:cxn>
                <a:cxn ang="0">
                  <a:pos x="1681" y="1304"/>
                </a:cxn>
                <a:cxn ang="0">
                  <a:pos x="1730" y="1112"/>
                </a:cxn>
                <a:cxn ang="0">
                  <a:pos x="1780" y="919"/>
                </a:cxn>
                <a:cxn ang="0">
                  <a:pos x="1864" y="859"/>
                </a:cxn>
                <a:cxn ang="0">
                  <a:pos x="2013" y="773"/>
                </a:cxn>
                <a:cxn ang="0">
                  <a:pos x="2015" y="726"/>
                </a:cxn>
                <a:cxn ang="0">
                  <a:pos x="2016" y="647"/>
                </a:cxn>
                <a:cxn ang="0">
                  <a:pos x="2025" y="586"/>
                </a:cxn>
                <a:cxn ang="0">
                  <a:pos x="2077" y="596"/>
                </a:cxn>
                <a:cxn ang="0">
                  <a:pos x="2136" y="513"/>
                </a:cxn>
                <a:cxn ang="0">
                  <a:pos x="2240" y="475"/>
                </a:cxn>
                <a:cxn ang="0">
                  <a:pos x="2355" y="411"/>
                </a:cxn>
                <a:cxn ang="0">
                  <a:pos x="2409" y="388"/>
                </a:cxn>
                <a:cxn ang="0">
                  <a:pos x="2423" y="324"/>
                </a:cxn>
                <a:cxn ang="0">
                  <a:pos x="2556" y="260"/>
                </a:cxn>
                <a:cxn ang="0">
                  <a:pos x="2582" y="202"/>
                </a:cxn>
                <a:cxn ang="0">
                  <a:pos x="1784" y="255"/>
                </a:cxn>
                <a:cxn ang="0">
                  <a:pos x="1734" y="342"/>
                </a:cxn>
                <a:cxn ang="0">
                  <a:pos x="1687" y="307"/>
                </a:cxn>
                <a:cxn ang="0">
                  <a:pos x="1772" y="194"/>
                </a:cxn>
                <a:cxn ang="0">
                  <a:pos x="1862" y="199"/>
                </a:cxn>
              </a:cxnLst>
              <a:rect l="0" t="0" r="r" b="b"/>
              <a:pathLst>
                <a:path w="2609" h="1304">
                  <a:moveTo>
                    <a:pt x="2570" y="119"/>
                  </a:moveTo>
                  <a:cubicBezTo>
                    <a:pt x="2558" y="119"/>
                    <a:pt x="2567" y="110"/>
                    <a:pt x="2554" y="110"/>
                  </a:cubicBezTo>
                  <a:cubicBezTo>
                    <a:pt x="2541" y="110"/>
                    <a:pt x="2530" y="131"/>
                    <a:pt x="2530" y="131"/>
                  </a:cubicBezTo>
                  <a:cubicBezTo>
                    <a:pt x="2503" y="150"/>
                    <a:pt x="2503" y="150"/>
                    <a:pt x="2503" y="150"/>
                  </a:cubicBezTo>
                  <a:cubicBezTo>
                    <a:pt x="2503" y="164"/>
                    <a:pt x="2503" y="164"/>
                    <a:pt x="2503" y="164"/>
                  </a:cubicBezTo>
                  <a:cubicBezTo>
                    <a:pt x="2503" y="164"/>
                    <a:pt x="2495" y="172"/>
                    <a:pt x="2489" y="172"/>
                  </a:cubicBezTo>
                  <a:cubicBezTo>
                    <a:pt x="2483" y="172"/>
                    <a:pt x="2480" y="194"/>
                    <a:pt x="2480" y="201"/>
                  </a:cubicBezTo>
                  <a:cubicBezTo>
                    <a:pt x="2480" y="208"/>
                    <a:pt x="2473" y="201"/>
                    <a:pt x="2463" y="201"/>
                  </a:cubicBezTo>
                  <a:cubicBezTo>
                    <a:pt x="2454" y="201"/>
                    <a:pt x="2443" y="222"/>
                    <a:pt x="2443" y="222"/>
                  </a:cubicBezTo>
                  <a:cubicBezTo>
                    <a:pt x="2443" y="222"/>
                    <a:pt x="2435" y="223"/>
                    <a:pt x="2423" y="223"/>
                  </a:cubicBezTo>
                  <a:cubicBezTo>
                    <a:pt x="2411" y="223"/>
                    <a:pt x="2411" y="238"/>
                    <a:pt x="2411" y="238"/>
                  </a:cubicBezTo>
                  <a:cubicBezTo>
                    <a:pt x="2411" y="238"/>
                    <a:pt x="2280" y="238"/>
                    <a:pt x="2263" y="238"/>
                  </a:cubicBezTo>
                  <a:cubicBezTo>
                    <a:pt x="2246" y="238"/>
                    <a:pt x="2212" y="276"/>
                    <a:pt x="2204" y="276"/>
                  </a:cubicBezTo>
                  <a:cubicBezTo>
                    <a:pt x="2196" y="276"/>
                    <a:pt x="2194" y="278"/>
                    <a:pt x="2188" y="278"/>
                  </a:cubicBezTo>
                  <a:cubicBezTo>
                    <a:pt x="2187" y="278"/>
                    <a:pt x="2185" y="279"/>
                    <a:pt x="2183" y="280"/>
                  </a:cubicBezTo>
                  <a:cubicBezTo>
                    <a:pt x="2188" y="285"/>
                    <a:pt x="2189" y="291"/>
                    <a:pt x="2189" y="291"/>
                  </a:cubicBezTo>
                  <a:cubicBezTo>
                    <a:pt x="2189" y="291"/>
                    <a:pt x="2188" y="299"/>
                    <a:pt x="2181" y="305"/>
                  </a:cubicBezTo>
                  <a:cubicBezTo>
                    <a:pt x="2174" y="311"/>
                    <a:pt x="2174" y="321"/>
                    <a:pt x="2174" y="321"/>
                  </a:cubicBezTo>
                  <a:cubicBezTo>
                    <a:pt x="2162" y="320"/>
                    <a:pt x="2162" y="320"/>
                    <a:pt x="2162" y="320"/>
                  </a:cubicBezTo>
                  <a:cubicBezTo>
                    <a:pt x="2162" y="320"/>
                    <a:pt x="2162" y="324"/>
                    <a:pt x="2150" y="329"/>
                  </a:cubicBezTo>
                  <a:cubicBezTo>
                    <a:pt x="2138" y="334"/>
                    <a:pt x="2132" y="324"/>
                    <a:pt x="2132" y="324"/>
                  </a:cubicBezTo>
                  <a:cubicBezTo>
                    <a:pt x="2132" y="324"/>
                    <a:pt x="2127" y="332"/>
                    <a:pt x="2114" y="333"/>
                  </a:cubicBezTo>
                  <a:cubicBezTo>
                    <a:pt x="2101" y="334"/>
                    <a:pt x="2097" y="324"/>
                    <a:pt x="2088" y="323"/>
                  </a:cubicBezTo>
                  <a:cubicBezTo>
                    <a:pt x="2079" y="322"/>
                    <a:pt x="2072" y="330"/>
                    <a:pt x="2051" y="335"/>
                  </a:cubicBezTo>
                  <a:cubicBezTo>
                    <a:pt x="2050" y="335"/>
                    <a:pt x="2048" y="336"/>
                    <a:pt x="2047" y="336"/>
                  </a:cubicBezTo>
                  <a:cubicBezTo>
                    <a:pt x="2048" y="340"/>
                    <a:pt x="2048" y="344"/>
                    <a:pt x="2046" y="350"/>
                  </a:cubicBezTo>
                  <a:cubicBezTo>
                    <a:pt x="2045" y="352"/>
                    <a:pt x="2043" y="354"/>
                    <a:pt x="2040" y="357"/>
                  </a:cubicBezTo>
                  <a:cubicBezTo>
                    <a:pt x="2049" y="357"/>
                    <a:pt x="2049" y="357"/>
                    <a:pt x="2049" y="357"/>
                  </a:cubicBezTo>
                  <a:cubicBezTo>
                    <a:pt x="2049" y="357"/>
                    <a:pt x="1969" y="398"/>
                    <a:pt x="1961" y="401"/>
                  </a:cubicBezTo>
                  <a:cubicBezTo>
                    <a:pt x="1953" y="404"/>
                    <a:pt x="1945" y="407"/>
                    <a:pt x="1925" y="412"/>
                  </a:cubicBezTo>
                  <a:cubicBezTo>
                    <a:pt x="1905" y="417"/>
                    <a:pt x="1897" y="423"/>
                    <a:pt x="1890" y="426"/>
                  </a:cubicBezTo>
                  <a:cubicBezTo>
                    <a:pt x="1883" y="429"/>
                    <a:pt x="1871" y="427"/>
                    <a:pt x="1871" y="427"/>
                  </a:cubicBezTo>
                  <a:cubicBezTo>
                    <a:pt x="1871" y="427"/>
                    <a:pt x="1871" y="432"/>
                    <a:pt x="1859" y="433"/>
                  </a:cubicBezTo>
                  <a:cubicBezTo>
                    <a:pt x="1847" y="434"/>
                    <a:pt x="1846" y="423"/>
                    <a:pt x="1846" y="423"/>
                  </a:cubicBezTo>
                  <a:cubicBezTo>
                    <a:pt x="1846" y="423"/>
                    <a:pt x="1824" y="420"/>
                    <a:pt x="1824" y="413"/>
                  </a:cubicBezTo>
                  <a:cubicBezTo>
                    <a:pt x="1824" y="413"/>
                    <a:pt x="1837" y="407"/>
                    <a:pt x="1848" y="402"/>
                  </a:cubicBezTo>
                  <a:cubicBezTo>
                    <a:pt x="1847" y="401"/>
                    <a:pt x="1847" y="400"/>
                    <a:pt x="1846" y="400"/>
                  </a:cubicBezTo>
                  <a:cubicBezTo>
                    <a:pt x="1836" y="390"/>
                    <a:pt x="1881" y="368"/>
                    <a:pt x="1889" y="368"/>
                  </a:cubicBezTo>
                  <a:cubicBezTo>
                    <a:pt x="1897" y="368"/>
                    <a:pt x="1895" y="347"/>
                    <a:pt x="1895" y="347"/>
                  </a:cubicBezTo>
                  <a:cubicBezTo>
                    <a:pt x="1895" y="347"/>
                    <a:pt x="1898" y="343"/>
                    <a:pt x="1902" y="338"/>
                  </a:cubicBezTo>
                  <a:cubicBezTo>
                    <a:pt x="1902" y="337"/>
                    <a:pt x="1901" y="337"/>
                    <a:pt x="1901" y="337"/>
                  </a:cubicBezTo>
                  <a:cubicBezTo>
                    <a:pt x="1895" y="331"/>
                    <a:pt x="1908" y="302"/>
                    <a:pt x="1906" y="294"/>
                  </a:cubicBezTo>
                  <a:cubicBezTo>
                    <a:pt x="1904" y="286"/>
                    <a:pt x="1890" y="293"/>
                    <a:pt x="1884" y="298"/>
                  </a:cubicBezTo>
                  <a:cubicBezTo>
                    <a:pt x="1878" y="303"/>
                    <a:pt x="1850" y="321"/>
                    <a:pt x="1848" y="308"/>
                  </a:cubicBezTo>
                  <a:cubicBezTo>
                    <a:pt x="1847" y="302"/>
                    <a:pt x="1871" y="288"/>
                    <a:pt x="1874" y="283"/>
                  </a:cubicBezTo>
                  <a:cubicBezTo>
                    <a:pt x="1877" y="278"/>
                    <a:pt x="1888" y="275"/>
                    <a:pt x="1897" y="269"/>
                  </a:cubicBezTo>
                  <a:cubicBezTo>
                    <a:pt x="1906" y="263"/>
                    <a:pt x="1898" y="240"/>
                    <a:pt x="1898" y="240"/>
                  </a:cubicBezTo>
                  <a:cubicBezTo>
                    <a:pt x="1898" y="240"/>
                    <a:pt x="1901" y="245"/>
                    <a:pt x="1909" y="228"/>
                  </a:cubicBezTo>
                  <a:cubicBezTo>
                    <a:pt x="1917" y="211"/>
                    <a:pt x="1897" y="218"/>
                    <a:pt x="1888" y="211"/>
                  </a:cubicBezTo>
                  <a:cubicBezTo>
                    <a:pt x="1879" y="204"/>
                    <a:pt x="1879" y="198"/>
                    <a:pt x="1879" y="198"/>
                  </a:cubicBezTo>
                  <a:cubicBezTo>
                    <a:pt x="1879" y="198"/>
                    <a:pt x="1876" y="205"/>
                    <a:pt x="1871" y="200"/>
                  </a:cubicBezTo>
                  <a:cubicBezTo>
                    <a:pt x="1866" y="195"/>
                    <a:pt x="1872" y="185"/>
                    <a:pt x="1872" y="185"/>
                  </a:cubicBezTo>
                  <a:cubicBezTo>
                    <a:pt x="1896" y="189"/>
                    <a:pt x="1896" y="189"/>
                    <a:pt x="1896" y="189"/>
                  </a:cubicBezTo>
                  <a:cubicBezTo>
                    <a:pt x="1896" y="189"/>
                    <a:pt x="1900" y="186"/>
                    <a:pt x="1897" y="178"/>
                  </a:cubicBezTo>
                  <a:cubicBezTo>
                    <a:pt x="1896" y="174"/>
                    <a:pt x="1900" y="174"/>
                    <a:pt x="1905" y="174"/>
                  </a:cubicBezTo>
                  <a:cubicBezTo>
                    <a:pt x="1909" y="159"/>
                    <a:pt x="1909" y="159"/>
                    <a:pt x="1909" y="159"/>
                  </a:cubicBezTo>
                  <a:cubicBezTo>
                    <a:pt x="1896" y="159"/>
                    <a:pt x="1896" y="159"/>
                    <a:pt x="1896" y="159"/>
                  </a:cubicBezTo>
                  <a:cubicBezTo>
                    <a:pt x="1894" y="167"/>
                    <a:pt x="1894" y="167"/>
                    <a:pt x="1894" y="167"/>
                  </a:cubicBezTo>
                  <a:cubicBezTo>
                    <a:pt x="1878" y="161"/>
                    <a:pt x="1878" y="161"/>
                    <a:pt x="1878" y="161"/>
                  </a:cubicBezTo>
                  <a:cubicBezTo>
                    <a:pt x="1877" y="147"/>
                    <a:pt x="1877" y="147"/>
                    <a:pt x="1877" y="147"/>
                  </a:cubicBezTo>
                  <a:cubicBezTo>
                    <a:pt x="1868" y="149"/>
                    <a:pt x="1868" y="149"/>
                    <a:pt x="1868" y="149"/>
                  </a:cubicBezTo>
                  <a:cubicBezTo>
                    <a:pt x="1857" y="154"/>
                    <a:pt x="1857" y="154"/>
                    <a:pt x="1857" y="154"/>
                  </a:cubicBezTo>
                  <a:cubicBezTo>
                    <a:pt x="1821" y="151"/>
                    <a:pt x="1821" y="151"/>
                    <a:pt x="1821" y="151"/>
                  </a:cubicBezTo>
                  <a:cubicBezTo>
                    <a:pt x="1821" y="151"/>
                    <a:pt x="1808" y="162"/>
                    <a:pt x="1787" y="160"/>
                  </a:cubicBezTo>
                  <a:cubicBezTo>
                    <a:pt x="1766" y="158"/>
                    <a:pt x="1771" y="144"/>
                    <a:pt x="1767" y="139"/>
                  </a:cubicBezTo>
                  <a:cubicBezTo>
                    <a:pt x="1763" y="134"/>
                    <a:pt x="1743" y="145"/>
                    <a:pt x="1740" y="136"/>
                  </a:cubicBezTo>
                  <a:cubicBezTo>
                    <a:pt x="1777" y="115"/>
                    <a:pt x="1777" y="115"/>
                    <a:pt x="1777" y="115"/>
                  </a:cubicBezTo>
                  <a:cubicBezTo>
                    <a:pt x="1777" y="115"/>
                    <a:pt x="1772" y="110"/>
                    <a:pt x="1765" y="110"/>
                  </a:cubicBezTo>
                  <a:cubicBezTo>
                    <a:pt x="1758" y="110"/>
                    <a:pt x="1744" y="122"/>
                    <a:pt x="1740" y="123"/>
                  </a:cubicBezTo>
                  <a:cubicBezTo>
                    <a:pt x="1736" y="124"/>
                    <a:pt x="1714" y="137"/>
                    <a:pt x="1700" y="142"/>
                  </a:cubicBezTo>
                  <a:cubicBezTo>
                    <a:pt x="1686" y="147"/>
                    <a:pt x="1670" y="144"/>
                    <a:pt x="1670" y="144"/>
                  </a:cubicBezTo>
                  <a:cubicBezTo>
                    <a:pt x="1664" y="153"/>
                    <a:pt x="1664" y="153"/>
                    <a:pt x="1664" y="153"/>
                  </a:cubicBezTo>
                  <a:cubicBezTo>
                    <a:pt x="1664" y="153"/>
                    <a:pt x="1640" y="155"/>
                    <a:pt x="1631" y="154"/>
                  </a:cubicBezTo>
                  <a:cubicBezTo>
                    <a:pt x="1622" y="153"/>
                    <a:pt x="1646" y="136"/>
                    <a:pt x="1646" y="136"/>
                  </a:cubicBezTo>
                  <a:cubicBezTo>
                    <a:pt x="1646" y="136"/>
                    <a:pt x="1636" y="140"/>
                    <a:pt x="1617" y="141"/>
                  </a:cubicBezTo>
                  <a:cubicBezTo>
                    <a:pt x="1598" y="142"/>
                    <a:pt x="1596" y="154"/>
                    <a:pt x="1579" y="148"/>
                  </a:cubicBezTo>
                  <a:cubicBezTo>
                    <a:pt x="1562" y="142"/>
                    <a:pt x="1655" y="109"/>
                    <a:pt x="1667" y="101"/>
                  </a:cubicBezTo>
                  <a:cubicBezTo>
                    <a:pt x="1679" y="93"/>
                    <a:pt x="1694" y="90"/>
                    <a:pt x="1713" y="86"/>
                  </a:cubicBezTo>
                  <a:cubicBezTo>
                    <a:pt x="1718" y="85"/>
                    <a:pt x="1722" y="83"/>
                    <a:pt x="1726" y="80"/>
                  </a:cubicBezTo>
                  <a:cubicBezTo>
                    <a:pt x="1698" y="80"/>
                    <a:pt x="1701" y="74"/>
                    <a:pt x="1701" y="74"/>
                  </a:cubicBezTo>
                  <a:cubicBezTo>
                    <a:pt x="1671" y="75"/>
                    <a:pt x="1671" y="75"/>
                    <a:pt x="1671" y="75"/>
                  </a:cubicBezTo>
                  <a:cubicBezTo>
                    <a:pt x="1671" y="65"/>
                    <a:pt x="1671" y="65"/>
                    <a:pt x="1671" y="65"/>
                  </a:cubicBezTo>
                  <a:cubicBezTo>
                    <a:pt x="1671" y="65"/>
                    <a:pt x="1655" y="76"/>
                    <a:pt x="1649" y="82"/>
                  </a:cubicBezTo>
                  <a:cubicBezTo>
                    <a:pt x="1643" y="88"/>
                    <a:pt x="1630" y="64"/>
                    <a:pt x="1627" y="67"/>
                  </a:cubicBezTo>
                  <a:cubicBezTo>
                    <a:pt x="1624" y="70"/>
                    <a:pt x="1617" y="67"/>
                    <a:pt x="1611" y="67"/>
                  </a:cubicBezTo>
                  <a:cubicBezTo>
                    <a:pt x="1605" y="67"/>
                    <a:pt x="1602" y="47"/>
                    <a:pt x="1589" y="47"/>
                  </a:cubicBezTo>
                  <a:cubicBezTo>
                    <a:pt x="1576" y="47"/>
                    <a:pt x="1578" y="59"/>
                    <a:pt x="1570" y="59"/>
                  </a:cubicBezTo>
                  <a:cubicBezTo>
                    <a:pt x="1562" y="59"/>
                    <a:pt x="1555" y="49"/>
                    <a:pt x="1555" y="49"/>
                  </a:cubicBezTo>
                  <a:cubicBezTo>
                    <a:pt x="1555" y="49"/>
                    <a:pt x="1536" y="48"/>
                    <a:pt x="1528" y="40"/>
                  </a:cubicBezTo>
                  <a:cubicBezTo>
                    <a:pt x="1519" y="31"/>
                    <a:pt x="1544" y="21"/>
                    <a:pt x="1534" y="11"/>
                  </a:cubicBezTo>
                  <a:cubicBezTo>
                    <a:pt x="1524" y="0"/>
                    <a:pt x="1510" y="35"/>
                    <a:pt x="1510" y="35"/>
                  </a:cubicBezTo>
                  <a:cubicBezTo>
                    <a:pt x="368" y="35"/>
                    <a:pt x="368" y="35"/>
                    <a:pt x="368" y="35"/>
                  </a:cubicBezTo>
                  <a:cubicBezTo>
                    <a:pt x="367" y="42"/>
                    <a:pt x="365" y="48"/>
                    <a:pt x="364" y="50"/>
                  </a:cubicBezTo>
                  <a:cubicBezTo>
                    <a:pt x="360" y="56"/>
                    <a:pt x="359" y="80"/>
                    <a:pt x="359" y="80"/>
                  </a:cubicBezTo>
                  <a:cubicBezTo>
                    <a:pt x="337" y="92"/>
                    <a:pt x="337" y="92"/>
                    <a:pt x="337" y="92"/>
                  </a:cubicBezTo>
                  <a:cubicBezTo>
                    <a:pt x="335" y="104"/>
                    <a:pt x="335" y="104"/>
                    <a:pt x="335" y="104"/>
                  </a:cubicBezTo>
                  <a:cubicBezTo>
                    <a:pt x="324" y="119"/>
                    <a:pt x="324" y="119"/>
                    <a:pt x="324" y="119"/>
                  </a:cubicBezTo>
                  <a:cubicBezTo>
                    <a:pt x="292" y="130"/>
                    <a:pt x="292" y="130"/>
                    <a:pt x="292" y="130"/>
                  </a:cubicBezTo>
                  <a:cubicBezTo>
                    <a:pt x="315" y="117"/>
                    <a:pt x="315" y="117"/>
                    <a:pt x="315" y="117"/>
                  </a:cubicBezTo>
                  <a:cubicBezTo>
                    <a:pt x="300" y="115"/>
                    <a:pt x="300" y="115"/>
                    <a:pt x="300" y="115"/>
                  </a:cubicBezTo>
                  <a:cubicBezTo>
                    <a:pt x="300" y="115"/>
                    <a:pt x="314" y="95"/>
                    <a:pt x="318" y="92"/>
                  </a:cubicBezTo>
                  <a:cubicBezTo>
                    <a:pt x="322" y="89"/>
                    <a:pt x="342" y="75"/>
                    <a:pt x="332" y="75"/>
                  </a:cubicBezTo>
                  <a:cubicBezTo>
                    <a:pt x="322" y="75"/>
                    <a:pt x="313" y="77"/>
                    <a:pt x="303" y="76"/>
                  </a:cubicBezTo>
                  <a:cubicBezTo>
                    <a:pt x="293" y="75"/>
                    <a:pt x="284" y="57"/>
                    <a:pt x="275" y="61"/>
                  </a:cubicBezTo>
                  <a:cubicBezTo>
                    <a:pt x="266" y="65"/>
                    <a:pt x="257" y="57"/>
                    <a:pt x="255" y="78"/>
                  </a:cubicBezTo>
                  <a:cubicBezTo>
                    <a:pt x="253" y="99"/>
                    <a:pt x="255" y="111"/>
                    <a:pt x="252" y="113"/>
                  </a:cubicBezTo>
                  <a:cubicBezTo>
                    <a:pt x="249" y="115"/>
                    <a:pt x="239" y="130"/>
                    <a:pt x="239" y="130"/>
                  </a:cubicBezTo>
                  <a:cubicBezTo>
                    <a:pt x="257" y="134"/>
                    <a:pt x="257" y="134"/>
                    <a:pt x="257" y="134"/>
                  </a:cubicBezTo>
                  <a:cubicBezTo>
                    <a:pt x="238" y="137"/>
                    <a:pt x="238" y="137"/>
                    <a:pt x="238" y="137"/>
                  </a:cubicBezTo>
                  <a:cubicBezTo>
                    <a:pt x="241" y="148"/>
                    <a:pt x="241" y="148"/>
                    <a:pt x="241" y="148"/>
                  </a:cubicBezTo>
                  <a:cubicBezTo>
                    <a:pt x="230" y="165"/>
                    <a:pt x="230" y="165"/>
                    <a:pt x="230" y="165"/>
                  </a:cubicBezTo>
                  <a:cubicBezTo>
                    <a:pt x="230" y="165"/>
                    <a:pt x="251" y="173"/>
                    <a:pt x="250" y="177"/>
                  </a:cubicBezTo>
                  <a:cubicBezTo>
                    <a:pt x="249" y="181"/>
                    <a:pt x="218" y="175"/>
                    <a:pt x="218" y="175"/>
                  </a:cubicBezTo>
                  <a:cubicBezTo>
                    <a:pt x="218" y="175"/>
                    <a:pt x="179" y="235"/>
                    <a:pt x="169" y="247"/>
                  </a:cubicBezTo>
                  <a:cubicBezTo>
                    <a:pt x="159" y="259"/>
                    <a:pt x="112" y="315"/>
                    <a:pt x="112" y="315"/>
                  </a:cubicBezTo>
                  <a:cubicBezTo>
                    <a:pt x="114" y="330"/>
                    <a:pt x="114" y="330"/>
                    <a:pt x="114" y="330"/>
                  </a:cubicBezTo>
                  <a:cubicBezTo>
                    <a:pt x="114" y="330"/>
                    <a:pt x="101" y="332"/>
                    <a:pt x="90" y="344"/>
                  </a:cubicBezTo>
                  <a:cubicBezTo>
                    <a:pt x="79" y="356"/>
                    <a:pt x="79" y="374"/>
                    <a:pt x="79" y="374"/>
                  </a:cubicBezTo>
                  <a:cubicBezTo>
                    <a:pt x="66" y="387"/>
                    <a:pt x="66" y="387"/>
                    <a:pt x="66" y="387"/>
                  </a:cubicBezTo>
                  <a:cubicBezTo>
                    <a:pt x="63" y="421"/>
                    <a:pt x="63" y="421"/>
                    <a:pt x="63" y="421"/>
                  </a:cubicBezTo>
                  <a:cubicBezTo>
                    <a:pt x="63" y="421"/>
                    <a:pt x="39" y="453"/>
                    <a:pt x="33" y="459"/>
                  </a:cubicBezTo>
                  <a:cubicBezTo>
                    <a:pt x="27" y="465"/>
                    <a:pt x="6" y="477"/>
                    <a:pt x="8" y="488"/>
                  </a:cubicBezTo>
                  <a:cubicBezTo>
                    <a:pt x="10" y="499"/>
                    <a:pt x="26" y="506"/>
                    <a:pt x="23" y="516"/>
                  </a:cubicBezTo>
                  <a:cubicBezTo>
                    <a:pt x="20" y="526"/>
                    <a:pt x="0" y="550"/>
                    <a:pt x="0" y="562"/>
                  </a:cubicBezTo>
                  <a:cubicBezTo>
                    <a:pt x="0" y="574"/>
                    <a:pt x="13" y="615"/>
                    <a:pt x="13" y="615"/>
                  </a:cubicBezTo>
                  <a:cubicBezTo>
                    <a:pt x="29" y="605"/>
                    <a:pt x="29" y="605"/>
                    <a:pt x="29" y="605"/>
                  </a:cubicBezTo>
                  <a:cubicBezTo>
                    <a:pt x="74" y="609"/>
                    <a:pt x="74" y="609"/>
                    <a:pt x="74" y="609"/>
                  </a:cubicBezTo>
                  <a:cubicBezTo>
                    <a:pt x="74" y="609"/>
                    <a:pt x="36" y="609"/>
                    <a:pt x="33" y="615"/>
                  </a:cubicBezTo>
                  <a:cubicBezTo>
                    <a:pt x="30" y="621"/>
                    <a:pt x="31" y="635"/>
                    <a:pt x="31" y="635"/>
                  </a:cubicBezTo>
                  <a:cubicBezTo>
                    <a:pt x="31" y="635"/>
                    <a:pt x="20" y="620"/>
                    <a:pt x="16" y="626"/>
                  </a:cubicBezTo>
                  <a:cubicBezTo>
                    <a:pt x="12" y="632"/>
                    <a:pt x="2" y="651"/>
                    <a:pt x="7" y="659"/>
                  </a:cubicBezTo>
                  <a:cubicBezTo>
                    <a:pt x="12" y="667"/>
                    <a:pt x="25" y="667"/>
                    <a:pt x="25" y="667"/>
                  </a:cubicBezTo>
                  <a:cubicBezTo>
                    <a:pt x="25" y="667"/>
                    <a:pt x="23" y="688"/>
                    <a:pt x="20" y="688"/>
                  </a:cubicBezTo>
                  <a:cubicBezTo>
                    <a:pt x="17" y="688"/>
                    <a:pt x="7" y="700"/>
                    <a:pt x="7" y="709"/>
                  </a:cubicBezTo>
                  <a:cubicBezTo>
                    <a:pt x="7" y="718"/>
                    <a:pt x="20" y="733"/>
                    <a:pt x="20" y="733"/>
                  </a:cubicBezTo>
                  <a:cubicBezTo>
                    <a:pt x="20" y="733"/>
                    <a:pt x="40" y="763"/>
                    <a:pt x="39" y="770"/>
                  </a:cubicBezTo>
                  <a:cubicBezTo>
                    <a:pt x="38" y="777"/>
                    <a:pt x="16" y="799"/>
                    <a:pt x="28" y="803"/>
                  </a:cubicBezTo>
                  <a:cubicBezTo>
                    <a:pt x="40" y="807"/>
                    <a:pt x="65" y="807"/>
                    <a:pt x="65" y="807"/>
                  </a:cubicBezTo>
                  <a:cubicBezTo>
                    <a:pt x="65" y="807"/>
                    <a:pt x="67" y="828"/>
                    <a:pt x="79" y="828"/>
                  </a:cubicBezTo>
                  <a:cubicBezTo>
                    <a:pt x="91" y="828"/>
                    <a:pt x="108" y="822"/>
                    <a:pt x="108" y="822"/>
                  </a:cubicBezTo>
                  <a:cubicBezTo>
                    <a:pt x="111" y="841"/>
                    <a:pt x="111" y="841"/>
                    <a:pt x="111" y="841"/>
                  </a:cubicBezTo>
                  <a:cubicBezTo>
                    <a:pt x="111" y="841"/>
                    <a:pt x="143" y="852"/>
                    <a:pt x="143" y="867"/>
                  </a:cubicBezTo>
                  <a:cubicBezTo>
                    <a:pt x="143" y="875"/>
                    <a:pt x="140" y="889"/>
                    <a:pt x="138" y="901"/>
                  </a:cubicBezTo>
                  <a:cubicBezTo>
                    <a:pt x="141" y="903"/>
                    <a:pt x="141" y="903"/>
                    <a:pt x="141" y="903"/>
                  </a:cubicBezTo>
                  <a:cubicBezTo>
                    <a:pt x="240" y="899"/>
                    <a:pt x="240" y="899"/>
                    <a:pt x="240" y="899"/>
                  </a:cubicBezTo>
                  <a:cubicBezTo>
                    <a:pt x="230" y="909"/>
                    <a:pt x="240" y="909"/>
                    <a:pt x="240" y="909"/>
                  </a:cubicBezTo>
                  <a:cubicBezTo>
                    <a:pt x="380" y="973"/>
                    <a:pt x="380" y="973"/>
                    <a:pt x="380" y="973"/>
                  </a:cubicBezTo>
                  <a:cubicBezTo>
                    <a:pt x="512" y="971"/>
                    <a:pt x="512" y="971"/>
                    <a:pt x="512" y="971"/>
                  </a:cubicBezTo>
                  <a:cubicBezTo>
                    <a:pt x="512" y="971"/>
                    <a:pt x="512" y="971"/>
                    <a:pt x="516" y="968"/>
                  </a:cubicBezTo>
                  <a:cubicBezTo>
                    <a:pt x="519" y="964"/>
                    <a:pt x="517" y="960"/>
                    <a:pt x="517" y="954"/>
                  </a:cubicBezTo>
                  <a:cubicBezTo>
                    <a:pt x="517" y="948"/>
                    <a:pt x="524" y="944"/>
                    <a:pt x="524" y="944"/>
                  </a:cubicBezTo>
                  <a:cubicBezTo>
                    <a:pt x="597" y="944"/>
                    <a:pt x="597" y="944"/>
                    <a:pt x="597" y="944"/>
                  </a:cubicBezTo>
                  <a:cubicBezTo>
                    <a:pt x="612" y="959"/>
                    <a:pt x="607" y="967"/>
                    <a:pt x="607" y="967"/>
                  </a:cubicBezTo>
                  <a:cubicBezTo>
                    <a:pt x="625" y="975"/>
                    <a:pt x="625" y="975"/>
                    <a:pt x="625" y="975"/>
                  </a:cubicBezTo>
                  <a:cubicBezTo>
                    <a:pt x="631" y="996"/>
                    <a:pt x="631" y="996"/>
                    <a:pt x="631" y="996"/>
                  </a:cubicBezTo>
                  <a:cubicBezTo>
                    <a:pt x="631" y="996"/>
                    <a:pt x="642" y="997"/>
                    <a:pt x="653" y="1008"/>
                  </a:cubicBezTo>
                  <a:cubicBezTo>
                    <a:pt x="663" y="1018"/>
                    <a:pt x="653" y="1060"/>
                    <a:pt x="653" y="1060"/>
                  </a:cubicBezTo>
                  <a:cubicBezTo>
                    <a:pt x="653" y="1060"/>
                    <a:pt x="684" y="1094"/>
                    <a:pt x="703" y="1094"/>
                  </a:cubicBezTo>
                  <a:cubicBezTo>
                    <a:pt x="722" y="1094"/>
                    <a:pt x="735" y="1060"/>
                    <a:pt x="739" y="1056"/>
                  </a:cubicBezTo>
                  <a:cubicBezTo>
                    <a:pt x="743" y="1052"/>
                    <a:pt x="755" y="1053"/>
                    <a:pt x="755" y="1053"/>
                  </a:cubicBezTo>
                  <a:cubicBezTo>
                    <a:pt x="756" y="1047"/>
                    <a:pt x="756" y="1047"/>
                    <a:pt x="756" y="1047"/>
                  </a:cubicBezTo>
                  <a:cubicBezTo>
                    <a:pt x="766" y="1052"/>
                    <a:pt x="766" y="1052"/>
                    <a:pt x="766" y="1052"/>
                  </a:cubicBezTo>
                  <a:cubicBezTo>
                    <a:pt x="795" y="1053"/>
                    <a:pt x="795" y="1053"/>
                    <a:pt x="795" y="1053"/>
                  </a:cubicBezTo>
                  <a:cubicBezTo>
                    <a:pt x="795" y="1053"/>
                    <a:pt x="815" y="1084"/>
                    <a:pt x="823" y="1092"/>
                  </a:cubicBezTo>
                  <a:cubicBezTo>
                    <a:pt x="831" y="1100"/>
                    <a:pt x="823" y="1115"/>
                    <a:pt x="823" y="1124"/>
                  </a:cubicBezTo>
                  <a:cubicBezTo>
                    <a:pt x="823" y="1133"/>
                    <a:pt x="834" y="1140"/>
                    <a:pt x="834" y="1140"/>
                  </a:cubicBezTo>
                  <a:cubicBezTo>
                    <a:pt x="834" y="1140"/>
                    <a:pt x="835" y="1146"/>
                    <a:pt x="835" y="1153"/>
                  </a:cubicBezTo>
                  <a:cubicBezTo>
                    <a:pt x="835" y="1161"/>
                    <a:pt x="844" y="1162"/>
                    <a:pt x="851" y="1169"/>
                  </a:cubicBezTo>
                  <a:cubicBezTo>
                    <a:pt x="858" y="1176"/>
                    <a:pt x="848" y="1179"/>
                    <a:pt x="848" y="1179"/>
                  </a:cubicBezTo>
                  <a:cubicBezTo>
                    <a:pt x="848" y="1206"/>
                    <a:pt x="848" y="1206"/>
                    <a:pt x="848" y="1206"/>
                  </a:cubicBezTo>
                  <a:cubicBezTo>
                    <a:pt x="856" y="1212"/>
                    <a:pt x="856" y="1212"/>
                    <a:pt x="856" y="1212"/>
                  </a:cubicBezTo>
                  <a:cubicBezTo>
                    <a:pt x="856" y="1212"/>
                    <a:pt x="854" y="1220"/>
                    <a:pt x="854" y="1231"/>
                  </a:cubicBezTo>
                  <a:cubicBezTo>
                    <a:pt x="854" y="1242"/>
                    <a:pt x="884" y="1243"/>
                    <a:pt x="884" y="1243"/>
                  </a:cubicBezTo>
                  <a:cubicBezTo>
                    <a:pt x="890" y="1254"/>
                    <a:pt x="890" y="1254"/>
                    <a:pt x="890" y="1254"/>
                  </a:cubicBezTo>
                  <a:cubicBezTo>
                    <a:pt x="890" y="1254"/>
                    <a:pt x="909" y="1254"/>
                    <a:pt x="914" y="1254"/>
                  </a:cubicBezTo>
                  <a:cubicBezTo>
                    <a:pt x="919" y="1254"/>
                    <a:pt x="917" y="1264"/>
                    <a:pt x="928" y="1264"/>
                  </a:cubicBezTo>
                  <a:cubicBezTo>
                    <a:pt x="933" y="1264"/>
                    <a:pt x="937" y="1263"/>
                    <a:pt x="940" y="1262"/>
                  </a:cubicBezTo>
                  <a:cubicBezTo>
                    <a:pt x="930" y="1213"/>
                    <a:pt x="930" y="1213"/>
                    <a:pt x="930" y="1213"/>
                  </a:cubicBezTo>
                  <a:cubicBezTo>
                    <a:pt x="942" y="1202"/>
                    <a:pt x="942" y="1202"/>
                    <a:pt x="942" y="1202"/>
                  </a:cubicBezTo>
                  <a:cubicBezTo>
                    <a:pt x="929" y="1193"/>
                    <a:pt x="929" y="1193"/>
                    <a:pt x="929" y="1193"/>
                  </a:cubicBezTo>
                  <a:cubicBezTo>
                    <a:pt x="929" y="1180"/>
                    <a:pt x="929" y="1180"/>
                    <a:pt x="929" y="1180"/>
                  </a:cubicBezTo>
                  <a:cubicBezTo>
                    <a:pt x="929" y="1180"/>
                    <a:pt x="947" y="1192"/>
                    <a:pt x="950" y="1180"/>
                  </a:cubicBezTo>
                  <a:cubicBezTo>
                    <a:pt x="953" y="1168"/>
                    <a:pt x="950" y="1159"/>
                    <a:pt x="950" y="1159"/>
                  </a:cubicBezTo>
                  <a:cubicBezTo>
                    <a:pt x="966" y="1157"/>
                    <a:pt x="966" y="1157"/>
                    <a:pt x="966" y="1157"/>
                  </a:cubicBezTo>
                  <a:cubicBezTo>
                    <a:pt x="971" y="1139"/>
                    <a:pt x="971" y="1139"/>
                    <a:pt x="971" y="1139"/>
                  </a:cubicBezTo>
                  <a:cubicBezTo>
                    <a:pt x="981" y="1144"/>
                    <a:pt x="981" y="1144"/>
                    <a:pt x="981" y="1144"/>
                  </a:cubicBezTo>
                  <a:cubicBezTo>
                    <a:pt x="994" y="1137"/>
                    <a:pt x="994" y="1137"/>
                    <a:pt x="994" y="1137"/>
                  </a:cubicBezTo>
                  <a:cubicBezTo>
                    <a:pt x="989" y="1121"/>
                    <a:pt x="989" y="1121"/>
                    <a:pt x="989" y="1121"/>
                  </a:cubicBezTo>
                  <a:cubicBezTo>
                    <a:pt x="999" y="1128"/>
                    <a:pt x="999" y="1128"/>
                    <a:pt x="999" y="1128"/>
                  </a:cubicBezTo>
                  <a:cubicBezTo>
                    <a:pt x="999" y="1128"/>
                    <a:pt x="1003" y="1106"/>
                    <a:pt x="1009" y="1110"/>
                  </a:cubicBezTo>
                  <a:cubicBezTo>
                    <a:pt x="1015" y="1114"/>
                    <a:pt x="1016" y="1125"/>
                    <a:pt x="1022" y="1122"/>
                  </a:cubicBezTo>
                  <a:cubicBezTo>
                    <a:pt x="1028" y="1119"/>
                    <a:pt x="1056" y="1111"/>
                    <a:pt x="1064" y="1103"/>
                  </a:cubicBezTo>
                  <a:cubicBezTo>
                    <a:pt x="1072" y="1095"/>
                    <a:pt x="1086" y="1076"/>
                    <a:pt x="1086" y="1076"/>
                  </a:cubicBezTo>
                  <a:cubicBezTo>
                    <a:pt x="1086" y="1076"/>
                    <a:pt x="1078" y="1053"/>
                    <a:pt x="1088" y="1052"/>
                  </a:cubicBezTo>
                  <a:cubicBezTo>
                    <a:pt x="1098" y="1051"/>
                    <a:pt x="1109" y="1075"/>
                    <a:pt x="1121" y="1068"/>
                  </a:cubicBezTo>
                  <a:cubicBezTo>
                    <a:pt x="1133" y="1061"/>
                    <a:pt x="1137" y="1033"/>
                    <a:pt x="1143" y="1040"/>
                  </a:cubicBezTo>
                  <a:cubicBezTo>
                    <a:pt x="1149" y="1047"/>
                    <a:pt x="1152" y="1053"/>
                    <a:pt x="1157" y="1053"/>
                  </a:cubicBezTo>
                  <a:cubicBezTo>
                    <a:pt x="1162" y="1053"/>
                    <a:pt x="1173" y="1037"/>
                    <a:pt x="1173" y="1037"/>
                  </a:cubicBezTo>
                  <a:cubicBezTo>
                    <a:pt x="1173" y="1037"/>
                    <a:pt x="1192" y="1068"/>
                    <a:pt x="1206" y="1066"/>
                  </a:cubicBezTo>
                  <a:cubicBezTo>
                    <a:pt x="1220" y="1064"/>
                    <a:pt x="1222" y="1033"/>
                    <a:pt x="1238" y="1049"/>
                  </a:cubicBezTo>
                  <a:cubicBezTo>
                    <a:pt x="1254" y="1065"/>
                    <a:pt x="1246" y="1083"/>
                    <a:pt x="1256" y="1083"/>
                  </a:cubicBezTo>
                  <a:cubicBezTo>
                    <a:pt x="1266" y="1083"/>
                    <a:pt x="1282" y="1090"/>
                    <a:pt x="1282" y="1090"/>
                  </a:cubicBezTo>
                  <a:cubicBezTo>
                    <a:pt x="1282" y="1090"/>
                    <a:pt x="1281" y="1074"/>
                    <a:pt x="1288" y="1079"/>
                  </a:cubicBezTo>
                  <a:cubicBezTo>
                    <a:pt x="1295" y="1084"/>
                    <a:pt x="1303" y="1103"/>
                    <a:pt x="1308" y="1091"/>
                  </a:cubicBezTo>
                  <a:cubicBezTo>
                    <a:pt x="1313" y="1079"/>
                    <a:pt x="1306" y="1064"/>
                    <a:pt x="1306" y="1064"/>
                  </a:cubicBezTo>
                  <a:cubicBezTo>
                    <a:pt x="1320" y="1069"/>
                    <a:pt x="1320" y="1069"/>
                    <a:pt x="1320" y="1069"/>
                  </a:cubicBezTo>
                  <a:cubicBezTo>
                    <a:pt x="1325" y="1080"/>
                    <a:pt x="1325" y="1080"/>
                    <a:pt x="1325" y="1080"/>
                  </a:cubicBezTo>
                  <a:cubicBezTo>
                    <a:pt x="1335" y="1083"/>
                    <a:pt x="1335" y="1083"/>
                    <a:pt x="1335" y="1083"/>
                  </a:cubicBezTo>
                  <a:cubicBezTo>
                    <a:pt x="1335" y="1092"/>
                    <a:pt x="1335" y="1092"/>
                    <a:pt x="1335" y="1092"/>
                  </a:cubicBezTo>
                  <a:cubicBezTo>
                    <a:pt x="1335" y="1092"/>
                    <a:pt x="1359" y="1099"/>
                    <a:pt x="1354" y="1087"/>
                  </a:cubicBezTo>
                  <a:cubicBezTo>
                    <a:pt x="1349" y="1075"/>
                    <a:pt x="1335" y="1070"/>
                    <a:pt x="1335" y="1070"/>
                  </a:cubicBezTo>
                  <a:cubicBezTo>
                    <a:pt x="1329" y="1060"/>
                    <a:pt x="1329" y="1060"/>
                    <a:pt x="1329" y="1060"/>
                  </a:cubicBezTo>
                  <a:cubicBezTo>
                    <a:pt x="1329" y="1060"/>
                    <a:pt x="1349" y="1057"/>
                    <a:pt x="1347" y="1049"/>
                  </a:cubicBezTo>
                  <a:cubicBezTo>
                    <a:pt x="1345" y="1041"/>
                    <a:pt x="1343" y="1039"/>
                    <a:pt x="1334" y="1040"/>
                  </a:cubicBezTo>
                  <a:cubicBezTo>
                    <a:pt x="1325" y="1041"/>
                    <a:pt x="1298" y="1044"/>
                    <a:pt x="1307" y="1030"/>
                  </a:cubicBezTo>
                  <a:cubicBezTo>
                    <a:pt x="1316" y="1016"/>
                    <a:pt x="1325" y="1027"/>
                    <a:pt x="1336" y="1030"/>
                  </a:cubicBezTo>
                  <a:cubicBezTo>
                    <a:pt x="1347" y="1033"/>
                    <a:pt x="1355" y="1031"/>
                    <a:pt x="1365" y="1024"/>
                  </a:cubicBezTo>
                  <a:cubicBezTo>
                    <a:pt x="1375" y="1017"/>
                    <a:pt x="1386" y="1017"/>
                    <a:pt x="1386" y="1017"/>
                  </a:cubicBezTo>
                  <a:cubicBezTo>
                    <a:pt x="1387" y="1021"/>
                    <a:pt x="1387" y="1021"/>
                    <a:pt x="1387" y="1021"/>
                  </a:cubicBezTo>
                  <a:cubicBezTo>
                    <a:pt x="1387" y="1021"/>
                    <a:pt x="1417" y="1021"/>
                    <a:pt x="1417" y="1014"/>
                  </a:cubicBezTo>
                  <a:cubicBezTo>
                    <a:pt x="1417" y="1007"/>
                    <a:pt x="1423" y="992"/>
                    <a:pt x="1426" y="997"/>
                  </a:cubicBezTo>
                  <a:cubicBezTo>
                    <a:pt x="1429" y="1002"/>
                    <a:pt x="1429" y="1024"/>
                    <a:pt x="1429" y="1024"/>
                  </a:cubicBezTo>
                  <a:cubicBezTo>
                    <a:pt x="1429" y="1024"/>
                    <a:pt x="1462" y="1012"/>
                    <a:pt x="1471" y="1013"/>
                  </a:cubicBezTo>
                  <a:cubicBezTo>
                    <a:pt x="1480" y="1014"/>
                    <a:pt x="1487" y="1024"/>
                    <a:pt x="1487" y="1024"/>
                  </a:cubicBezTo>
                  <a:cubicBezTo>
                    <a:pt x="1487" y="1024"/>
                    <a:pt x="1484" y="1008"/>
                    <a:pt x="1494" y="1012"/>
                  </a:cubicBezTo>
                  <a:cubicBezTo>
                    <a:pt x="1504" y="1016"/>
                    <a:pt x="1504" y="1030"/>
                    <a:pt x="1504" y="1030"/>
                  </a:cubicBezTo>
                  <a:cubicBezTo>
                    <a:pt x="1524" y="1025"/>
                    <a:pt x="1524" y="1025"/>
                    <a:pt x="1524" y="1025"/>
                  </a:cubicBezTo>
                  <a:cubicBezTo>
                    <a:pt x="1520" y="1033"/>
                    <a:pt x="1520" y="1033"/>
                    <a:pt x="1520" y="1033"/>
                  </a:cubicBezTo>
                  <a:cubicBezTo>
                    <a:pt x="1520" y="1033"/>
                    <a:pt x="1521" y="1065"/>
                    <a:pt x="1539" y="1061"/>
                  </a:cubicBezTo>
                  <a:cubicBezTo>
                    <a:pt x="1557" y="1057"/>
                    <a:pt x="1570" y="1031"/>
                    <a:pt x="1588" y="1035"/>
                  </a:cubicBezTo>
                  <a:cubicBezTo>
                    <a:pt x="1606" y="1039"/>
                    <a:pt x="1607" y="1073"/>
                    <a:pt x="1616" y="1079"/>
                  </a:cubicBezTo>
                  <a:cubicBezTo>
                    <a:pt x="1625" y="1085"/>
                    <a:pt x="1643" y="1085"/>
                    <a:pt x="1643" y="1085"/>
                  </a:cubicBezTo>
                  <a:cubicBezTo>
                    <a:pt x="1640" y="1111"/>
                    <a:pt x="1640" y="1111"/>
                    <a:pt x="1640" y="1111"/>
                  </a:cubicBezTo>
                  <a:cubicBezTo>
                    <a:pt x="1640" y="1111"/>
                    <a:pt x="1621" y="1139"/>
                    <a:pt x="1623" y="1147"/>
                  </a:cubicBezTo>
                  <a:cubicBezTo>
                    <a:pt x="1625" y="1155"/>
                    <a:pt x="1635" y="1156"/>
                    <a:pt x="1635" y="1156"/>
                  </a:cubicBezTo>
                  <a:cubicBezTo>
                    <a:pt x="1640" y="1166"/>
                    <a:pt x="1640" y="1166"/>
                    <a:pt x="1640" y="1166"/>
                  </a:cubicBezTo>
                  <a:cubicBezTo>
                    <a:pt x="1621" y="1179"/>
                    <a:pt x="1621" y="1179"/>
                    <a:pt x="1621" y="1179"/>
                  </a:cubicBezTo>
                  <a:cubicBezTo>
                    <a:pt x="1634" y="1212"/>
                    <a:pt x="1634" y="1212"/>
                    <a:pt x="1634" y="1212"/>
                  </a:cubicBezTo>
                  <a:cubicBezTo>
                    <a:pt x="1634" y="1212"/>
                    <a:pt x="1649" y="1193"/>
                    <a:pt x="1650" y="1199"/>
                  </a:cubicBezTo>
                  <a:cubicBezTo>
                    <a:pt x="1651" y="1205"/>
                    <a:pt x="1639" y="1230"/>
                    <a:pt x="1639" y="1230"/>
                  </a:cubicBezTo>
                  <a:cubicBezTo>
                    <a:pt x="1649" y="1227"/>
                    <a:pt x="1649" y="1227"/>
                    <a:pt x="1649" y="1227"/>
                  </a:cubicBezTo>
                  <a:cubicBezTo>
                    <a:pt x="1652" y="1259"/>
                    <a:pt x="1652" y="1259"/>
                    <a:pt x="1652" y="1259"/>
                  </a:cubicBezTo>
                  <a:cubicBezTo>
                    <a:pt x="1652" y="1259"/>
                    <a:pt x="1669" y="1259"/>
                    <a:pt x="1669" y="1265"/>
                  </a:cubicBezTo>
                  <a:cubicBezTo>
                    <a:pt x="1669" y="1271"/>
                    <a:pt x="1666" y="1287"/>
                    <a:pt x="1666" y="1287"/>
                  </a:cubicBezTo>
                  <a:cubicBezTo>
                    <a:pt x="1681" y="1304"/>
                    <a:pt x="1681" y="1304"/>
                    <a:pt x="1681" y="1304"/>
                  </a:cubicBezTo>
                  <a:cubicBezTo>
                    <a:pt x="1681" y="1304"/>
                    <a:pt x="1705" y="1298"/>
                    <a:pt x="1707" y="1291"/>
                  </a:cubicBezTo>
                  <a:cubicBezTo>
                    <a:pt x="1709" y="1284"/>
                    <a:pt x="1711" y="1271"/>
                    <a:pt x="1711" y="1271"/>
                  </a:cubicBezTo>
                  <a:cubicBezTo>
                    <a:pt x="1723" y="1271"/>
                    <a:pt x="1723" y="1271"/>
                    <a:pt x="1723" y="1271"/>
                  </a:cubicBezTo>
                  <a:cubicBezTo>
                    <a:pt x="1723" y="1271"/>
                    <a:pt x="1722" y="1250"/>
                    <a:pt x="1729" y="1240"/>
                  </a:cubicBezTo>
                  <a:cubicBezTo>
                    <a:pt x="1736" y="1230"/>
                    <a:pt x="1740" y="1213"/>
                    <a:pt x="1737" y="1203"/>
                  </a:cubicBezTo>
                  <a:cubicBezTo>
                    <a:pt x="1734" y="1193"/>
                    <a:pt x="1724" y="1160"/>
                    <a:pt x="1724" y="1151"/>
                  </a:cubicBezTo>
                  <a:cubicBezTo>
                    <a:pt x="1724" y="1142"/>
                    <a:pt x="1730" y="1128"/>
                    <a:pt x="1730" y="1112"/>
                  </a:cubicBezTo>
                  <a:cubicBezTo>
                    <a:pt x="1730" y="1096"/>
                    <a:pt x="1710" y="1070"/>
                    <a:pt x="1714" y="1056"/>
                  </a:cubicBezTo>
                  <a:cubicBezTo>
                    <a:pt x="1718" y="1042"/>
                    <a:pt x="1710" y="1002"/>
                    <a:pt x="1722" y="987"/>
                  </a:cubicBezTo>
                  <a:cubicBezTo>
                    <a:pt x="1734" y="972"/>
                    <a:pt x="1742" y="948"/>
                    <a:pt x="1742" y="948"/>
                  </a:cubicBezTo>
                  <a:cubicBezTo>
                    <a:pt x="1752" y="942"/>
                    <a:pt x="1752" y="942"/>
                    <a:pt x="1752" y="942"/>
                  </a:cubicBezTo>
                  <a:cubicBezTo>
                    <a:pt x="1765" y="929"/>
                    <a:pt x="1765" y="929"/>
                    <a:pt x="1765" y="929"/>
                  </a:cubicBezTo>
                  <a:cubicBezTo>
                    <a:pt x="1771" y="913"/>
                    <a:pt x="1771" y="913"/>
                    <a:pt x="1771" y="913"/>
                  </a:cubicBezTo>
                  <a:cubicBezTo>
                    <a:pt x="1780" y="919"/>
                    <a:pt x="1780" y="919"/>
                    <a:pt x="1780" y="919"/>
                  </a:cubicBezTo>
                  <a:cubicBezTo>
                    <a:pt x="1783" y="905"/>
                    <a:pt x="1783" y="905"/>
                    <a:pt x="1783" y="905"/>
                  </a:cubicBezTo>
                  <a:cubicBezTo>
                    <a:pt x="1783" y="905"/>
                    <a:pt x="1813" y="909"/>
                    <a:pt x="1818" y="903"/>
                  </a:cubicBezTo>
                  <a:cubicBezTo>
                    <a:pt x="1823" y="897"/>
                    <a:pt x="1819" y="886"/>
                    <a:pt x="1819" y="886"/>
                  </a:cubicBezTo>
                  <a:cubicBezTo>
                    <a:pt x="1832" y="887"/>
                    <a:pt x="1832" y="887"/>
                    <a:pt x="1832" y="887"/>
                  </a:cubicBezTo>
                  <a:cubicBezTo>
                    <a:pt x="1836" y="881"/>
                    <a:pt x="1836" y="881"/>
                    <a:pt x="1836" y="881"/>
                  </a:cubicBezTo>
                  <a:cubicBezTo>
                    <a:pt x="1847" y="880"/>
                    <a:pt x="1847" y="880"/>
                    <a:pt x="1847" y="880"/>
                  </a:cubicBezTo>
                  <a:cubicBezTo>
                    <a:pt x="1864" y="859"/>
                    <a:pt x="1864" y="859"/>
                    <a:pt x="1864" y="859"/>
                  </a:cubicBezTo>
                  <a:cubicBezTo>
                    <a:pt x="1864" y="859"/>
                    <a:pt x="1868" y="839"/>
                    <a:pt x="1887" y="834"/>
                  </a:cubicBezTo>
                  <a:cubicBezTo>
                    <a:pt x="1906" y="829"/>
                    <a:pt x="1917" y="840"/>
                    <a:pt x="1926" y="831"/>
                  </a:cubicBezTo>
                  <a:cubicBezTo>
                    <a:pt x="1935" y="822"/>
                    <a:pt x="1941" y="805"/>
                    <a:pt x="1941" y="805"/>
                  </a:cubicBezTo>
                  <a:cubicBezTo>
                    <a:pt x="1951" y="807"/>
                    <a:pt x="1951" y="807"/>
                    <a:pt x="1951" y="807"/>
                  </a:cubicBezTo>
                  <a:cubicBezTo>
                    <a:pt x="1956" y="792"/>
                    <a:pt x="1956" y="792"/>
                    <a:pt x="1956" y="792"/>
                  </a:cubicBezTo>
                  <a:cubicBezTo>
                    <a:pt x="2010" y="789"/>
                    <a:pt x="2010" y="789"/>
                    <a:pt x="2010" y="789"/>
                  </a:cubicBezTo>
                  <a:cubicBezTo>
                    <a:pt x="2013" y="773"/>
                    <a:pt x="2013" y="773"/>
                    <a:pt x="2013" y="773"/>
                  </a:cubicBezTo>
                  <a:cubicBezTo>
                    <a:pt x="1988" y="775"/>
                    <a:pt x="1988" y="775"/>
                    <a:pt x="1988" y="775"/>
                  </a:cubicBezTo>
                  <a:cubicBezTo>
                    <a:pt x="1988" y="775"/>
                    <a:pt x="2002" y="770"/>
                    <a:pt x="2001" y="763"/>
                  </a:cubicBezTo>
                  <a:cubicBezTo>
                    <a:pt x="2000" y="756"/>
                    <a:pt x="1990" y="749"/>
                    <a:pt x="1990" y="749"/>
                  </a:cubicBezTo>
                  <a:cubicBezTo>
                    <a:pt x="2013" y="745"/>
                    <a:pt x="2013" y="745"/>
                    <a:pt x="2013" y="745"/>
                  </a:cubicBezTo>
                  <a:cubicBezTo>
                    <a:pt x="2029" y="751"/>
                    <a:pt x="2029" y="751"/>
                    <a:pt x="2029" y="751"/>
                  </a:cubicBezTo>
                  <a:cubicBezTo>
                    <a:pt x="2052" y="727"/>
                    <a:pt x="2052" y="727"/>
                    <a:pt x="2052" y="727"/>
                  </a:cubicBezTo>
                  <a:cubicBezTo>
                    <a:pt x="2015" y="726"/>
                    <a:pt x="2015" y="726"/>
                    <a:pt x="2015" y="726"/>
                  </a:cubicBezTo>
                  <a:cubicBezTo>
                    <a:pt x="2013" y="709"/>
                    <a:pt x="2013" y="709"/>
                    <a:pt x="2013" y="709"/>
                  </a:cubicBezTo>
                  <a:cubicBezTo>
                    <a:pt x="2022" y="718"/>
                    <a:pt x="2022" y="718"/>
                    <a:pt x="2022" y="718"/>
                  </a:cubicBezTo>
                  <a:cubicBezTo>
                    <a:pt x="2052" y="707"/>
                    <a:pt x="2052" y="707"/>
                    <a:pt x="2052" y="707"/>
                  </a:cubicBezTo>
                  <a:cubicBezTo>
                    <a:pt x="2055" y="668"/>
                    <a:pt x="2055" y="668"/>
                    <a:pt x="2055" y="668"/>
                  </a:cubicBezTo>
                  <a:cubicBezTo>
                    <a:pt x="2036" y="676"/>
                    <a:pt x="2036" y="676"/>
                    <a:pt x="2036" y="676"/>
                  </a:cubicBezTo>
                  <a:cubicBezTo>
                    <a:pt x="2032" y="658"/>
                    <a:pt x="2032" y="658"/>
                    <a:pt x="2032" y="658"/>
                  </a:cubicBezTo>
                  <a:cubicBezTo>
                    <a:pt x="2016" y="647"/>
                    <a:pt x="2016" y="647"/>
                    <a:pt x="2016" y="647"/>
                  </a:cubicBezTo>
                  <a:cubicBezTo>
                    <a:pt x="2045" y="662"/>
                    <a:pt x="2045" y="662"/>
                    <a:pt x="2045" y="662"/>
                  </a:cubicBezTo>
                  <a:cubicBezTo>
                    <a:pt x="2052" y="656"/>
                    <a:pt x="2052" y="656"/>
                    <a:pt x="2052" y="656"/>
                  </a:cubicBezTo>
                  <a:cubicBezTo>
                    <a:pt x="2039" y="646"/>
                    <a:pt x="2039" y="646"/>
                    <a:pt x="2039" y="646"/>
                  </a:cubicBezTo>
                  <a:cubicBezTo>
                    <a:pt x="2057" y="646"/>
                    <a:pt x="2057" y="646"/>
                    <a:pt x="2057" y="646"/>
                  </a:cubicBezTo>
                  <a:cubicBezTo>
                    <a:pt x="2057" y="646"/>
                    <a:pt x="2035" y="617"/>
                    <a:pt x="2035" y="610"/>
                  </a:cubicBezTo>
                  <a:cubicBezTo>
                    <a:pt x="2035" y="603"/>
                    <a:pt x="2040" y="600"/>
                    <a:pt x="2040" y="600"/>
                  </a:cubicBezTo>
                  <a:cubicBezTo>
                    <a:pt x="2040" y="600"/>
                    <a:pt x="2023" y="589"/>
                    <a:pt x="2025" y="586"/>
                  </a:cubicBezTo>
                  <a:cubicBezTo>
                    <a:pt x="2027" y="583"/>
                    <a:pt x="2046" y="571"/>
                    <a:pt x="2046" y="571"/>
                  </a:cubicBezTo>
                  <a:cubicBezTo>
                    <a:pt x="2041" y="589"/>
                    <a:pt x="2041" y="589"/>
                    <a:pt x="2041" y="589"/>
                  </a:cubicBezTo>
                  <a:cubicBezTo>
                    <a:pt x="2062" y="606"/>
                    <a:pt x="2062" y="606"/>
                    <a:pt x="2062" y="606"/>
                  </a:cubicBezTo>
                  <a:cubicBezTo>
                    <a:pt x="2062" y="606"/>
                    <a:pt x="2070" y="582"/>
                    <a:pt x="2070" y="569"/>
                  </a:cubicBezTo>
                  <a:cubicBezTo>
                    <a:pt x="2070" y="556"/>
                    <a:pt x="2108" y="525"/>
                    <a:pt x="2107" y="533"/>
                  </a:cubicBezTo>
                  <a:cubicBezTo>
                    <a:pt x="2106" y="541"/>
                    <a:pt x="2083" y="574"/>
                    <a:pt x="2083" y="574"/>
                  </a:cubicBezTo>
                  <a:cubicBezTo>
                    <a:pt x="2077" y="596"/>
                    <a:pt x="2077" y="596"/>
                    <a:pt x="2077" y="596"/>
                  </a:cubicBezTo>
                  <a:cubicBezTo>
                    <a:pt x="2090" y="597"/>
                    <a:pt x="2090" y="597"/>
                    <a:pt x="2090" y="597"/>
                  </a:cubicBezTo>
                  <a:cubicBezTo>
                    <a:pt x="2090" y="597"/>
                    <a:pt x="2087" y="619"/>
                    <a:pt x="2082" y="623"/>
                  </a:cubicBezTo>
                  <a:cubicBezTo>
                    <a:pt x="2077" y="627"/>
                    <a:pt x="2059" y="661"/>
                    <a:pt x="2066" y="661"/>
                  </a:cubicBezTo>
                  <a:cubicBezTo>
                    <a:pt x="2073" y="661"/>
                    <a:pt x="2083" y="637"/>
                    <a:pt x="2089" y="632"/>
                  </a:cubicBezTo>
                  <a:cubicBezTo>
                    <a:pt x="2095" y="627"/>
                    <a:pt x="2125" y="611"/>
                    <a:pt x="2127" y="598"/>
                  </a:cubicBezTo>
                  <a:cubicBezTo>
                    <a:pt x="2129" y="585"/>
                    <a:pt x="2125" y="564"/>
                    <a:pt x="2125" y="553"/>
                  </a:cubicBezTo>
                  <a:cubicBezTo>
                    <a:pt x="2125" y="542"/>
                    <a:pt x="2129" y="516"/>
                    <a:pt x="2136" y="513"/>
                  </a:cubicBezTo>
                  <a:cubicBezTo>
                    <a:pt x="2143" y="510"/>
                    <a:pt x="2138" y="515"/>
                    <a:pt x="2135" y="528"/>
                  </a:cubicBezTo>
                  <a:cubicBezTo>
                    <a:pt x="2132" y="541"/>
                    <a:pt x="2144" y="545"/>
                    <a:pt x="2144" y="545"/>
                  </a:cubicBezTo>
                  <a:cubicBezTo>
                    <a:pt x="2144" y="545"/>
                    <a:pt x="2138" y="570"/>
                    <a:pt x="2141" y="570"/>
                  </a:cubicBezTo>
                  <a:cubicBezTo>
                    <a:pt x="2144" y="570"/>
                    <a:pt x="2175" y="531"/>
                    <a:pt x="2185" y="521"/>
                  </a:cubicBezTo>
                  <a:cubicBezTo>
                    <a:pt x="2195" y="511"/>
                    <a:pt x="2217" y="495"/>
                    <a:pt x="2214" y="491"/>
                  </a:cubicBezTo>
                  <a:cubicBezTo>
                    <a:pt x="2211" y="487"/>
                    <a:pt x="2202" y="490"/>
                    <a:pt x="2202" y="480"/>
                  </a:cubicBezTo>
                  <a:cubicBezTo>
                    <a:pt x="2202" y="470"/>
                    <a:pt x="2220" y="475"/>
                    <a:pt x="2240" y="475"/>
                  </a:cubicBezTo>
                  <a:cubicBezTo>
                    <a:pt x="2260" y="475"/>
                    <a:pt x="2306" y="453"/>
                    <a:pt x="2306" y="453"/>
                  </a:cubicBezTo>
                  <a:cubicBezTo>
                    <a:pt x="2293" y="447"/>
                    <a:pt x="2293" y="447"/>
                    <a:pt x="2293" y="447"/>
                  </a:cubicBezTo>
                  <a:cubicBezTo>
                    <a:pt x="2293" y="447"/>
                    <a:pt x="2269" y="458"/>
                    <a:pt x="2257" y="459"/>
                  </a:cubicBezTo>
                  <a:cubicBezTo>
                    <a:pt x="2245" y="460"/>
                    <a:pt x="2225" y="468"/>
                    <a:pt x="2228" y="455"/>
                  </a:cubicBezTo>
                  <a:cubicBezTo>
                    <a:pt x="2231" y="442"/>
                    <a:pt x="2266" y="439"/>
                    <a:pt x="2266" y="439"/>
                  </a:cubicBezTo>
                  <a:cubicBezTo>
                    <a:pt x="2326" y="438"/>
                    <a:pt x="2326" y="438"/>
                    <a:pt x="2326" y="438"/>
                  </a:cubicBezTo>
                  <a:cubicBezTo>
                    <a:pt x="2355" y="411"/>
                    <a:pt x="2355" y="411"/>
                    <a:pt x="2355" y="411"/>
                  </a:cubicBezTo>
                  <a:cubicBezTo>
                    <a:pt x="2361" y="421"/>
                    <a:pt x="2361" y="421"/>
                    <a:pt x="2361" y="421"/>
                  </a:cubicBezTo>
                  <a:cubicBezTo>
                    <a:pt x="2379" y="412"/>
                    <a:pt x="2379" y="412"/>
                    <a:pt x="2379" y="412"/>
                  </a:cubicBezTo>
                  <a:cubicBezTo>
                    <a:pt x="2377" y="435"/>
                    <a:pt x="2377" y="435"/>
                    <a:pt x="2377" y="435"/>
                  </a:cubicBezTo>
                  <a:cubicBezTo>
                    <a:pt x="2397" y="422"/>
                    <a:pt x="2397" y="422"/>
                    <a:pt x="2397" y="422"/>
                  </a:cubicBezTo>
                  <a:cubicBezTo>
                    <a:pt x="2413" y="418"/>
                    <a:pt x="2413" y="418"/>
                    <a:pt x="2413" y="418"/>
                  </a:cubicBezTo>
                  <a:cubicBezTo>
                    <a:pt x="2418" y="396"/>
                    <a:pt x="2418" y="396"/>
                    <a:pt x="2418" y="396"/>
                  </a:cubicBezTo>
                  <a:cubicBezTo>
                    <a:pt x="2409" y="388"/>
                    <a:pt x="2409" y="388"/>
                    <a:pt x="2409" y="388"/>
                  </a:cubicBezTo>
                  <a:cubicBezTo>
                    <a:pt x="2407" y="407"/>
                    <a:pt x="2407" y="407"/>
                    <a:pt x="2407" y="407"/>
                  </a:cubicBezTo>
                  <a:cubicBezTo>
                    <a:pt x="2391" y="410"/>
                    <a:pt x="2391" y="410"/>
                    <a:pt x="2391" y="410"/>
                  </a:cubicBezTo>
                  <a:cubicBezTo>
                    <a:pt x="2391" y="391"/>
                    <a:pt x="2391" y="391"/>
                    <a:pt x="2391" y="391"/>
                  </a:cubicBezTo>
                  <a:cubicBezTo>
                    <a:pt x="2378" y="377"/>
                    <a:pt x="2378" y="377"/>
                    <a:pt x="2378" y="377"/>
                  </a:cubicBezTo>
                  <a:cubicBezTo>
                    <a:pt x="2394" y="369"/>
                    <a:pt x="2394" y="369"/>
                    <a:pt x="2394" y="369"/>
                  </a:cubicBezTo>
                  <a:cubicBezTo>
                    <a:pt x="2398" y="346"/>
                    <a:pt x="2398" y="346"/>
                    <a:pt x="2398" y="346"/>
                  </a:cubicBezTo>
                  <a:cubicBezTo>
                    <a:pt x="2398" y="346"/>
                    <a:pt x="2413" y="329"/>
                    <a:pt x="2423" y="324"/>
                  </a:cubicBezTo>
                  <a:cubicBezTo>
                    <a:pt x="2433" y="319"/>
                    <a:pt x="2438" y="301"/>
                    <a:pt x="2438" y="301"/>
                  </a:cubicBezTo>
                  <a:cubicBezTo>
                    <a:pt x="2457" y="306"/>
                    <a:pt x="2457" y="306"/>
                    <a:pt x="2457" y="306"/>
                  </a:cubicBezTo>
                  <a:cubicBezTo>
                    <a:pt x="2467" y="291"/>
                    <a:pt x="2467" y="291"/>
                    <a:pt x="2467" y="291"/>
                  </a:cubicBezTo>
                  <a:cubicBezTo>
                    <a:pt x="2467" y="291"/>
                    <a:pt x="2470" y="302"/>
                    <a:pt x="2479" y="296"/>
                  </a:cubicBezTo>
                  <a:cubicBezTo>
                    <a:pt x="2488" y="290"/>
                    <a:pt x="2515" y="266"/>
                    <a:pt x="2515" y="266"/>
                  </a:cubicBezTo>
                  <a:cubicBezTo>
                    <a:pt x="2516" y="284"/>
                    <a:pt x="2516" y="284"/>
                    <a:pt x="2516" y="284"/>
                  </a:cubicBezTo>
                  <a:cubicBezTo>
                    <a:pt x="2516" y="284"/>
                    <a:pt x="2547" y="265"/>
                    <a:pt x="2556" y="260"/>
                  </a:cubicBezTo>
                  <a:cubicBezTo>
                    <a:pt x="2565" y="255"/>
                    <a:pt x="2597" y="254"/>
                    <a:pt x="2597" y="254"/>
                  </a:cubicBezTo>
                  <a:cubicBezTo>
                    <a:pt x="2597" y="232"/>
                    <a:pt x="2597" y="232"/>
                    <a:pt x="2597" y="232"/>
                  </a:cubicBezTo>
                  <a:cubicBezTo>
                    <a:pt x="2597" y="232"/>
                    <a:pt x="2598" y="232"/>
                    <a:pt x="2598" y="233"/>
                  </a:cubicBezTo>
                  <a:cubicBezTo>
                    <a:pt x="2597" y="229"/>
                    <a:pt x="2597" y="229"/>
                    <a:pt x="2597" y="229"/>
                  </a:cubicBezTo>
                  <a:cubicBezTo>
                    <a:pt x="2597" y="229"/>
                    <a:pt x="2589" y="232"/>
                    <a:pt x="2584" y="227"/>
                  </a:cubicBezTo>
                  <a:cubicBezTo>
                    <a:pt x="2579" y="222"/>
                    <a:pt x="2593" y="209"/>
                    <a:pt x="2593" y="209"/>
                  </a:cubicBezTo>
                  <a:cubicBezTo>
                    <a:pt x="2593" y="209"/>
                    <a:pt x="2585" y="205"/>
                    <a:pt x="2582" y="202"/>
                  </a:cubicBezTo>
                  <a:cubicBezTo>
                    <a:pt x="2579" y="199"/>
                    <a:pt x="2609" y="142"/>
                    <a:pt x="2609" y="125"/>
                  </a:cubicBezTo>
                  <a:cubicBezTo>
                    <a:pt x="2609" y="108"/>
                    <a:pt x="2582" y="119"/>
                    <a:pt x="2570" y="119"/>
                  </a:cubicBezTo>
                  <a:close/>
                  <a:moveTo>
                    <a:pt x="1811" y="252"/>
                  </a:moveTo>
                  <a:cubicBezTo>
                    <a:pt x="1797" y="252"/>
                    <a:pt x="1817" y="235"/>
                    <a:pt x="1810" y="232"/>
                  </a:cubicBezTo>
                  <a:cubicBezTo>
                    <a:pt x="1803" y="229"/>
                    <a:pt x="1793" y="242"/>
                    <a:pt x="1793" y="242"/>
                  </a:cubicBezTo>
                  <a:cubicBezTo>
                    <a:pt x="1788" y="244"/>
                    <a:pt x="1788" y="244"/>
                    <a:pt x="1788" y="244"/>
                  </a:cubicBezTo>
                  <a:cubicBezTo>
                    <a:pt x="1784" y="255"/>
                    <a:pt x="1784" y="255"/>
                    <a:pt x="1784" y="255"/>
                  </a:cubicBezTo>
                  <a:cubicBezTo>
                    <a:pt x="1773" y="251"/>
                    <a:pt x="1773" y="251"/>
                    <a:pt x="1773" y="251"/>
                  </a:cubicBezTo>
                  <a:cubicBezTo>
                    <a:pt x="1773" y="251"/>
                    <a:pt x="1773" y="262"/>
                    <a:pt x="1770" y="269"/>
                  </a:cubicBezTo>
                  <a:cubicBezTo>
                    <a:pt x="1767" y="276"/>
                    <a:pt x="1757" y="279"/>
                    <a:pt x="1752" y="284"/>
                  </a:cubicBezTo>
                  <a:cubicBezTo>
                    <a:pt x="1747" y="289"/>
                    <a:pt x="1753" y="297"/>
                    <a:pt x="1753" y="297"/>
                  </a:cubicBezTo>
                  <a:cubicBezTo>
                    <a:pt x="1753" y="297"/>
                    <a:pt x="1749" y="297"/>
                    <a:pt x="1736" y="311"/>
                  </a:cubicBezTo>
                  <a:cubicBezTo>
                    <a:pt x="1723" y="325"/>
                    <a:pt x="1741" y="325"/>
                    <a:pt x="1741" y="333"/>
                  </a:cubicBezTo>
                  <a:cubicBezTo>
                    <a:pt x="1741" y="341"/>
                    <a:pt x="1734" y="342"/>
                    <a:pt x="1734" y="342"/>
                  </a:cubicBezTo>
                  <a:cubicBezTo>
                    <a:pt x="1734" y="342"/>
                    <a:pt x="1742" y="346"/>
                    <a:pt x="1719" y="378"/>
                  </a:cubicBezTo>
                  <a:cubicBezTo>
                    <a:pt x="1696" y="410"/>
                    <a:pt x="1651" y="420"/>
                    <a:pt x="1651" y="420"/>
                  </a:cubicBezTo>
                  <a:cubicBezTo>
                    <a:pt x="1654" y="400"/>
                    <a:pt x="1654" y="400"/>
                    <a:pt x="1654" y="400"/>
                  </a:cubicBezTo>
                  <a:cubicBezTo>
                    <a:pt x="1654" y="400"/>
                    <a:pt x="1650" y="393"/>
                    <a:pt x="1648" y="389"/>
                  </a:cubicBezTo>
                  <a:cubicBezTo>
                    <a:pt x="1646" y="385"/>
                    <a:pt x="1663" y="365"/>
                    <a:pt x="1665" y="358"/>
                  </a:cubicBezTo>
                  <a:cubicBezTo>
                    <a:pt x="1667" y="351"/>
                    <a:pt x="1661" y="350"/>
                    <a:pt x="1663" y="338"/>
                  </a:cubicBezTo>
                  <a:cubicBezTo>
                    <a:pt x="1665" y="326"/>
                    <a:pt x="1687" y="307"/>
                    <a:pt x="1687" y="307"/>
                  </a:cubicBezTo>
                  <a:cubicBezTo>
                    <a:pt x="1687" y="298"/>
                    <a:pt x="1687" y="298"/>
                    <a:pt x="1687" y="298"/>
                  </a:cubicBezTo>
                  <a:cubicBezTo>
                    <a:pt x="1687" y="298"/>
                    <a:pt x="1708" y="283"/>
                    <a:pt x="1711" y="277"/>
                  </a:cubicBezTo>
                  <a:cubicBezTo>
                    <a:pt x="1714" y="271"/>
                    <a:pt x="1746" y="240"/>
                    <a:pt x="1746" y="240"/>
                  </a:cubicBezTo>
                  <a:cubicBezTo>
                    <a:pt x="1725" y="246"/>
                    <a:pt x="1725" y="246"/>
                    <a:pt x="1725" y="246"/>
                  </a:cubicBezTo>
                  <a:cubicBezTo>
                    <a:pt x="1725" y="246"/>
                    <a:pt x="1702" y="265"/>
                    <a:pt x="1698" y="260"/>
                  </a:cubicBezTo>
                  <a:cubicBezTo>
                    <a:pt x="1694" y="255"/>
                    <a:pt x="1734" y="231"/>
                    <a:pt x="1739" y="223"/>
                  </a:cubicBezTo>
                  <a:cubicBezTo>
                    <a:pt x="1744" y="215"/>
                    <a:pt x="1772" y="194"/>
                    <a:pt x="1772" y="194"/>
                  </a:cubicBezTo>
                  <a:cubicBezTo>
                    <a:pt x="1777" y="200"/>
                    <a:pt x="1777" y="200"/>
                    <a:pt x="1777" y="200"/>
                  </a:cubicBezTo>
                  <a:cubicBezTo>
                    <a:pt x="1787" y="194"/>
                    <a:pt x="1787" y="194"/>
                    <a:pt x="1787" y="194"/>
                  </a:cubicBezTo>
                  <a:cubicBezTo>
                    <a:pt x="1787" y="194"/>
                    <a:pt x="1782" y="203"/>
                    <a:pt x="1792" y="202"/>
                  </a:cubicBezTo>
                  <a:cubicBezTo>
                    <a:pt x="1802" y="201"/>
                    <a:pt x="1799" y="187"/>
                    <a:pt x="1799" y="187"/>
                  </a:cubicBezTo>
                  <a:cubicBezTo>
                    <a:pt x="1815" y="192"/>
                    <a:pt x="1815" y="192"/>
                    <a:pt x="1815" y="192"/>
                  </a:cubicBezTo>
                  <a:cubicBezTo>
                    <a:pt x="1815" y="192"/>
                    <a:pt x="1837" y="181"/>
                    <a:pt x="1847" y="184"/>
                  </a:cubicBezTo>
                  <a:cubicBezTo>
                    <a:pt x="1857" y="187"/>
                    <a:pt x="1862" y="199"/>
                    <a:pt x="1862" y="199"/>
                  </a:cubicBezTo>
                  <a:cubicBezTo>
                    <a:pt x="1845" y="205"/>
                    <a:pt x="1845" y="205"/>
                    <a:pt x="1845" y="205"/>
                  </a:cubicBezTo>
                  <a:cubicBezTo>
                    <a:pt x="1847" y="222"/>
                    <a:pt x="1847" y="222"/>
                    <a:pt x="1847" y="222"/>
                  </a:cubicBezTo>
                  <a:cubicBezTo>
                    <a:pt x="1847" y="222"/>
                    <a:pt x="1835" y="220"/>
                    <a:pt x="1828" y="220"/>
                  </a:cubicBezTo>
                  <a:cubicBezTo>
                    <a:pt x="1821" y="220"/>
                    <a:pt x="1824" y="237"/>
                    <a:pt x="1824" y="237"/>
                  </a:cubicBezTo>
                  <a:cubicBezTo>
                    <a:pt x="1824" y="237"/>
                    <a:pt x="1825" y="252"/>
                    <a:pt x="1811" y="252"/>
                  </a:cubicBezTo>
                  <a:close/>
                </a:path>
              </a:pathLst>
            </a:custGeom>
            <a:solidFill>
              <a:schemeClr val="tx1"/>
            </a:solidFill>
            <a:ln w="635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94" b="0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grpSp>
          <p:nvGrpSpPr>
            <p:cNvPr id="24" name="Group 55">
              <a:extLst>
                <a:ext uri="{FF2B5EF4-FFF2-40B4-BE49-F238E27FC236}">
                  <a16:creationId xmlns:a16="http://schemas.microsoft.com/office/drawing/2014/main" id="{42C92464-0396-4A8A-9BF0-62AFC26737BF}"/>
                </a:ext>
              </a:extLst>
            </p:cNvPr>
            <p:cNvGrpSpPr/>
            <p:nvPr/>
          </p:nvGrpSpPr>
          <p:grpSpPr>
            <a:xfrm>
              <a:off x="3046512" y="383059"/>
              <a:ext cx="8032908" cy="6021288"/>
              <a:chOff x="2910336" y="1534117"/>
              <a:chExt cx="3799945" cy="3907320"/>
            </a:xfrm>
            <a:solidFill>
              <a:srgbClr val="88C1E9"/>
            </a:solidFill>
          </p:grpSpPr>
          <p:sp>
            <p:nvSpPr>
              <p:cNvPr id="39" name="Portugal">
                <a:extLst>
                  <a:ext uri="{FF2B5EF4-FFF2-40B4-BE49-F238E27FC236}">
                    <a16:creationId xmlns:a16="http://schemas.microsoft.com/office/drawing/2014/main" id="{301F597B-2E35-4681-87F4-8446617AF6D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3005622" y="4612965"/>
                <a:ext cx="289144" cy="695117"/>
              </a:xfrm>
              <a:custGeom>
                <a:avLst/>
                <a:gdLst>
                  <a:gd name="T0" fmla="*/ 40 w 259"/>
                  <a:gd name="T1" fmla="*/ 347 h 545"/>
                  <a:gd name="T2" fmla="*/ 35 w 259"/>
                  <a:gd name="T3" fmla="*/ 365 h 545"/>
                  <a:gd name="T4" fmla="*/ 21 w 259"/>
                  <a:gd name="T5" fmla="*/ 393 h 545"/>
                  <a:gd name="T6" fmla="*/ 48 w 259"/>
                  <a:gd name="T7" fmla="*/ 384 h 545"/>
                  <a:gd name="T8" fmla="*/ 58 w 259"/>
                  <a:gd name="T9" fmla="*/ 382 h 545"/>
                  <a:gd name="T10" fmla="*/ 70 w 259"/>
                  <a:gd name="T11" fmla="*/ 395 h 545"/>
                  <a:gd name="T12" fmla="*/ 46 w 259"/>
                  <a:gd name="T13" fmla="*/ 386 h 545"/>
                  <a:gd name="T14" fmla="*/ 54 w 259"/>
                  <a:gd name="T15" fmla="*/ 424 h 545"/>
                  <a:gd name="T16" fmla="*/ 55 w 259"/>
                  <a:gd name="T17" fmla="*/ 469 h 545"/>
                  <a:gd name="T18" fmla="*/ 55 w 259"/>
                  <a:gd name="T19" fmla="*/ 488 h 545"/>
                  <a:gd name="T20" fmla="*/ 41 w 259"/>
                  <a:gd name="T21" fmla="*/ 534 h 545"/>
                  <a:gd name="T22" fmla="*/ 66 w 259"/>
                  <a:gd name="T23" fmla="*/ 532 h 545"/>
                  <a:gd name="T24" fmla="*/ 106 w 259"/>
                  <a:gd name="T25" fmla="*/ 536 h 545"/>
                  <a:gd name="T26" fmla="*/ 130 w 259"/>
                  <a:gd name="T27" fmla="*/ 545 h 545"/>
                  <a:gd name="T28" fmla="*/ 164 w 259"/>
                  <a:gd name="T29" fmla="*/ 526 h 545"/>
                  <a:gd name="T30" fmla="*/ 158 w 259"/>
                  <a:gd name="T31" fmla="*/ 495 h 545"/>
                  <a:gd name="T32" fmla="*/ 159 w 259"/>
                  <a:gd name="T33" fmla="*/ 476 h 545"/>
                  <a:gd name="T34" fmla="*/ 184 w 259"/>
                  <a:gd name="T35" fmla="*/ 437 h 545"/>
                  <a:gd name="T36" fmla="*/ 199 w 259"/>
                  <a:gd name="T37" fmla="*/ 415 h 545"/>
                  <a:gd name="T38" fmla="*/ 172 w 259"/>
                  <a:gd name="T39" fmla="*/ 392 h 545"/>
                  <a:gd name="T40" fmla="*/ 173 w 259"/>
                  <a:gd name="T41" fmla="*/ 364 h 545"/>
                  <a:gd name="T42" fmla="*/ 191 w 259"/>
                  <a:gd name="T43" fmla="*/ 338 h 545"/>
                  <a:gd name="T44" fmla="*/ 182 w 259"/>
                  <a:gd name="T45" fmla="*/ 321 h 545"/>
                  <a:gd name="T46" fmla="*/ 170 w 259"/>
                  <a:gd name="T47" fmla="*/ 289 h 545"/>
                  <a:gd name="T48" fmla="*/ 153 w 259"/>
                  <a:gd name="T49" fmla="*/ 261 h 545"/>
                  <a:gd name="T50" fmla="*/ 200 w 259"/>
                  <a:gd name="T51" fmla="*/ 245 h 545"/>
                  <a:gd name="T52" fmla="*/ 194 w 259"/>
                  <a:gd name="T53" fmla="*/ 214 h 545"/>
                  <a:gd name="T54" fmla="*/ 209 w 259"/>
                  <a:gd name="T55" fmla="*/ 184 h 545"/>
                  <a:gd name="T56" fmla="*/ 211 w 259"/>
                  <a:gd name="T57" fmla="*/ 157 h 545"/>
                  <a:gd name="T58" fmla="*/ 207 w 259"/>
                  <a:gd name="T59" fmla="*/ 129 h 545"/>
                  <a:gd name="T60" fmla="*/ 222 w 259"/>
                  <a:gd name="T61" fmla="*/ 97 h 545"/>
                  <a:gd name="T62" fmla="*/ 247 w 259"/>
                  <a:gd name="T63" fmla="*/ 81 h 545"/>
                  <a:gd name="T64" fmla="*/ 259 w 259"/>
                  <a:gd name="T65" fmla="*/ 60 h 545"/>
                  <a:gd name="T66" fmla="*/ 231 w 259"/>
                  <a:gd name="T67" fmla="*/ 43 h 545"/>
                  <a:gd name="T68" fmla="*/ 213 w 259"/>
                  <a:gd name="T69" fmla="*/ 17 h 545"/>
                  <a:gd name="T70" fmla="*/ 185 w 259"/>
                  <a:gd name="T71" fmla="*/ 17 h 545"/>
                  <a:gd name="T72" fmla="*/ 158 w 259"/>
                  <a:gd name="T73" fmla="*/ 30 h 545"/>
                  <a:gd name="T74" fmla="*/ 148 w 259"/>
                  <a:gd name="T75" fmla="*/ 28 h 545"/>
                  <a:gd name="T76" fmla="*/ 118 w 259"/>
                  <a:gd name="T77" fmla="*/ 28 h 545"/>
                  <a:gd name="T78" fmla="*/ 104 w 259"/>
                  <a:gd name="T79" fmla="*/ 28 h 545"/>
                  <a:gd name="T80" fmla="*/ 109 w 259"/>
                  <a:gd name="T81" fmla="*/ 11 h 545"/>
                  <a:gd name="T82" fmla="*/ 88 w 259"/>
                  <a:gd name="T83" fmla="*/ 7 h 545"/>
                  <a:gd name="T84" fmla="*/ 58 w 259"/>
                  <a:gd name="T85" fmla="*/ 23 h 545"/>
                  <a:gd name="T86" fmla="*/ 63 w 259"/>
                  <a:gd name="T87" fmla="*/ 46 h 545"/>
                  <a:gd name="T88" fmla="*/ 56 w 259"/>
                  <a:gd name="T89" fmla="*/ 67 h 545"/>
                  <a:gd name="T90" fmla="*/ 61 w 259"/>
                  <a:gd name="T91" fmla="*/ 101 h 545"/>
                  <a:gd name="T92" fmla="*/ 64 w 259"/>
                  <a:gd name="T93" fmla="*/ 137 h 545"/>
                  <a:gd name="T94" fmla="*/ 66 w 259"/>
                  <a:gd name="T95" fmla="*/ 140 h 545"/>
                  <a:gd name="T96" fmla="*/ 73 w 259"/>
                  <a:gd name="T97" fmla="*/ 149 h 545"/>
                  <a:gd name="T98" fmla="*/ 63 w 259"/>
                  <a:gd name="T99" fmla="*/ 157 h 545"/>
                  <a:gd name="T100" fmla="*/ 55 w 259"/>
                  <a:gd name="T101" fmla="*/ 178 h 545"/>
                  <a:gd name="T102" fmla="*/ 53 w 259"/>
                  <a:gd name="T103" fmla="*/ 215 h 545"/>
                  <a:gd name="T104" fmla="*/ 32 w 259"/>
                  <a:gd name="T105" fmla="*/ 270 h 545"/>
                  <a:gd name="T106" fmla="*/ 21 w 259"/>
                  <a:gd name="T107" fmla="*/ 288 h 545"/>
                  <a:gd name="T108" fmla="*/ 12 w 259"/>
                  <a:gd name="T109" fmla="*/ 308 h 545"/>
                  <a:gd name="T110" fmla="*/ 1 w 259"/>
                  <a:gd name="T111" fmla="*/ 363 h 545"/>
                  <a:gd name="T112" fmla="*/ 31 w 259"/>
                  <a:gd name="T113" fmla="*/ 354 h 545"/>
                  <a:gd name="T114" fmla="*/ 57 w 259"/>
                  <a:gd name="T115" fmla="*/ 323 h 545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259"/>
                  <a:gd name="T175" fmla="*/ 0 h 545"/>
                  <a:gd name="T176" fmla="*/ 259 w 259"/>
                  <a:gd name="T177" fmla="*/ 545 h 545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259" h="545">
                    <a:moveTo>
                      <a:pt x="57" y="323"/>
                    </a:moveTo>
                    <a:lnTo>
                      <a:pt x="52" y="329"/>
                    </a:lnTo>
                    <a:lnTo>
                      <a:pt x="49" y="328"/>
                    </a:lnTo>
                    <a:lnTo>
                      <a:pt x="45" y="330"/>
                    </a:lnTo>
                    <a:lnTo>
                      <a:pt x="44" y="331"/>
                    </a:lnTo>
                    <a:lnTo>
                      <a:pt x="41" y="336"/>
                    </a:lnTo>
                    <a:lnTo>
                      <a:pt x="39" y="340"/>
                    </a:lnTo>
                    <a:lnTo>
                      <a:pt x="38" y="343"/>
                    </a:lnTo>
                    <a:lnTo>
                      <a:pt x="40" y="347"/>
                    </a:lnTo>
                    <a:lnTo>
                      <a:pt x="41" y="349"/>
                    </a:lnTo>
                    <a:lnTo>
                      <a:pt x="42" y="349"/>
                    </a:lnTo>
                    <a:lnTo>
                      <a:pt x="41" y="350"/>
                    </a:lnTo>
                    <a:lnTo>
                      <a:pt x="43" y="356"/>
                    </a:lnTo>
                    <a:lnTo>
                      <a:pt x="43" y="357"/>
                    </a:lnTo>
                    <a:lnTo>
                      <a:pt x="37" y="359"/>
                    </a:lnTo>
                    <a:lnTo>
                      <a:pt x="35" y="362"/>
                    </a:lnTo>
                    <a:lnTo>
                      <a:pt x="35" y="364"/>
                    </a:lnTo>
                    <a:lnTo>
                      <a:pt x="35" y="365"/>
                    </a:lnTo>
                    <a:lnTo>
                      <a:pt x="31" y="366"/>
                    </a:lnTo>
                    <a:lnTo>
                      <a:pt x="31" y="368"/>
                    </a:lnTo>
                    <a:lnTo>
                      <a:pt x="25" y="365"/>
                    </a:lnTo>
                    <a:lnTo>
                      <a:pt x="20" y="366"/>
                    </a:lnTo>
                    <a:lnTo>
                      <a:pt x="17" y="367"/>
                    </a:lnTo>
                    <a:lnTo>
                      <a:pt x="22" y="375"/>
                    </a:lnTo>
                    <a:lnTo>
                      <a:pt x="24" y="380"/>
                    </a:lnTo>
                    <a:lnTo>
                      <a:pt x="24" y="386"/>
                    </a:lnTo>
                    <a:lnTo>
                      <a:pt x="21" y="393"/>
                    </a:lnTo>
                    <a:lnTo>
                      <a:pt x="21" y="394"/>
                    </a:lnTo>
                    <a:lnTo>
                      <a:pt x="24" y="394"/>
                    </a:lnTo>
                    <a:lnTo>
                      <a:pt x="27" y="392"/>
                    </a:lnTo>
                    <a:lnTo>
                      <a:pt x="29" y="392"/>
                    </a:lnTo>
                    <a:lnTo>
                      <a:pt x="30" y="390"/>
                    </a:lnTo>
                    <a:lnTo>
                      <a:pt x="34" y="390"/>
                    </a:lnTo>
                    <a:lnTo>
                      <a:pt x="37" y="390"/>
                    </a:lnTo>
                    <a:lnTo>
                      <a:pt x="45" y="384"/>
                    </a:lnTo>
                    <a:lnTo>
                      <a:pt x="48" y="384"/>
                    </a:lnTo>
                    <a:lnTo>
                      <a:pt x="51" y="386"/>
                    </a:lnTo>
                    <a:lnTo>
                      <a:pt x="52" y="388"/>
                    </a:lnTo>
                    <a:lnTo>
                      <a:pt x="56" y="388"/>
                    </a:lnTo>
                    <a:lnTo>
                      <a:pt x="57" y="386"/>
                    </a:lnTo>
                    <a:lnTo>
                      <a:pt x="57" y="384"/>
                    </a:lnTo>
                    <a:lnTo>
                      <a:pt x="54" y="383"/>
                    </a:lnTo>
                    <a:lnTo>
                      <a:pt x="55" y="382"/>
                    </a:lnTo>
                    <a:lnTo>
                      <a:pt x="57" y="378"/>
                    </a:lnTo>
                    <a:lnTo>
                      <a:pt x="58" y="382"/>
                    </a:lnTo>
                    <a:lnTo>
                      <a:pt x="60" y="384"/>
                    </a:lnTo>
                    <a:lnTo>
                      <a:pt x="59" y="384"/>
                    </a:lnTo>
                    <a:lnTo>
                      <a:pt x="59" y="387"/>
                    </a:lnTo>
                    <a:lnTo>
                      <a:pt x="59" y="390"/>
                    </a:lnTo>
                    <a:lnTo>
                      <a:pt x="60" y="390"/>
                    </a:lnTo>
                    <a:lnTo>
                      <a:pt x="64" y="394"/>
                    </a:lnTo>
                    <a:lnTo>
                      <a:pt x="65" y="393"/>
                    </a:lnTo>
                    <a:lnTo>
                      <a:pt x="67" y="395"/>
                    </a:lnTo>
                    <a:lnTo>
                      <a:pt x="70" y="395"/>
                    </a:lnTo>
                    <a:lnTo>
                      <a:pt x="68" y="395"/>
                    </a:lnTo>
                    <a:lnTo>
                      <a:pt x="63" y="395"/>
                    </a:lnTo>
                    <a:lnTo>
                      <a:pt x="60" y="395"/>
                    </a:lnTo>
                    <a:lnTo>
                      <a:pt x="57" y="392"/>
                    </a:lnTo>
                    <a:lnTo>
                      <a:pt x="55" y="394"/>
                    </a:lnTo>
                    <a:lnTo>
                      <a:pt x="55" y="392"/>
                    </a:lnTo>
                    <a:lnTo>
                      <a:pt x="51" y="391"/>
                    </a:lnTo>
                    <a:lnTo>
                      <a:pt x="49" y="390"/>
                    </a:lnTo>
                    <a:lnTo>
                      <a:pt x="46" y="386"/>
                    </a:lnTo>
                    <a:lnTo>
                      <a:pt x="43" y="387"/>
                    </a:lnTo>
                    <a:lnTo>
                      <a:pt x="45" y="387"/>
                    </a:lnTo>
                    <a:lnTo>
                      <a:pt x="46" y="389"/>
                    </a:lnTo>
                    <a:lnTo>
                      <a:pt x="49" y="391"/>
                    </a:lnTo>
                    <a:lnTo>
                      <a:pt x="51" y="395"/>
                    </a:lnTo>
                    <a:lnTo>
                      <a:pt x="54" y="403"/>
                    </a:lnTo>
                    <a:lnTo>
                      <a:pt x="55" y="412"/>
                    </a:lnTo>
                    <a:lnTo>
                      <a:pt x="55" y="421"/>
                    </a:lnTo>
                    <a:lnTo>
                      <a:pt x="54" y="424"/>
                    </a:lnTo>
                    <a:lnTo>
                      <a:pt x="51" y="437"/>
                    </a:lnTo>
                    <a:lnTo>
                      <a:pt x="49" y="441"/>
                    </a:lnTo>
                    <a:lnTo>
                      <a:pt x="48" y="443"/>
                    </a:lnTo>
                    <a:lnTo>
                      <a:pt x="52" y="447"/>
                    </a:lnTo>
                    <a:lnTo>
                      <a:pt x="54" y="450"/>
                    </a:lnTo>
                    <a:lnTo>
                      <a:pt x="54" y="459"/>
                    </a:lnTo>
                    <a:lnTo>
                      <a:pt x="54" y="464"/>
                    </a:lnTo>
                    <a:lnTo>
                      <a:pt x="54" y="468"/>
                    </a:lnTo>
                    <a:lnTo>
                      <a:pt x="55" y="469"/>
                    </a:lnTo>
                    <a:lnTo>
                      <a:pt x="58" y="467"/>
                    </a:lnTo>
                    <a:lnTo>
                      <a:pt x="58" y="466"/>
                    </a:lnTo>
                    <a:lnTo>
                      <a:pt x="59" y="466"/>
                    </a:lnTo>
                    <a:lnTo>
                      <a:pt x="58" y="470"/>
                    </a:lnTo>
                    <a:lnTo>
                      <a:pt x="56" y="469"/>
                    </a:lnTo>
                    <a:lnTo>
                      <a:pt x="54" y="471"/>
                    </a:lnTo>
                    <a:lnTo>
                      <a:pt x="54" y="477"/>
                    </a:lnTo>
                    <a:lnTo>
                      <a:pt x="53" y="481"/>
                    </a:lnTo>
                    <a:lnTo>
                      <a:pt x="55" y="488"/>
                    </a:lnTo>
                    <a:lnTo>
                      <a:pt x="54" y="497"/>
                    </a:lnTo>
                    <a:lnTo>
                      <a:pt x="52" y="503"/>
                    </a:lnTo>
                    <a:lnTo>
                      <a:pt x="49" y="510"/>
                    </a:lnTo>
                    <a:lnTo>
                      <a:pt x="49" y="512"/>
                    </a:lnTo>
                    <a:lnTo>
                      <a:pt x="49" y="516"/>
                    </a:lnTo>
                    <a:lnTo>
                      <a:pt x="46" y="523"/>
                    </a:lnTo>
                    <a:lnTo>
                      <a:pt x="46" y="526"/>
                    </a:lnTo>
                    <a:lnTo>
                      <a:pt x="46" y="528"/>
                    </a:lnTo>
                    <a:lnTo>
                      <a:pt x="41" y="534"/>
                    </a:lnTo>
                    <a:lnTo>
                      <a:pt x="39" y="541"/>
                    </a:lnTo>
                    <a:lnTo>
                      <a:pt x="41" y="541"/>
                    </a:lnTo>
                    <a:lnTo>
                      <a:pt x="43" y="543"/>
                    </a:lnTo>
                    <a:lnTo>
                      <a:pt x="51" y="538"/>
                    </a:lnTo>
                    <a:lnTo>
                      <a:pt x="55" y="537"/>
                    </a:lnTo>
                    <a:lnTo>
                      <a:pt x="60" y="535"/>
                    </a:lnTo>
                    <a:lnTo>
                      <a:pt x="64" y="535"/>
                    </a:lnTo>
                    <a:lnTo>
                      <a:pt x="66" y="532"/>
                    </a:lnTo>
                    <a:lnTo>
                      <a:pt x="70" y="531"/>
                    </a:lnTo>
                    <a:lnTo>
                      <a:pt x="75" y="531"/>
                    </a:lnTo>
                    <a:lnTo>
                      <a:pt x="78" y="533"/>
                    </a:lnTo>
                    <a:lnTo>
                      <a:pt x="81" y="534"/>
                    </a:lnTo>
                    <a:lnTo>
                      <a:pt x="85" y="534"/>
                    </a:lnTo>
                    <a:lnTo>
                      <a:pt x="88" y="534"/>
                    </a:lnTo>
                    <a:lnTo>
                      <a:pt x="95" y="536"/>
                    </a:lnTo>
                    <a:lnTo>
                      <a:pt x="101" y="535"/>
                    </a:lnTo>
                    <a:lnTo>
                      <a:pt x="106" y="536"/>
                    </a:lnTo>
                    <a:lnTo>
                      <a:pt x="112" y="538"/>
                    </a:lnTo>
                    <a:lnTo>
                      <a:pt x="119" y="545"/>
                    </a:lnTo>
                    <a:lnTo>
                      <a:pt x="118" y="543"/>
                    </a:lnTo>
                    <a:lnTo>
                      <a:pt x="118" y="542"/>
                    </a:lnTo>
                    <a:lnTo>
                      <a:pt x="120" y="544"/>
                    </a:lnTo>
                    <a:lnTo>
                      <a:pt x="121" y="542"/>
                    </a:lnTo>
                    <a:lnTo>
                      <a:pt x="128" y="543"/>
                    </a:lnTo>
                    <a:lnTo>
                      <a:pt x="130" y="545"/>
                    </a:lnTo>
                    <a:lnTo>
                      <a:pt x="132" y="543"/>
                    </a:lnTo>
                    <a:lnTo>
                      <a:pt x="134" y="542"/>
                    </a:lnTo>
                    <a:lnTo>
                      <a:pt x="135" y="540"/>
                    </a:lnTo>
                    <a:lnTo>
                      <a:pt x="138" y="539"/>
                    </a:lnTo>
                    <a:lnTo>
                      <a:pt x="138" y="538"/>
                    </a:lnTo>
                    <a:lnTo>
                      <a:pt x="144" y="534"/>
                    </a:lnTo>
                    <a:lnTo>
                      <a:pt x="154" y="526"/>
                    </a:lnTo>
                    <a:lnTo>
                      <a:pt x="160" y="525"/>
                    </a:lnTo>
                    <a:lnTo>
                      <a:pt x="164" y="526"/>
                    </a:lnTo>
                    <a:lnTo>
                      <a:pt x="163" y="523"/>
                    </a:lnTo>
                    <a:lnTo>
                      <a:pt x="163" y="524"/>
                    </a:lnTo>
                    <a:lnTo>
                      <a:pt x="161" y="517"/>
                    </a:lnTo>
                    <a:lnTo>
                      <a:pt x="162" y="514"/>
                    </a:lnTo>
                    <a:lnTo>
                      <a:pt x="161" y="512"/>
                    </a:lnTo>
                    <a:lnTo>
                      <a:pt x="160" y="503"/>
                    </a:lnTo>
                    <a:lnTo>
                      <a:pt x="159" y="500"/>
                    </a:lnTo>
                    <a:lnTo>
                      <a:pt x="159" y="496"/>
                    </a:lnTo>
                    <a:lnTo>
                      <a:pt x="158" y="495"/>
                    </a:lnTo>
                    <a:lnTo>
                      <a:pt x="158" y="491"/>
                    </a:lnTo>
                    <a:lnTo>
                      <a:pt x="156" y="490"/>
                    </a:lnTo>
                    <a:lnTo>
                      <a:pt x="154" y="488"/>
                    </a:lnTo>
                    <a:lnTo>
                      <a:pt x="155" y="486"/>
                    </a:lnTo>
                    <a:lnTo>
                      <a:pt x="154" y="485"/>
                    </a:lnTo>
                    <a:lnTo>
                      <a:pt x="156" y="482"/>
                    </a:lnTo>
                    <a:lnTo>
                      <a:pt x="156" y="480"/>
                    </a:lnTo>
                    <a:lnTo>
                      <a:pt x="159" y="476"/>
                    </a:lnTo>
                    <a:lnTo>
                      <a:pt x="162" y="465"/>
                    </a:lnTo>
                    <a:lnTo>
                      <a:pt x="169" y="458"/>
                    </a:lnTo>
                    <a:lnTo>
                      <a:pt x="172" y="453"/>
                    </a:lnTo>
                    <a:lnTo>
                      <a:pt x="173" y="448"/>
                    </a:lnTo>
                    <a:lnTo>
                      <a:pt x="175" y="445"/>
                    </a:lnTo>
                    <a:lnTo>
                      <a:pt x="175" y="440"/>
                    </a:lnTo>
                    <a:lnTo>
                      <a:pt x="178" y="438"/>
                    </a:lnTo>
                    <a:lnTo>
                      <a:pt x="182" y="438"/>
                    </a:lnTo>
                    <a:lnTo>
                      <a:pt x="184" y="437"/>
                    </a:lnTo>
                    <a:lnTo>
                      <a:pt x="185" y="434"/>
                    </a:lnTo>
                    <a:lnTo>
                      <a:pt x="187" y="433"/>
                    </a:lnTo>
                    <a:lnTo>
                      <a:pt x="190" y="436"/>
                    </a:lnTo>
                    <a:lnTo>
                      <a:pt x="193" y="435"/>
                    </a:lnTo>
                    <a:lnTo>
                      <a:pt x="193" y="433"/>
                    </a:lnTo>
                    <a:lnTo>
                      <a:pt x="193" y="431"/>
                    </a:lnTo>
                    <a:lnTo>
                      <a:pt x="195" y="425"/>
                    </a:lnTo>
                    <a:lnTo>
                      <a:pt x="195" y="419"/>
                    </a:lnTo>
                    <a:lnTo>
                      <a:pt x="199" y="415"/>
                    </a:lnTo>
                    <a:lnTo>
                      <a:pt x="190" y="419"/>
                    </a:lnTo>
                    <a:lnTo>
                      <a:pt x="185" y="418"/>
                    </a:lnTo>
                    <a:lnTo>
                      <a:pt x="185" y="414"/>
                    </a:lnTo>
                    <a:lnTo>
                      <a:pt x="183" y="411"/>
                    </a:lnTo>
                    <a:lnTo>
                      <a:pt x="182" y="410"/>
                    </a:lnTo>
                    <a:lnTo>
                      <a:pt x="180" y="409"/>
                    </a:lnTo>
                    <a:lnTo>
                      <a:pt x="178" y="403"/>
                    </a:lnTo>
                    <a:lnTo>
                      <a:pt x="173" y="396"/>
                    </a:lnTo>
                    <a:lnTo>
                      <a:pt x="172" y="392"/>
                    </a:lnTo>
                    <a:lnTo>
                      <a:pt x="169" y="392"/>
                    </a:lnTo>
                    <a:lnTo>
                      <a:pt x="167" y="392"/>
                    </a:lnTo>
                    <a:lnTo>
                      <a:pt x="170" y="389"/>
                    </a:lnTo>
                    <a:lnTo>
                      <a:pt x="169" y="386"/>
                    </a:lnTo>
                    <a:lnTo>
                      <a:pt x="170" y="380"/>
                    </a:lnTo>
                    <a:lnTo>
                      <a:pt x="174" y="373"/>
                    </a:lnTo>
                    <a:lnTo>
                      <a:pt x="173" y="372"/>
                    </a:lnTo>
                    <a:lnTo>
                      <a:pt x="172" y="370"/>
                    </a:lnTo>
                    <a:lnTo>
                      <a:pt x="173" y="364"/>
                    </a:lnTo>
                    <a:lnTo>
                      <a:pt x="173" y="363"/>
                    </a:lnTo>
                    <a:lnTo>
                      <a:pt x="174" y="361"/>
                    </a:lnTo>
                    <a:lnTo>
                      <a:pt x="180" y="356"/>
                    </a:lnTo>
                    <a:lnTo>
                      <a:pt x="184" y="352"/>
                    </a:lnTo>
                    <a:lnTo>
                      <a:pt x="188" y="351"/>
                    </a:lnTo>
                    <a:lnTo>
                      <a:pt x="193" y="347"/>
                    </a:lnTo>
                    <a:lnTo>
                      <a:pt x="190" y="344"/>
                    </a:lnTo>
                    <a:lnTo>
                      <a:pt x="190" y="343"/>
                    </a:lnTo>
                    <a:lnTo>
                      <a:pt x="191" y="338"/>
                    </a:lnTo>
                    <a:lnTo>
                      <a:pt x="196" y="332"/>
                    </a:lnTo>
                    <a:lnTo>
                      <a:pt x="196" y="331"/>
                    </a:lnTo>
                    <a:lnTo>
                      <a:pt x="196" y="328"/>
                    </a:lnTo>
                    <a:lnTo>
                      <a:pt x="196" y="325"/>
                    </a:lnTo>
                    <a:lnTo>
                      <a:pt x="194" y="323"/>
                    </a:lnTo>
                    <a:lnTo>
                      <a:pt x="191" y="321"/>
                    </a:lnTo>
                    <a:lnTo>
                      <a:pt x="190" y="320"/>
                    </a:lnTo>
                    <a:lnTo>
                      <a:pt x="185" y="322"/>
                    </a:lnTo>
                    <a:lnTo>
                      <a:pt x="182" y="321"/>
                    </a:lnTo>
                    <a:lnTo>
                      <a:pt x="182" y="316"/>
                    </a:lnTo>
                    <a:lnTo>
                      <a:pt x="176" y="312"/>
                    </a:lnTo>
                    <a:lnTo>
                      <a:pt x="174" y="308"/>
                    </a:lnTo>
                    <a:lnTo>
                      <a:pt x="174" y="303"/>
                    </a:lnTo>
                    <a:lnTo>
                      <a:pt x="172" y="299"/>
                    </a:lnTo>
                    <a:lnTo>
                      <a:pt x="169" y="296"/>
                    </a:lnTo>
                    <a:lnTo>
                      <a:pt x="169" y="293"/>
                    </a:lnTo>
                    <a:lnTo>
                      <a:pt x="168" y="291"/>
                    </a:lnTo>
                    <a:lnTo>
                      <a:pt x="170" y="289"/>
                    </a:lnTo>
                    <a:lnTo>
                      <a:pt x="171" y="283"/>
                    </a:lnTo>
                    <a:lnTo>
                      <a:pt x="170" y="282"/>
                    </a:lnTo>
                    <a:lnTo>
                      <a:pt x="166" y="279"/>
                    </a:lnTo>
                    <a:lnTo>
                      <a:pt x="164" y="276"/>
                    </a:lnTo>
                    <a:lnTo>
                      <a:pt x="161" y="275"/>
                    </a:lnTo>
                    <a:lnTo>
                      <a:pt x="155" y="269"/>
                    </a:lnTo>
                    <a:lnTo>
                      <a:pt x="154" y="265"/>
                    </a:lnTo>
                    <a:lnTo>
                      <a:pt x="153" y="262"/>
                    </a:lnTo>
                    <a:lnTo>
                      <a:pt x="153" y="261"/>
                    </a:lnTo>
                    <a:lnTo>
                      <a:pt x="169" y="263"/>
                    </a:lnTo>
                    <a:lnTo>
                      <a:pt x="173" y="261"/>
                    </a:lnTo>
                    <a:lnTo>
                      <a:pt x="184" y="262"/>
                    </a:lnTo>
                    <a:lnTo>
                      <a:pt x="195" y="260"/>
                    </a:lnTo>
                    <a:lnTo>
                      <a:pt x="197" y="255"/>
                    </a:lnTo>
                    <a:lnTo>
                      <a:pt x="198" y="250"/>
                    </a:lnTo>
                    <a:lnTo>
                      <a:pt x="197" y="247"/>
                    </a:lnTo>
                    <a:lnTo>
                      <a:pt x="199" y="246"/>
                    </a:lnTo>
                    <a:lnTo>
                      <a:pt x="200" y="245"/>
                    </a:lnTo>
                    <a:lnTo>
                      <a:pt x="202" y="241"/>
                    </a:lnTo>
                    <a:lnTo>
                      <a:pt x="203" y="237"/>
                    </a:lnTo>
                    <a:lnTo>
                      <a:pt x="204" y="231"/>
                    </a:lnTo>
                    <a:lnTo>
                      <a:pt x="205" y="225"/>
                    </a:lnTo>
                    <a:lnTo>
                      <a:pt x="204" y="222"/>
                    </a:lnTo>
                    <a:lnTo>
                      <a:pt x="202" y="218"/>
                    </a:lnTo>
                    <a:lnTo>
                      <a:pt x="201" y="216"/>
                    </a:lnTo>
                    <a:lnTo>
                      <a:pt x="200" y="215"/>
                    </a:lnTo>
                    <a:lnTo>
                      <a:pt x="194" y="214"/>
                    </a:lnTo>
                    <a:lnTo>
                      <a:pt x="194" y="204"/>
                    </a:lnTo>
                    <a:lnTo>
                      <a:pt x="196" y="201"/>
                    </a:lnTo>
                    <a:lnTo>
                      <a:pt x="199" y="200"/>
                    </a:lnTo>
                    <a:lnTo>
                      <a:pt x="201" y="198"/>
                    </a:lnTo>
                    <a:lnTo>
                      <a:pt x="207" y="197"/>
                    </a:lnTo>
                    <a:lnTo>
                      <a:pt x="207" y="193"/>
                    </a:lnTo>
                    <a:lnTo>
                      <a:pt x="213" y="189"/>
                    </a:lnTo>
                    <a:lnTo>
                      <a:pt x="213" y="187"/>
                    </a:lnTo>
                    <a:lnTo>
                      <a:pt x="209" y="184"/>
                    </a:lnTo>
                    <a:lnTo>
                      <a:pt x="207" y="179"/>
                    </a:lnTo>
                    <a:lnTo>
                      <a:pt x="208" y="178"/>
                    </a:lnTo>
                    <a:lnTo>
                      <a:pt x="209" y="176"/>
                    </a:lnTo>
                    <a:lnTo>
                      <a:pt x="210" y="175"/>
                    </a:lnTo>
                    <a:lnTo>
                      <a:pt x="210" y="174"/>
                    </a:lnTo>
                    <a:lnTo>
                      <a:pt x="212" y="172"/>
                    </a:lnTo>
                    <a:lnTo>
                      <a:pt x="210" y="168"/>
                    </a:lnTo>
                    <a:lnTo>
                      <a:pt x="208" y="166"/>
                    </a:lnTo>
                    <a:lnTo>
                      <a:pt x="211" y="157"/>
                    </a:lnTo>
                    <a:lnTo>
                      <a:pt x="210" y="155"/>
                    </a:lnTo>
                    <a:lnTo>
                      <a:pt x="211" y="153"/>
                    </a:lnTo>
                    <a:lnTo>
                      <a:pt x="209" y="149"/>
                    </a:lnTo>
                    <a:lnTo>
                      <a:pt x="209" y="146"/>
                    </a:lnTo>
                    <a:lnTo>
                      <a:pt x="209" y="139"/>
                    </a:lnTo>
                    <a:lnTo>
                      <a:pt x="209" y="137"/>
                    </a:lnTo>
                    <a:lnTo>
                      <a:pt x="211" y="136"/>
                    </a:lnTo>
                    <a:lnTo>
                      <a:pt x="209" y="134"/>
                    </a:lnTo>
                    <a:lnTo>
                      <a:pt x="207" y="129"/>
                    </a:lnTo>
                    <a:lnTo>
                      <a:pt x="201" y="121"/>
                    </a:lnTo>
                    <a:lnTo>
                      <a:pt x="200" y="118"/>
                    </a:lnTo>
                    <a:lnTo>
                      <a:pt x="211" y="117"/>
                    </a:lnTo>
                    <a:lnTo>
                      <a:pt x="212" y="113"/>
                    </a:lnTo>
                    <a:lnTo>
                      <a:pt x="214" y="111"/>
                    </a:lnTo>
                    <a:lnTo>
                      <a:pt x="214" y="108"/>
                    </a:lnTo>
                    <a:lnTo>
                      <a:pt x="214" y="106"/>
                    </a:lnTo>
                    <a:lnTo>
                      <a:pt x="218" y="103"/>
                    </a:lnTo>
                    <a:lnTo>
                      <a:pt x="222" y="97"/>
                    </a:lnTo>
                    <a:lnTo>
                      <a:pt x="224" y="95"/>
                    </a:lnTo>
                    <a:lnTo>
                      <a:pt x="230" y="95"/>
                    </a:lnTo>
                    <a:lnTo>
                      <a:pt x="235" y="92"/>
                    </a:lnTo>
                    <a:lnTo>
                      <a:pt x="240" y="88"/>
                    </a:lnTo>
                    <a:lnTo>
                      <a:pt x="242" y="85"/>
                    </a:lnTo>
                    <a:lnTo>
                      <a:pt x="245" y="83"/>
                    </a:lnTo>
                    <a:lnTo>
                      <a:pt x="244" y="82"/>
                    </a:lnTo>
                    <a:lnTo>
                      <a:pt x="245" y="80"/>
                    </a:lnTo>
                    <a:lnTo>
                      <a:pt x="247" y="81"/>
                    </a:lnTo>
                    <a:lnTo>
                      <a:pt x="248" y="80"/>
                    </a:lnTo>
                    <a:lnTo>
                      <a:pt x="249" y="78"/>
                    </a:lnTo>
                    <a:lnTo>
                      <a:pt x="251" y="75"/>
                    </a:lnTo>
                    <a:lnTo>
                      <a:pt x="251" y="72"/>
                    </a:lnTo>
                    <a:lnTo>
                      <a:pt x="254" y="68"/>
                    </a:lnTo>
                    <a:lnTo>
                      <a:pt x="255" y="66"/>
                    </a:lnTo>
                    <a:lnTo>
                      <a:pt x="257" y="64"/>
                    </a:lnTo>
                    <a:lnTo>
                      <a:pt x="258" y="62"/>
                    </a:lnTo>
                    <a:lnTo>
                      <a:pt x="259" y="60"/>
                    </a:lnTo>
                    <a:lnTo>
                      <a:pt x="255" y="58"/>
                    </a:lnTo>
                    <a:lnTo>
                      <a:pt x="252" y="52"/>
                    </a:lnTo>
                    <a:lnTo>
                      <a:pt x="245" y="50"/>
                    </a:lnTo>
                    <a:lnTo>
                      <a:pt x="239" y="49"/>
                    </a:lnTo>
                    <a:lnTo>
                      <a:pt x="238" y="50"/>
                    </a:lnTo>
                    <a:lnTo>
                      <a:pt x="235" y="52"/>
                    </a:lnTo>
                    <a:lnTo>
                      <a:pt x="231" y="50"/>
                    </a:lnTo>
                    <a:lnTo>
                      <a:pt x="232" y="46"/>
                    </a:lnTo>
                    <a:lnTo>
                      <a:pt x="231" y="43"/>
                    </a:lnTo>
                    <a:lnTo>
                      <a:pt x="234" y="30"/>
                    </a:lnTo>
                    <a:lnTo>
                      <a:pt x="231" y="28"/>
                    </a:lnTo>
                    <a:lnTo>
                      <a:pt x="228" y="28"/>
                    </a:lnTo>
                    <a:lnTo>
                      <a:pt x="231" y="22"/>
                    </a:lnTo>
                    <a:lnTo>
                      <a:pt x="227" y="20"/>
                    </a:lnTo>
                    <a:lnTo>
                      <a:pt x="223" y="22"/>
                    </a:lnTo>
                    <a:lnTo>
                      <a:pt x="215" y="22"/>
                    </a:lnTo>
                    <a:lnTo>
                      <a:pt x="213" y="19"/>
                    </a:lnTo>
                    <a:lnTo>
                      <a:pt x="213" y="17"/>
                    </a:lnTo>
                    <a:lnTo>
                      <a:pt x="210" y="17"/>
                    </a:lnTo>
                    <a:lnTo>
                      <a:pt x="209" y="22"/>
                    </a:lnTo>
                    <a:lnTo>
                      <a:pt x="204" y="22"/>
                    </a:lnTo>
                    <a:lnTo>
                      <a:pt x="200" y="21"/>
                    </a:lnTo>
                    <a:lnTo>
                      <a:pt x="199" y="18"/>
                    </a:lnTo>
                    <a:lnTo>
                      <a:pt x="194" y="21"/>
                    </a:lnTo>
                    <a:lnTo>
                      <a:pt x="191" y="21"/>
                    </a:lnTo>
                    <a:lnTo>
                      <a:pt x="188" y="18"/>
                    </a:lnTo>
                    <a:lnTo>
                      <a:pt x="185" y="17"/>
                    </a:lnTo>
                    <a:lnTo>
                      <a:pt x="180" y="18"/>
                    </a:lnTo>
                    <a:lnTo>
                      <a:pt x="182" y="24"/>
                    </a:lnTo>
                    <a:lnTo>
                      <a:pt x="182" y="25"/>
                    </a:lnTo>
                    <a:lnTo>
                      <a:pt x="174" y="31"/>
                    </a:lnTo>
                    <a:lnTo>
                      <a:pt x="172" y="31"/>
                    </a:lnTo>
                    <a:lnTo>
                      <a:pt x="165" y="31"/>
                    </a:lnTo>
                    <a:lnTo>
                      <a:pt x="163" y="34"/>
                    </a:lnTo>
                    <a:lnTo>
                      <a:pt x="161" y="34"/>
                    </a:lnTo>
                    <a:lnTo>
                      <a:pt x="158" y="30"/>
                    </a:lnTo>
                    <a:lnTo>
                      <a:pt x="155" y="28"/>
                    </a:lnTo>
                    <a:lnTo>
                      <a:pt x="153" y="30"/>
                    </a:lnTo>
                    <a:lnTo>
                      <a:pt x="154" y="31"/>
                    </a:lnTo>
                    <a:lnTo>
                      <a:pt x="151" y="33"/>
                    </a:lnTo>
                    <a:lnTo>
                      <a:pt x="150" y="32"/>
                    </a:lnTo>
                    <a:lnTo>
                      <a:pt x="146" y="34"/>
                    </a:lnTo>
                    <a:lnTo>
                      <a:pt x="145" y="33"/>
                    </a:lnTo>
                    <a:lnTo>
                      <a:pt x="148" y="30"/>
                    </a:lnTo>
                    <a:lnTo>
                      <a:pt x="148" y="28"/>
                    </a:lnTo>
                    <a:lnTo>
                      <a:pt x="141" y="27"/>
                    </a:lnTo>
                    <a:lnTo>
                      <a:pt x="139" y="25"/>
                    </a:lnTo>
                    <a:lnTo>
                      <a:pt x="131" y="26"/>
                    </a:lnTo>
                    <a:lnTo>
                      <a:pt x="126" y="30"/>
                    </a:lnTo>
                    <a:lnTo>
                      <a:pt x="125" y="29"/>
                    </a:lnTo>
                    <a:lnTo>
                      <a:pt x="125" y="23"/>
                    </a:lnTo>
                    <a:lnTo>
                      <a:pt x="124" y="23"/>
                    </a:lnTo>
                    <a:lnTo>
                      <a:pt x="121" y="27"/>
                    </a:lnTo>
                    <a:lnTo>
                      <a:pt x="118" y="28"/>
                    </a:lnTo>
                    <a:lnTo>
                      <a:pt x="115" y="32"/>
                    </a:lnTo>
                    <a:lnTo>
                      <a:pt x="113" y="34"/>
                    </a:lnTo>
                    <a:lnTo>
                      <a:pt x="112" y="34"/>
                    </a:lnTo>
                    <a:lnTo>
                      <a:pt x="111" y="35"/>
                    </a:lnTo>
                    <a:lnTo>
                      <a:pt x="106" y="35"/>
                    </a:lnTo>
                    <a:lnTo>
                      <a:pt x="104" y="33"/>
                    </a:lnTo>
                    <a:lnTo>
                      <a:pt x="104" y="30"/>
                    </a:lnTo>
                    <a:lnTo>
                      <a:pt x="104" y="29"/>
                    </a:lnTo>
                    <a:lnTo>
                      <a:pt x="104" y="28"/>
                    </a:lnTo>
                    <a:lnTo>
                      <a:pt x="100" y="28"/>
                    </a:lnTo>
                    <a:lnTo>
                      <a:pt x="99" y="26"/>
                    </a:lnTo>
                    <a:lnTo>
                      <a:pt x="99" y="25"/>
                    </a:lnTo>
                    <a:lnTo>
                      <a:pt x="101" y="22"/>
                    </a:lnTo>
                    <a:lnTo>
                      <a:pt x="103" y="17"/>
                    </a:lnTo>
                    <a:lnTo>
                      <a:pt x="104" y="15"/>
                    </a:lnTo>
                    <a:lnTo>
                      <a:pt x="106" y="13"/>
                    </a:lnTo>
                    <a:lnTo>
                      <a:pt x="109" y="13"/>
                    </a:lnTo>
                    <a:lnTo>
                      <a:pt x="109" y="11"/>
                    </a:lnTo>
                    <a:lnTo>
                      <a:pt x="109" y="8"/>
                    </a:lnTo>
                    <a:lnTo>
                      <a:pt x="108" y="7"/>
                    </a:lnTo>
                    <a:lnTo>
                      <a:pt x="107" y="6"/>
                    </a:lnTo>
                    <a:lnTo>
                      <a:pt x="102" y="7"/>
                    </a:lnTo>
                    <a:lnTo>
                      <a:pt x="101" y="0"/>
                    </a:lnTo>
                    <a:lnTo>
                      <a:pt x="96" y="3"/>
                    </a:lnTo>
                    <a:lnTo>
                      <a:pt x="92" y="6"/>
                    </a:lnTo>
                    <a:lnTo>
                      <a:pt x="90" y="6"/>
                    </a:lnTo>
                    <a:lnTo>
                      <a:pt x="88" y="7"/>
                    </a:lnTo>
                    <a:lnTo>
                      <a:pt x="81" y="7"/>
                    </a:lnTo>
                    <a:lnTo>
                      <a:pt x="78" y="7"/>
                    </a:lnTo>
                    <a:lnTo>
                      <a:pt x="76" y="10"/>
                    </a:lnTo>
                    <a:lnTo>
                      <a:pt x="69" y="11"/>
                    </a:lnTo>
                    <a:lnTo>
                      <a:pt x="67" y="12"/>
                    </a:lnTo>
                    <a:lnTo>
                      <a:pt x="65" y="17"/>
                    </a:lnTo>
                    <a:lnTo>
                      <a:pt x="61" y="18"/>
                    </a:lnTo>
                    <a:lnTo>
                      <a:pt x="59" y="20"/>
                    </a:lnTo>
                    <a:lnTo>
                      <a:pt x="58" y="23"/>
                    </a:lnTo>
                    <a:lnTo>
                      <a:pt x="57" y="25"/>
                    </a:lnTo>
                    <a:lnTo>
                      <a:pt x="50" y="31"/>
                    </a:lnTo>
                    <a:lnTo>
                      <a:pt x="48" y="35"/>
                    </a:lnTo>
                    <a:lnTo>
                      <a:pt x="49" y="37"/>
                    </a:lnTo>
                    <a:lnTo>
                      <a:pt x="47" y="42"/>
                    </a:lnTo>
                    <a:lnTo>
                      <a:pt x="47" y="43"/>
                    </a:lnTo>
                    <a:lnTo>
                      <a:pt x="51" y="49"/>
                    </a:lnTo>
                    <a:lnTo>
                      <a:pt x="57" y="48"/>
                    </a:lnTo>
                    <a:lnTo>
                      <a:pt x="63" y="46"/>
                    </a:lnTo>
                    <a:lnTo>
                      <a:pt x="62" y="47"/>
                    </a:lnTo>
                    <a:lnTo>
                      <a:pt x="59" y="49"/>
                    </a:lnTo>
                    <a:lnTo>
                      <a:pt x="52" y="50"/>
                    </a:lnTo>
                    <a:lnTo>
                      <a:pt x="52" y="51"/>
                    </a:lnTo>
                    <a:lnTo>
                      <a:pt x="52" y="54"/>
                    </a:lnTo>
                    <a:lnTo>
                      <a:pt x="54" y="60"/>
                    </a:lnTo>
                    <a:lnTo>
                      <a:pt x="54" y="64"/>
                    </a:lnTo>
                    <a:lnTo>
                      <a:pt x="56" y="66"/>
                    </a:lnTo>
                    <a:lnTo>
                      <a:pt x="56" y="67"/>
                    </a:lnTo>
                    <a:lnTo>
                      <a:pt x="54" y="66"/>
                    </a:lnTo>
                    <a:lnTo>
                      <a:pt x="56" y="73"/>
                    </a:lnTo>
                    <a:lnTo>
                      <a:pt x="56" y="79"/>
                    </a:lnTo>
                    <a:lnTo>
                      <a:pt x="57" y="82"/>
                    </a:lnTo>
                    <a:lnTo>
                      <a:pt x="58" y="85"/>
                    </a:lnTo>
                    <a:lnTo>
                      <a:pt x="58" y="86"/>
                    </a:lnTo>
                    <a:lnTo>
                      <a:pt x="59" y="87"/>
                    </a:lnTo>
                    <a:lnTo>
                      <a:pt x="59" y="90"/>
                    </a:lnTo>
                    <a:lnTo>
                      <a:pt x="61" y="101"/>
                    </a:lnTo>
                    <a:lnTo>
                      <a:pt x="63" y="105"/>
                    </a:lnTo>
                    <a:lnTo>
                      <a:pt x="65" y="106"/>
                    </a:lnTo>
                    <a:lnTo>
                      <a:pt x="67" y="106"/>
                    </a:lnTo>
                    <a:lnTo>
                      <a:pt x="65" y="108"/>
                    </a:lnTo>
                    <a:lnTo>
                      <a:pt x="66" y="118"/>
                    </a:lnTo>
                    <a:lnTo>
                      <a:pt x="66" y="126"/>
                    </a:lnTo>
                    <a:lnTo>
                      <a:pt x="64" y="131"/>
                    </a:lnTo>
                    <a:lnTo>
                      <a:pt x="64" y="137"/>
                    </a:lnTo>
                    <a:lnTo>
                      <a:pt x="59" y="159"/>
                    </a:lnTo>
                    <a:lnTo>
                      <a:pt x="60" y="158"/>
                    </a:lnTo>
                    <a:lnTo>
                      <a:pt x="62" y="151"/>
                    </a:lnTo>
                    <a:lnTo>
                      <a:pt x="63" y="146"/>
                    </a:lnTo>
                    <a:lnTo>
                      <a:pt x="64" y="141"/>
                    </a:lnTo>
                    <a:lnTo>
                      <a:pt x="65" y="141"/>
                    </a:lnTo>
                    <a:lnTo>
                      <a:pt x="65" y="143"/>
                    </a:lnTo>
                    <a:lnTo>
                      <a:pt x="66" y="142"/>
                    </a:lnTo>
                    <a:lnTo>
                      <a:pt x="66" y="140"/>
                    </a:lnTo>
                    <a:lnTo>
                      <a:pt x="66" y="139"/>
                    </a:lnTo>
                    <a:lnTo>
                      <a:pt x="67" y="141"/>
                    </a:lnTo>
                    <a:lnTo>
                      <a:pt x="64" y="145"/>
                    </a:lnTo>
                    <a:lnTo>
                      <a:pt x="64" y="146"/>
                    </a:lnTo>
                    <a:lnTo>
                      <a:pt x="64" y="149"/>
                    </a:lnTo>
                    <a:lnTo>
                      <a:pt x="65" y="150"/>
                    </a:lnTo>
                    <a:lnTo>
                      <a:pt x="68" y="150"/>
                    </a:lnTo>
                    <a:lnTo>
                      <a:pt x="72" y="148"/>
                    </a:lnTo>
                    <a:lnTo>
                      <a:pt x="73" y="149"/>
                    </a:lnTo>
                    <a:lnTo>
                      <a:pt x="69" y="151"/>
                    </a:lnTo>
                    <a:lnTo>
                      <a:pt x="66" y="151"/>
                    </a:lnTo>
                    <a:lnTo>
                      <a:pt x="65" y="153"/>
                    </a:lnTo>
                    <a:lnTo>
                      <a:pt x="66" y="154"/>
                    </a:lnTo>
                    <a:lnTo>
                      <a:pt x="67" y="155"/>
                    </a:lnTo>
                    <a:lnTo>
                      <a:pt x="66" y="157"/>
                    </a:lnTo>
                    <a:lnTo>
                      <a:pt x="65" y="157"/>
                    </a:lnTo>
                    <a:lnTo>
                      <a:pt x="64" y="157"/>
                    </a:lnTo>
                    <a:lnTo>
                      <a:pt x="63" y="157"/>
                    </a:lnTo>
                    <a:lnTo>
                      <a:pt x="63" y="159"/>
                    </a:lnTo>
                    <a:lnTo>
                      <a:pt x="62" y="159"/>
                    </a:lnTo>
                    <a:lnTo>
                      <a:pt x="59" y="163"/>
                    </a:lnTo>
                    <a:lnTo>
                      <a:pt x="59" y="160"/>
                    </a:lnTo>
                    <a:lnTo>
                      <a:pt x="58" y="162"/>
                    </a:lnTo>
                    <a:lnTo>
                      <a:pt x="55" y="172"/>
                    </a:lnTo>
                    <a:lnTo>
                      <a:pt x="55" y="178"/>
                    </a:lnTo>
                    <a:lnTo>
                      <a:pt x="54" y="186"/>
                    </a:lnTo>
                    <a:lnTo>
                      <a:pt x="51" y="196"/>
                    </a:lnTo>
                    <a:lnTo>
                      <a:pt x="46" y="208"/>
                    </a:lnTo>
                    <a:lnTo>
                      <a:pt x="46" y="209"/>
                    </a:lnTo>
                    <a:lnTo>
                      <a:pt x="49" y="211"/>
                    </a:lnTo>
                    <a:lnTo>
                      <a:pt x="53" y="211"/>
                    </a:lnTo>
                    <a:lnTo>
                      <a:pt x="55" y="213"/>
                    </a:lnTo>
                    <a:lnTo>
                      <a:pt x="56" y="215"/>
                    </a:lnTo>
                    <a:lnTo>
                      <a:pt x="53" y="215"/>
                    </a:lnTo>
                    <a:lnTo>
                      <a:pt x="51" y="213"/>
                    </a:lnTo>
                    <a:lnTo>
                      <a:pt x="50" y="213"/>
                    </a:lnTo>
                    <a:lnTo>
                      <a:pt x="48" y="222"/>
                    </a:lnTo>
                    <a:lnTo>
                      <a:pt x="43" y="231"/>
                    </a:lnTo>
                    <a:lnTo>
                      <a:pt x="40" y="244"/>
                    </a:lnTo>
                    <a:lnTo>
                      <a:pt x="37" y="251"/>
                    </a:lnTo>
                    <a:lnTo>
                      <a:pt x="34" y="257"/>
                    </a:lnTo>
                    <a:lnTo>
                      <a:pt x="31" y="266"/>
                    </a:lnTo>
                    <a:lnTo>
                      <a:pt x="32" y="270"/>
                    </a:lnTo>
                    <a:lnTo>
                      <a:pt x="29" y="275"/>
                    </a:lnTo>
                    <a:lnTo>
                      <a:pt x="28" y="277"/>
                    </a:lnTo>
                    <a:lnTo>
                      <a:pt x="27" y="278"/>
                    </a:lnTo>
                    <a:lnTo>
                      <a:pt x="26" y="278"/>
                    </a:lnTo>
                    <a:lnTo>
                      <a:pt x="21" y="285"/>
                    </a:lnTo>
                    <a:lnTo>
                      <a:pt x="21" y="286"/>
                    </a:lnTo>
                    <a:lnTo>
                      <a:pt x="24" y="290"/>
                    </a:lnTo>
                    <a:lnTo>
                      <a:pt x="21" y="290"/>
                    </a:lnTo>
                    <a:lnTo>
                      <a:pt x="21" y="288"/>
                    </a:lnTo>
                    <a:lnTo>
                      <a:pt x="20" y="287"/>
                    </a:lnTo>
                    <a:lnTo>
                      <a:pt x="13" y="292"/>
                    </a:lnTo>
                    <a:lnTo>
                      <a:pt x="11" y="294"/>
                    </a:lnTo>
                    <a:lnTo>
                      <a:pt x="9" y="293"/>
                    </a:lnTo>
                    <a:lnTo>
                      <a:pt x="7" y="294"/>
                    </a:lnTo>
                    <a:lnTo>
                      <a:pt x="10" y="296"/>
                    </a:lnTo>
                    <a:lnTo>
                      <a:pt x="11" y="300"/>
                    </a:lnTo>
                    <a:lnTo>
                      <a:pt x="12" y="308"/>
                    </a:lnTo>
                    <a:lnTo>
                      <a:pt x="9" y="316"/>
                    </a:lnTo>
                    <a:lnTo>
                      <a:pt x="7" y="318"/>
                    </a:lnTo>
                    <a:lnTo>
                      <a:pt x="6" y="324"/>
                    </a:lnTo>
                    <a:lnTo>
                      <a:pt x="5" y="340"/>
                    </a:lnTo>
                    <a:lnTo>
                      <a:pt x="2" y="350"/>
                    </a:lnTo>
                    <a:lnTo>
                      <a:pt x="0" y="355"/>
                    </a:lnTo>
                    <a:lnTo>
                      <a:pt x="1" y="360"/>
                    </a:lnTo>
                    <a:lnTo>
                      <a:pt x="1" y="362"/>
                    </a:lnTo>
                    <a:lnTo>
                      <a:pt x="1" y="363"/>
                    </a:lnTo>
                    <a:lnTo>
                      <a:pt x="2" y="364"/>
                    </a:lnTo>
                    <a:lnTo>
                      <a:pt x="5" y="364"/>
                    </a:lnTo>
                    <a:lnTo>
                      <a:pt x="7" y="364"/>
                    </a:lnTo>
                    <a:lnTo>
                      <a:pt x="12" y="366"/>
                    </a:lnTo>
                    <a:lnTo>
                      <a:pt x="16" y="364"/>
                    </a:lnTo>
                    <a:lnTo>
                      <a:pt x="25" y="364"/>
                    </a:lnTo>
                    <a:lnTo>
                      <a:pt x="30" y="362"/>
                    </a:lnTo>
                    <a:lnTo>
                      <a:pt x="30" y="361"/>
                    </a:lnTo>
                    <a:lnTo>
                      <a:pt x="31" y="354"/>
                    </a:lnTo>
                    <a:lnTo>
                      <a:pt x="32" y="349"/>
                    </a:lnTo>
                    <a:lnTo>
                      <a:pt x="37" y="344"/>
                    </a:lnTo>
                    <a:lnTo>
                      <a:pt x="39" y="338"/>
                    </a:lnTo>
                    <a:lnTo>
                      <a:pt x="41" y="336"/>
                    </a:lnTo>
                    <a:lnTo>
                      <a:pt x="44" y="329"/>
                    </a:lnTo>
                    <a:lnTo>
                      <a:pt x="47" y="328"/>
                    </a:lnTo>
                    <a:lnTo>
                      <a:pt x="51" y="328"/>
                    </a:lnTo>
                    <a:lnTo>
                      <a:pt x="54" y="325"/>
                    </a:lnTo>
                    <a:lnTo>
                      <a:pt x="57" y="323"/>
                    </a:lnTo>
                    <a:close/>
                  </a:path>
                </a:pathLst>
              </a:custGeom>
              <a:solidFill>
                <a:schemeClr val="accent1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40" name="Belgium">
                <a:extLst>
                  <a:ext uri="{FF2B5EF4-FFF2-40B4-BE49-F238E27FC236}">
                    <a16:creationId xmlns:a16="http://schemas.microsoft.com/office/drawing/2014/main" id="{D2C32023-D666-4069-AD26-DA15BF4840F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061984" y="3354421"/>
                <a:ext cx="336787" cy="268379"/>
              </a:xfrm>
              <a:custGeom>
                <a:avLst/>
                <a:gdLst>
                  <a:gd name="T0" fmla="*/ 242 w 301"/>
                  <a:gd name="T1" fmla="*/ 31 h 211"/>
                  <a:gd name="T2" fmla="*/ 223 w 301"/>
                  <a:gd name="T3" fmla="*/ 25 h 211"/>
                  <a:gd name="T4" fmla="*/ 202 w 301"/>
                  <a:gd name="T5" fmla="*/ 19 h 211"/>
                  <a:gd name="T6" fmla="*/ 195 w 301"/>
                  <a:gd name="T7" fmla="*/ 1 h 211"/>
                  <a:gd name="T8" fmla="*/ 175 w 301"/>
                  <a:gd name="T9" fmla="*/ 9 h 211"/>
                  <a:gd name="T10" fmla="*/ 175 w 301"/>
                  <a:gd name="T11" fmla="*/ 0 h 211"/>
                  <a:gd name="T12" fmla="*/ 159 w 301"/>
                  <a:gd name="T13" fmla="*/ 7 h 211"/>
                  <a:gd name="T14" fmla="*/ 145 w 301"/>
                  <a:gd name="T15" fmla="*/ 9 h 211"/>
                  <a:gd name="T16" fmla="*/ 133 w 301"/>
                  <a:gd name="T17" fmla="*/ 13 h 211"/>
                  <a:gd name="T18" fmla="*/ 138 w 301"/>
                  <a:gd name="T19" fmla="*/ 23 h 211"/>
                  <a:gd name="T20" fmla="*/ 115 w 301"/>
                  <a:gd name="T21" fmla="*/ 27 h 211"/>
                  <a:gd name="T22" fmla="*/ 98 w 301"/>
                  <a:gd name="T23" fmla="*/ 30 h 211"/>
                  <a:gd name="T24" fmla="*/ 76 w 301"/>
                  <a:gd name="T25" fmla="*/ 27 h 211"/>
                  <a:gd name="T26" fmla="*/ 64 w 301"/>
                  <a:gd name="T27" fmla="*/ 13 h 211"/>
                  <a:gd name="T28" fmla="*/ 5 w 301"/>
                  <a:gd name="T29" fmla="*/ 54 h 211"/>
                  <a:gd name="T30" fmla="*/ 6 w 301"/>
                  <a:gd name="T31" fmla="*/ 70 h 211"/>
                  <a:gd name="T32" fmla="*/ 17 w 301"/>
                  <a:gd name="T33" fmla="*/ 78 h 211"/>
                  <a:gd name="T34" fmla="*/ 28 w 301"/>
                  <a:gd name="T35" fmla="*/ 85 h 211"/>
                  <a:gd name="T36" fmla="*/ 42 w 301"/>
                  <a:gd name="T37" fmla="*/ 77 h 211"/>
                  <a:gd name="T38" fmla="*/ 55 w 301"/>
                  <a:gd name="T39" fmla="*/ 85 h 211"/>
                  <a:gd name="T40" fmla="*/ 59 w 301"/>
                  <a:gd name="T41" fmla="*/ 103 h 211"/>
                  <a:gd name="T42" fmla="*/ 79 w 301"/>
                  <a:gd name="T43" fmla="*/ 106 h 211"/>
                  <a:gd name="T44" fmla="*/ 87 w 301"/>
                  <a:gd name="T45" fmla="*/ 120 h 211"/>
                  <a:gd name="T46" fmla="*/ 96 w 301"/>
                  <a:gd name="T47" fmla="*/ 121 h 211"/>
                  <a:gd name="T48" fmla="*/ 124 w 301"/>
                  <a:gd name="T49" fmla="*/ 129 h 211"/>
                  <a:gd name="T50" fmla="*/ 126 w 301"/>
                  <a:gd name="T51" fmla="*/ 136 h 211"/>
                  <a:gd name="T52" fmla="*/ 129 w 301"/>
                  <a:gd name="T53" fmla="*/ 145 h 211"/>
                  <a:gd name="T54" fmla="*/ 126 w 301"/>
                  <a:gd name="T55" fmla="*/ 159 h 211"/>
                  <a:gd name="T56" fmla="*/ 153 w 301"/>
                  <a:gd name="T57" fmla="*/ 164 h 211"/>
                  <a:gd name="T58" fmla="*/ 172 w 301"/>
                  <a:gd name="T59" fmla="*/ 147 h 211"/>
                  <a:gd name="T60" fmla="*/ 184 w 301"/>
                  <a:gd name="T61" fmla="*/ 144 h 211"/>
                  <a:gd name="T62" fmla="*/ 179 w 301"/>
                  <a:gd name="T63" fmla="*/ 151 h 211"/>
                  <a:gd name="T64" fmla="*/ 178 w 301"/>
                  <a:gd name="T65" fmla="*/ 164 h 211"/>
                  <a:gd name="T66" fmla="*/ 181 w 301"/>
                  <a:gd name="T67" fmla="*/ 180 h 211"/>
                  <a:gd name="T68" fmla="*/ 201 w 301"/>
                  <a:gd name="T69" fmla="*/ 185 h 211"/>
                  <a:gd name="T70" fmla="*/ 217 w 301"/>
                  <a:gd name="T71" fmla="*/ 195 h 211"/>
                  <a:gd name="T72" fmla="*/ 226 w 301"/>
                  <a:gd name="T73" fmla="*/ 203 h 211"/>
                  <a:gd name="T74" fmla="*/ 236 w 301"/>
                  <a:gd name="T75" fmla="*/ 208 h 211"/>
                  <a:gd name="T76" fmla="*/ 250 w 301"/>
                  <a:gd name="T77" fmla="*/ 207 h 211"/>
                  <a:gd name="T78" fmla="*/ 259 w 301"/>
                  <a:gd name="T79" fmla="*/ 202 h 211"/>
                  <a:gd name="T80" fmla="*/ 260 w 301"/>
                  <a:gd name="T81" fmla="*/ 189 h 211"/>
                  <a:gd name="T82" fmla="*/ 250 w 301"/>
                  <a:gd name="T83" fmla="*/ 180 h 211"/>
                  <a:gd name="T84" fmla="*/ 252 w 301"/>
                  <a:gd name="T85" fmla="*/ 171 h 211"/>
                  <a:gd name="T86" fmla="*/ 255 w 301"/>
                  <a:gd name="T87" fmla="*/ 162 h 211"/>
                  <a:gd name="T88" fmla="*/ 262 w 301"/>
                  <a:gd name="T89" fmla="*/ 147 h 211"/>
                  <a:gd name="T90" fmla="*/ 276 w 301"/>
                  <a:gd name="T91" fmla="*/ 141 h 211"/>
                  <a:gd name="T92" fmla="*/ 281 w 301"/>
                  <a:gd name="T93" fmla="*/ 142 h 211"/>
                  <a:gd name="T94" fmla="*/ 285 w 301"/>
                  <a:gd name="T95" fmla="*/ 133 h 211"/>
                  <a:gd name="T96" fmla="*/ 298 w 301"/>
                  <a:gd name="T97" fmla="*/ 126 h 211"/>
                  <a:gd name="T98" fmla="*/ 299 w 301"/>
                  <a:gd name="T99" fmla="*/ 111 h 211"/>
                  <a:gd name="T100" fmla="*/ 287 w 301"/>
                  <a:gd name="T101" fmla="*/ 106 h 211"/>
                  <a:gd name="T102" fmla="*/ 283 w 301"/>
                  <a:gd name="T103" fmla="*/ 100 h 211"/>
                  <a:gd name="T104" fmla="*/ 283 w 301"/>
                  <a:gd name="T105" fmla="*/ 92 h 211"/>
                  <a:gd name="T106" fmla="*/ 272 w 301"/>
                  <a:gd name="T107" fmla="*/ 80 h 211"/>
                  <a:gd name="T108" fmla="*/ 259 w 301"/>
                  <a:gd name="T109" fmla="*/ 78 h 211"/>
                  <a:gd name="T110" fmla="*/ 247 w 301"/>
                  <a:gd name="T111" fmla="*/ 76 h 211"/>
                  <a:gd name="T112" fmla="*/ 248 w 301"/>
                  <a:gd name="T113" fmla="*/ 62 h 211"/>
                  <a:gd name="T114" fmla="*/ 251 w 301"/>
                  <a:gd name="T115" fmla="*/ 49 h 211"/>
                  <a:gd name="T116" fmla="*/ 256 w 301"/>
                  <a:gd name="T117" fmla="*/ 41 h 21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301"/>
                  <a:gd name="T178" fmla="*/ 0 h 211"/>
                  <a:gd name="T179" fmla="*/ 301 w 301"/>
                  <a:gd name="T180" fmla="*/ 211 h 211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301" h="211">
                    <a:moveTo>
                      <a:pt x="259" y="37"/>
                    </a:moveTo>
                    <a:lnTo>
                      <a:pt x="256" y="36"/>
                    </a:lnTo>
                    <a:lnTo>
                      <a:pt x="254" y="36"/>
                    </a:lnTo>
                    <a:lnTo>
                      <a:pt x="253" y="34"/>
                    </a:lnTo>
                    <a:lnTo>
                      <a:pt x="251" y="33"/>
                    </a:lnTo>
                    <a:lnTo>
                      <a:pt x="244" y="33"/>
                    </a:lnTo>
                    <a:lnTo>
                      <a:pt x="242" y="31"/>
                    </a:lnTo>
                    <a:lnTo>
                      <a:pt x="236" y="30"/>
                    </a:lnTo>
                    <a:lnTo>
                      <a:pt x="235" y="29"/>
                    </a:lnTo>
                    <a:lnTo>
                      <a:pt x="235" y="25"/>
                    </a:lnTo>
                    <a:lnTo>
                      <a:pt x="232" y="22"/>
                    </a:lnTo>
                    <a:lnTo>
                      <a:pt x="230" y="22"/>
                    </a:lnTo>
                    <a:lnTo>
                      <a:pt x="228" y="23"/>
                    </a:lnTo>
                    <a:lnTo>
                      <a:pt x="223" y="25"/>
                    </a:lnTo>
                    <a:lnTo>
                      <a:pt x="220" y="24"/>
                    </a:lnTo>
                    <a:lnTo>
                      <a:pt x="217" y="25"/>
                    </a:lnTo>
                    <a:lnTo>
                      <a:pt x="209" y="25"/>
                    </a:lnTo>
                    <a:lnTo>
                      <a:pt x="210" y="21"/>
                    </a:lnTo>
                    <a:lnTo>
                      <a:pt x="207" y="19"/>
                    </a:lnTo>
                    <a:lnTo>
                      <a:pt x="205" y="20"/>
                    </a:lnTo>
                    <a:lnTo>
                      <a:pt x="202" y="19"/>
                    </a:lnTo>
                    <a:lnTo>
                      <a:pt x="202" y="16"/>
                    </a:lnTo>
                    <a:lnTo>
                      <a:pt x="198" y="12"/>
                    </a:lnTo>
                    <a:lnTo>
                      <a:pt x="198" y="11"/>
                    </a:lnTo>
                    <a:lnTo>
                      <a:pt x="200" y="7"/>
                    </a:lnTo>
                    <a:lnTo>
                      <a:pt x="198" y="3"/>
                    </a:lnTo>
                    <a:lnTo>
                      <a:pt x="196" y="3"/>
                    </a:lnTo>
                    <a:lnTo>
                      <a:pt x="195" y="1"/>
                    </a:lnTo>
                    <a:lnTo>
                      <a:pt x="193" y="3"/>
                    </a:lnTo>
                    <a:lnTo>
                      <a:pt x="193" y="6"/>
                    </a:lnTo>
                    <a:lnTo>
                      <a:pt x="192" y="7"/>
                    </a:lnTo>
                    <a:lnTo>
                      <a:pt x="186" y="11"/>
                    </a:lnTo>
                    <a:lnTo>
                      <a:pt x="183" y="9"/>
                    </a:lnTo>
                    <a:lnTo>
                      <a:pt x="178" y="10"/>
                    </a:lnTo>
                    <a:lnTo>
                      <a:pt x="175" y="9"/>
                    </a:lnTo>
                    <a:lnTo>
                      <a:pt x="175" y="7"/>
                    </a:lnTo>
                    <a:lnTo>
                      <a:pt x="179" y="9"/>
                    </a:lnTo>
                    <a:lnTo>
                      <a:pt x="179" y="5"/>
                    </a:lnTo>
                    <a:lnTo>
                      <a:pt x="180" y="4"/>
                    </a:lnTo>
                    <a:lnTo>
                      <a:pt x="180" y="3"/>
                    </a:lnTo>
                    <a:lnTo>
                      <a:pt x="178" y="1"/>
                    </a:lnTo>
                    <a:lnTo>
                      <a:pt x="175" y="0"/>
                    </a:lnTo>
                    <a:lnTo>
                      <a:pt x="174" y="0"/>
                    </a:lnTo>
                    <a:lnTo>
                      <a:pt x="169" y="3"/>
                    </a:lnTo>
                    <a:lnTo>
                      <a:pt x="167" y="5"/>
                    </a:lnTo>
                    <a:lnTo>
                      <a:pt x="166" y="7"/>
                    </a:lnTo>
                    <a:lnTo>
                      <a:pt x="166" y="8"/>
                    </a:lnTo>
                    <a:lnTo>
                      <a:pt x="164" y="9"/>
                    </a:lnTo>
                    <a:lnTo>
                      <a:pt x="159" y="7"/>
                    </a:lnTo>
                    <a:lnTo>
                      <a:pt x="156" y="8"/>
                    </a:lnTo>
                    <a:lnTo>
                      <a:pt x="155" y="6"/>
                    </a:lnTo>
                    <a:lnTo>
                      <a:pt x="156" y="2"/>
                    </a:lnTo>
                    <a:lnTo>
                      <a:pt x="151" y="2"/>
                    </a:lnTo>
                    <a:lnTo>
                      <a:pt x="145" y="5"/>
                    </a:lnTo>
                    <a:lnTo>
                      <a:pt x="146" y="7"/>
                    </a:lnTo>
                    <a:lnTo>
                      <a:pt x="145" y="9"/>
                    </a:lnTo>
                    <a:lnTo>
                      <a:pt x="148" y="13"/>
                    </a:lnTo>
                    <a:lnTo>
                      <a:pt x="148" y="15"/>
                    </a:lnTo>
                    <a:lnTo>
                      <a:pt x="144" y="15"/>
                    </a:lnTo>
                    <a:lnTo>
                      <a:pt x="141" y="15"/>
                    </a:lnTo>
                    <a:lnTo>
                      <a:pt x="140" y="13"/>
                    </a:lnTo>
                    <a:lnTo>
                      <a:pt x="134" y="13"/>
                    </a:lnTo>
                    <a:lnTo>
                      <a:pt x="133" y="13"/>
                    </a:lnTo>
                    <a:lnTo>
                      <a:pt x="134" y="15"/>
                    </a:lnTo>
                    <a:lnTo>
                      <a:pt x="136" y="17"/>
                    </a:lnTo>
                    <a:lnTo>
                      <a:pt x="136" y="20"/>
                    </a:lnTo>
                    <a:lnTo>
                      <a:pt x="139" y="22"/>
                    </a:lnTo>
                    <a:lnTo>
                      <a:pt x="138" y="25"/>
                    </a:lnTo>
                    <a:lnTo>
                      <a:pt x="137" y="25"/>
                    </a:lnTo>
                    <a:lnTo>
                      <a:pt x="138" y="23"/>
                    </a:lnTo>
                    <a:lnTo>
                      <a:pt x="135" y="21"/>
                    </a:lnTo>
                    <a:lnTo>
                      <a:pt x="134" y="17"/>
                    </a:lnTo>
                    <a:lnTo>
                      <a:pt x="133" y="15"/>
                    </a:lnTo>
                    <a:lnTo>
                      <a:pt x="132" y="17"/>
                    </a:lnTo>
                    <a:lnTo>
                      <a:pt x="126" y="22"/>
                    </a:lnTo>
                    <a:lnTo>
                      <a:pt x="118" y="26"/>
                    </a:lnTo>
                    <a:lnTo>
                      <a:pt x="115" y="27"/>
                    </a:lnTo>
                    <a:lnTo>
                      <a:pt x="110" y="30"/>
                    </a:lnTo>
                    <a:lnTo>
                      <a:pt x="108" y="30"/>
                    </a:lnTo>
                    <a:lnTo>
                      <a:pt x="106" y="31"/>
                    </a:lnTo>
                    <a:lnTo>
                      <a:pt x="105" y="31"/>
                    </a:lnTo>
                    <a:lnTo>
                      <a:pt x="105" y="30"/>
                    </a:lnTo>
                    <a:lnTo>
                      <a:pt x="101" y="31"/>
                    </a:lnTo>
                    <a:lnTo>
                      <a:pt x="98" y="30"/>
                    </a:lnTo>
                    <a:lnTo>
                      <a:pt x="98" y="25"/>
                    </a:lnTo>
                    <a:lnTo>
                      <a:pt x="91" y="24"/>
                    </a:lnTo>
                    <a:lnTo>
                      <a:pt x="88" y="22"/>
                    </a:lnTo>
                    <a:lnTo>
                      <a:pt x="83" y="21"/>
                    </a:lnTo>
                    <a:lnTo>
                      <a:pt x="81" y="22"/>
                    </a:lnTo>
                    <a:lnTo>
                      <a:pt x="77" y="23"/>
                    </a:lnTo>
                    <a:lnTo>
                      <a:pt x="76" y="27"/>
                    </a:lnTo>
                    <a:lnTo>
                      <a:pt x="70" y="27"/>
                    </a:lnTo>
                    <a:lnTo>
                      <a:pt x="65" y="24"/>
                    </a:lnTo>
                    <a:lnTo>
                      <a:pt x="64" y="21"/>
                    </a:lnTo>
                    <a:lnTo>
                      <a:pt x="65" y="21"/>
                    </a:lnTo>
                    <a:lnTo>
                      <a:pt x="64" y="19"/>
                    </a:lnTo>
                    <a:lnTo>
                      <a:pt x="65" y="17"/>
                    </a:lnTo>
                    <a:lnTo>
                      <a:pt x="64" y="13"/>
                    </a:lnTo>
                    <a:lnTo>
                      <a:pt x="64" y="14"/>
                    </a:lnTo>
                    <a:lnTo>
                      <a:pt x="46" y="19"/>
                    </a:lnTo>
                    <a:lnTo>
                      <a:pt x="30" y="28"/>
                    </a:lnTo>
                    <a:lnTo>
                      <a:pt x="0" y="43"/>
                    </a:lnTo>
                    <a:lnTo>
                      <a:pt x="1" y="45"/>
                    </a:lnTo>
                    <a:lnTo>
                      <a:pt x="2" y="52"/>
                    </a:lnTo>
                    <a:lnTo>
                      <a:pt x="5" y="54"/>
                    </a:lnTo>
                    <a:lnTo>
                      <a:pt x="7" y="58"/>
                    </a:lnTo>
                    <a:lnTo>
                      <a:pt x="4" y="62"/>
                    </a:lnTo>
                    <a:lnTo>
                      <a:pt x="5" y="62"/>
                    </a:lnTo>
                    <a:lnTo>
                      <a:pt x="5" y="66"/>
                    </a:lnTo>
                    <a:lnTo>
                      <a:pt x="5" y="67"/>
                    </a:lnTo>
                    <a:lnTo>
                      <a:pt x="4" y="68"/>
                    </a:lnTo>
                    <a:lnTo>
                      <a:pt x="6" y="70"/>
                    </a:lnTo>
                    <a:lnTo>
                      <a:pt x="7" y="72"/>
                    </a:lnTo>
                    <a:lnTo>
                      <a:pt x="8" y="72"/>
                    </a:lnTo>
                    <a:lnTo>
                      <a:pt x="10" y="72"/>
                    </a:lnTo>
                    <a:lnTo>
                      <a:pt x="13" y="72"/>
                    </a:lnTo>
                    <a:lnTo>
                      <a:pt x="14" y="74"/>
                    </a:lnTo>
                    <a:lnTo>
                      <a:pt x="17" y="76"/>
                    </a:lnTo>
                    <a:lnTo>
                      <a:pt x="17" y="78"/>
                    </a:lnTo>
                    <a:lnTo>
                      <a:pt x="19" y="79"/>
                    </a:lnTo>
                    <a:lnTo>
                      <a:pt x="19" y="81"/>
                    </a:lnTo>
                    <a:lnTo>
                      <a:pt x="20" y="82"/>
                    </a:lnTo>
                    <a:lnTo>
                      <a:pt x="24" y="82"/>
                    </a:lnTo>
                    <a:lnTo>
                      <a:pt x="25" y="83"/>
                    </a:lnTo>
                    <a:lnTo>
                      <a:pt x="27" y="84"/>
                    </a:lnTo>
                    <a:lnTo>
                      <a:pt x="28" y="85"/>
                    </a:lnTo>
                    <a:lnTo>
                      <a:pt x="30" y="82"/>
                    </a:lnTo>
                    <a:lnTo>
                      <a:pt x="31" y="80"/>
                    </a:lnTo>
                    <a:lnTo>
                      <a:pt x="32" y="78"/>
                    </a:lnTo>
                    <a:lnTo>
                      <a:pt x="33" y="79"/>
                    </a:lnTo>
                    <a:lnTo>
                      <a:pt x="40" y="76"/>
                    </a:lnTo>
                    <a:lnTo>
                      <a:pt x="42" y="77"/>
                    </a:lnTo>
                    <a:lnTo>
                      <a:pt x="45" y="75"/>
                    </a:lnTo>
                    <a:lnTo>
                      <a:pt x="48" y="76"/>
                    </a:lnTo>
                    <a:lnTo>
                      <a:pt x="51" y="82"/>
                    </a:lnTo>
                    <a:lnTo>
                      <a:pt x="52" y="83"/>
                    </a:lnTo>
                    <a:lnTo>
                      <a:pt x="54" y="83"/>
                    </a:lnTo>
                    <a:lnTo>
                      <a:pt x="55" y="84"/>
                    </a:lnTo>
                    <a:lnTo>
                      <a:pt x="55" y="85"/>
                    </a:lnTo>
                    <a:lnTo>
                      <a:pt x="56" y="87"/>
                    </a:lnTo>
                    <a:lnTo>
                      <a:pt x="54" y="88"/>
                    </a:lnTo>
                    <a:lnTo>
                      <a:pt x="54" y="89"/>
                    </a:lnTo>
                    <a:lnTo>
                      <a:pt x="56" y="93"/>
                    </a:lnTo>
                    <a:lnTo>
                      <a:pt x="57" y="96"/>
                    </a:lnTo>
                    <a:lnTo>
                      <a:pt x="57" y="100"/>
                    </a:lnTo>
                    <a:lnTo>
                      <a:pt x="59" y="103"/>
                    </a:lnTo>
                    <a:lnTo>
                      <a:pt x="65" y="106"/>
                    </a:lnTo>
                    <a:lnTo>
                      <a:pt x="71" y="105"/>
                    </a:lnTo>
                    <a:lnTo>
                      <a:pt x="73" y="102"/>
                    </a:lnTo>
                    <a:lnTo>
                      <a:pt x="76" y="103"/>
                    </a:lnTo>
                    <a:lnTo>
                      <a:pt x="75" y="105"/>
                    </a:lnTo>
                    <a:lnTo>
                      <a:pt x="75" y="106"/>
                    </a:lnTo>
                    <a:lnTo>
                      <a:pt x="79" y="106"/>
                    </a:lnTo>
                    <a:lnTo>
                      <a:pt x="82" y="106"/>
                    </a:lnTo>
                    <a:lnTo>
                      <a:pt x="83" y="106"/>
                    </a:lnTo>
                    <a:lnTo>
                      <a:pt x="84" y="107"/>
                    </a:lnTo>
                    <a:lnTo>
                      <a:pt x="87" y="110"/>
                    </a:lnTo>
                    <a:lnTo>
                      <a:pt x="88" y="112"/>
                    </a:lnTo>
                    <a:lnTo>
                      <a:pt x="89" y="117"/>
                    </a:lnTo>
                    <a:lnTo>
                      <a:pt x="87" y="120"/>
                    </a:lnTo>
                    <a:lnTo>
                      <a:pt x="89" y="124"/>
                    </a:lnTo>
                    <a:lnTo>
                      <a:pt x="91" y="126"/>
                    </a:lnTo>
                    <a:lnTo>
                      <a:pt x="92" y="125"/>
                    </a:lnTo>
                    <a:lnTo>
                      <a:pt x="93" y="126"/>
                    </a:lnTo>
                    <a:lnTo>
                      <a:pt x="94" y="122"/>
                    </a:lnTo>
                    <a:lnTo>
                      <a:pt x="96" y="121"/>
                    </a:lnTo>
                    <a:lnTo>
                      <a:pt x="100" y="122"/>
                    </a:lnTo>
                    <a:lnTo>
                      <a:pt x="103" y="121"/>
                    </a:lnTo>
                    <a:lnTo>
                      <a:pt x="106" y="124"/>
                    </a:lnTo>
                    <a:lnTo>
                      <a:pt x="117" y="121"/>
                    </a:lnTo>
                    <a:lnTo>
                      <a:pt x="118" y="124"/>
                    </a:lnTo>
                    <a:lnTo>
                      <a:pt x="123" y="127"/>
                    </a:lnTo>
                    <a:lnTo>
                      <a:pt x="124" y="129"/>
                    </a:lnTo>
                    <a:lnTo>
                      <a:pt x="125" y="131"/>
                    </a:lnTo>
                    <a:lnTo>
                      <a:pt x="127" y="130"/>
                    </a:lnTo>
                    <a:lnTo>
                      <a:pt x="126" y="129"/>
                    </a:lnTo>
                    <a:lnTo>
                      <a:pt x="127" y="129"/>
                    </a:lnTo>
                    <a:lnTo>
                      <a:pt x="131" y="130"/>
                    </a:lnTo>
                    <a:lnTo>
                      <a:pt x="131" y="132"/>
                    </a:lnTo>
                    <a:lnTo>
                      <a:pt x="126" y="136"/>
                    </a:lnTo>
                    <a:lnTo>
                      <a:pt x="126" y="139"/>
                    </a:lnTo>
                    <a:lnTo>
                      <a:pt x="126" y="141"/>
                    </a:lnTo>
                    <a:lnTo>
                      <a:pt x="125" y="142"/>
                    </a:lnTo>
                    <a:lnTo>
                      <a:pt x="124" y="144"/>
                    </a:lnTo>
                    <a:lnTo>
                      <a:pt x="126" y="145"/>
                    </a:lnTo>
                    <a:lnTo>
                      <a:pt x="127" y="144"/>
                    </a:lnTo>
                    <a:lnTo>
                      <a:pt x="129" y="145"/>
                    </a:lnTo>
                    <a:lnTo>
                      <a:pt x="129" y="147"/>
                    </a:lnTo>
                    <a:lnTo>
                      <a:pt x="132" y="151"/>
                    </a:lnTo>
                    <a:lnTo>
                      <a:pt x="128" y="153"/>
                    </a:lnTo>
                    <a:lnTo>
                      <a:pt x="126" y="154"/>
                    </a:lnTo>
                    <a:lnTo>
                      <a:pt x="125" y="156"/>
                    </a:lnTo>
                    <a:lnTo>
                      <a:pt x="125" y="157"/>
                    </a:lnTo>
                    <a:lnTo>
                      <a:pt x="126" y="159"/>
                    </a:lnTo>
                    <a:lnTo>
                      <a:pt x="125" y="161"/>
                    </a:lnTo>
                    <a:lnTo>
                      <a:pt x="127" y="161"/>
                    </a:lnTo>
                    <a:lnTo>
                      <a:pt x="131" y="163"/>
                    </a:lnTo>
                    <a:lnTo>
                      <a:pt x="139" y="162"/>
                    </a:lnTo>
                    <a:lnTo>
                      <a:pt x="141" y="163"/>
                    </a:lnTo>
                    <a:lnTo>
                      <a:pt x="150" y="165"/>
                    </a:lnTo>
                    <a:lnTo>
                      <a:pt x="153" y="164"/>
                    </a:lnTo>
                    <a:lnTo>
                      <a:pt x="159" y="160"/>
                    </a:lnTo>
                    <a:lnTo>
                      <a:pt x="166" y="159"/>
                    </a:lnTo>
                    <a:lnTo>
                      <a:pt x="168" y="154"/>
                    </a:lnTo>
                    <a:lnTo>
                      <a:pt x="168" y="153"/>
                    </a:lnTo>
                    <a:lnTo>
                      <a:pt x="167" y="151"/>
                    </a:lnTo>
                    <a:lnTo>
                      <a:pt x="168" y="149"/>
                    </a:lnTo>
                    <a:lnTo>
                      <a:pt x="172" y="147"/>
                    </a:lnTo>
                    <a:lnTo>
                      <a:pt x="173" y="144"/>
                    </a:lnTo>
                    <a:lnTo>
                      <a:pt x="176" y="143"/>
                    </a:lnTo>
                    <a:lnTo>
                      <a:pt x="177" y="141"/>
                    </a:lnTo>
                    <a:lnTo>
                      <a:pt x="179" y="141"/>
                    </a:lnTo>
                    <a:lnTo>
                      <a:pt x="180" y="143"/>
                    </a:lnTo>
                    <a:lnTo>
                      <a:pt x="183" y="142"/>
                    </a:lnTo>
                    <a:lnTo>
                      <a:pt x="184" y="144"/>
                    </a:lnTo>
                    <a:lnTo>
                      <a:pt x="182" y="145"/>
                    </a:lnTo>
                    <a:lnTo>
                      <a:pt x="182" y="149"/>
                    </a:lnTo>
                    <a:lnTo>
                      <a:pt x="181" y="148"/>
                    </a:lnTo>
                    <a:lnTo>
                      <a:pt x="180" y="149"/>
                    </a:lnTo>
                    <a:lnTo>
                      <a:pt x="180" y="150"/>
                    </a:lnTo>
                    <a:lnTo>
                      <a:pt x="179" y="151"/>
                    </a:lnTo>
                    <a:lnTo>
                      <a:pt x="180" y="153"/>
                    </a:lnTo>
                    <a:lnTo>
                      <a:pt x="178" y="156"/>
                    </a:lnTo>
                    <a:lnTo>
                      <a:pt x="178" y="159"/>
                    </a:lnTo>
                    <a:lnTo>
                      <a:pt x="176" y="161"/>
                    </a:lnTo>
                    <a:lnTo>
                      <a:pt x="176" y="162"/>
                    </a:lnTo>
                    <a:lnTo>
                      <a:pt x="176" y="163"/>
                    </a:lnTo>
                    <a:lnTo>
                      <a:pt x="178" y="164"/>
                    </a:lnTo>
                    <a:lnTo>
                      <a:pt x="180" y="163"/>
                    </a:lnTo>
                    <a:lnTo>
                      <a:pt x="180" y="165"/>
                    </a:lnTo>
                    <a:lnTo>
                      <a:pt x="182" y="167"/>
                    </a:lnTo>
                    <a:lnTo>
                      <a:pt x="182" y="169"/>
                    </a:lnTo>
                    <a:lnTo>
                      <a:pt x="180" y="173"/>
                    </a:lnTo>
                    <a:lnTo>
                      <a:pt x="182" y="177"/>
                    </a:lnTo>
                    <a:lnTo>
                      <a:pt x="181" y="180"/>
                    </a:lnTo>
                    <a:lnTo>
                      <a:pt x="187" y="181"/>
                    </a:lnTo>
                    <a:lnTo>
                      <a:pt x="188" y="179"/>
                    </a:lnTo>
                    <a:lnTo>
                      <a:pt x="191" y="179"/>
                    </a:lnTo>
                    <a:lnTo>
                      <a:pt x="194" y="182"/>
                    </a:lnTo>
                    <a:lnTo>
                      <a:pt x="196" y="183"/>
                    </a:lnTo>
                    <a:lnTo>
                      <a:pt x="200" y="183"/>
                    </a:lnTo>
                    <a:lnTo>
                      <a:pt x="201" y="185"/>
                    </a:lnTo>
                    <a:lnTo>
                      <a:pt x="202" y="189"/>
                    </a:lnTo>
                    <a:lnTo>
                      <a:pt x="204" y="189"/>
                    </a:lnTo>
                    <a:lnTo>
                      <a:pt x="204" y="190"/>
                    </a:lnTo>
                    <a:lnTo>
                      <a:pt x="205" y="191"/>
                    </a:lnTo>
                    <a:lnTo>
                      <a:pt x="210" y="191"/>
                    </a:lnTo>
                    <a:lnTo>
                      <a:pt x="213" y="190"/>
                    </a:lnTo>
                    <a:lnTo>
                      <a:pt x="217" y="195"/>
                    </a:lnTo>
                    <a:lnTo>
                      <a:pt x="216" y="197"/>
                    </a:lnTo>
                    <a:lnTo>
                      <a:pt x="216" y="199"/>
                    </a:lnTo>
                    <a:lnTo>
                      <a:pt x="218" y="199"/>
                    </a:lnTo>
                    <a:lnTo>
                      <a:pt x="219" y="197"/>
                    </a:lnTo>
                    <a:lnTo>
                      <a:pt x="223" y="198"/>
                    </a:lnTo>
                    <a:lnTo>
                      <a:pt x="226" y="201"/>
                    </a:lnTo>
                    <a:lnTo>
                      <a:pt x="226" y="203"/>
                    </a:lnTo>
                    <a:lnTo>
                      <a:pt x="228" y="204"/>
                    </a:lnTo>
                    <a:lnTo>
                      <a:pt x="227" y="205"/>
                    </a:lnTo>
                    <a:lnTo>
                      <a:pt x="229" y="207"/>
                    </a:lnTo>
                    <a:lnTo>
                      <a:pt x="228" y="210"/>
                    </a:lnTo>
                    <a:lnTo>
                      <a:pt x="229" y="211"/>
                    </a:lnTo>
                    <a:lnTo>
                      <a:pt x="233" y="210"/>
                    </a:lnTo>
                    <a:lnTo>
                      <a:pt x="236" y="208"/>
                    </a:lnTo>
                    <a:lnTo>
                      <a:pt x="238" y="208"/>
                    </a:lnTo>
                    <a:lnTo>
                      <a:pt x="240" y="210"/>
                    </a:lnTo>
                    <a:lnTo>
                      <a:pt x="241" y="207"/>
                    </a:lnTo>
                    <a:lnTo>
                      <a:pt x="243" y="206"/>
                    </a:lnTo>
                    <a:lnTo>
                      <a:pt x="246" y="206"/>
                    </a:lnTo>
                    <a:lnTo>
                      <a:pt x="247" y="207"/>
                    </a:lnTo>
                    <a:lnTo>
                      <a:pt x="250" y="207"/>
                    </a:lnTo>
                    <a:lnTo>
                      <a:pt x="251" y="205"/>
                    </a:lnTo>
                    <a:lnTo>
                      <a:pt x="255" y="207"/>
                    </a:lnTo>
                    <a:lnTo>
                      <a:pt x="255" y="206"/>
                    </a:lnTo>
                    <a:lnTo>
                      <a:pt x="257" y="206"/>
                    </a:lnTo>
                    <a:lnTo>
                      <a:pt x="259" y="204"/>
                    </a:lnTo>
                    <a:lnTo>
                      <a:pt x="259" y="202"/>
                    </a:lnTo>
                    <a:lnTo>
                      <a:pt x="258" y="201"/>
                    </a:lnTo>
                    <a:lnTo>
                      <a:pt x="259" y="200"/>
                    </a:lnTo>
                    <a:lnTo>
                      <a:pt x="259" y="198"/>
                    </a:lnTo>
                    <a:lnTo>
                      <a:pt x="262" y="197"/>
                    </a:lnTo>
                    <a:lnTo>
                      <a:pt x="262" y="194"/>
                    </a:lnTo>
                    <a:lnTo>
                      <a:pt x="259" y="193"/>
                    </a:lnTo>
                    <a:lnTo>
                      <a:pt x="260" y="189"/>
                    </a:lnTo>
                    <a:lnTo>
                      <a:pt x="259" y="188"/>
                    </a:lnTo>
                    <a:lnTo>
                      <a:pt x="256" y="187"/>
                    </a:lnTo>
                    <a:lnTo>
                      <a:pt x="256" y="185"/>
                    </a:lnTo>
                    <a:lnTo>
                      <a:pt x="254" y="182"/>
                    </a:lnTo>
                    <a:lnTo>
                      <a:pt x="253" y="180"/>
                    </a:lnTo>
                    <a:lnTo>
                      <a:pt x="251" y="181"/>
                    </a:lnTo>
                    <a:lnTo>
                      <a:pt x="250" y="180"/>
                    </a:lnTo>
                    <a:lnTo>
                      <a:pt x="249" y="176"/>
                    </a:lnTo>
                    <a:lnTo>
                      <a:pt x="251" y="175"/>
                    </a:lnTo>
                    <a:lnTo>
                      <a:pt x="250" y="174"/>
                    </a:lnTo>
                    <a:lnTo>
                      <a:pt x="250" y="173"/>
                    </a:lnTo>
                    <a:lnTo>
                      <a:pt x="251" y="173"/>
                    </a:lnTo>
                    <a:lnTo>
                      <a:pt x="252" y="171"/>
                    </a:lnTo>
                    <a:lnTo>
                      <a:pt x="249" y="171"/>
                    </a:lnTo>
                    <a:lnTo>
                      <a:pt x="248" y="169"/>
                    </a:lnTo>
                    <a:lnTo>
                      <a:pt x="251" y="165"/>
                    </a:lnTo>
                    <a:lnTo>
                      <a:pt x="252" y="163"/>
                    </a:lnTo>
                    <a:lnTo>
                      <a:pt x="254" y="163"/>
                    </a:lnTo>
                    <a:lnTo>
                      <a:pt x="255" y="162"/>
                    </a:lnTo>
                    <a:lnTo>
                      <a:pt x="257" y="161"/>
                    </a:lnTo>
                    <a:lnTo>
                      <a:pt x="256" y="158"/>
                    </a:lnTo>
                    <a:lnTo>
                      <a:pt x="259" y="156"/>
                    </a:lnTo>
                    <a:lnTo>
                      <a:pt x="259" y="154"/>
                    </a:lnTo>
                    <a:lnTo>
                      <a:pt x="259" y="152"/>
                    </a:lnTo>
                    <a:lnTo>
                      <a:pt x="260" y="151"/>
                    </a:lnTo>
                    <a:lnTo>
                      <a:pt x="262" y="147"/>
                    </a:lnTo>
                    <a:lnTo>
                      <a:pt x="266" y="145"/>
                    </a:lnTo>
                    <a:lnTo>
                      <a:pt x="267" y="141"/>
                    </a:lnTo>
                    <a:lnTo>
                      <a:pt x="272" y="139"/>
                    </a:lnTo>
                    <a:lnTo>
                      <a:pt x="272" y="141"/>
                    </a:lnTo>
                    <a:lnTo>
                      <a:pt x="275" y="143"/>
                    </a:lnTo>
                    <a:lnTo>
                      <a:pt x="276" y="142"/>
                    </a:lnTo>
                    <a:lnTo>
                      <a:pt x="276" y="141"/>
                    </a:lnTo>
                    <a:lnTo>
                      <a:pt x="278" y="141"/>
                    </a:lnTo>
                    <a:lnTo>
                      <a:pt x="279" y="145"/>
                    </a:lnTo>
                    <a:lnTo>
                      <a:pt x="280" y="145"/>
                    </a:lnTo>
                    <a:lnTo>
                      <a:pt x="281" y="144"/>
                    </a:lnTo>
                    <a:lnTo>
                      <a:pt x="280" y="143"/>
                    </a:lnTo>
                    <a:lnTo>
                      <a:pt x="281" y="142"/>
                    </a:lnTo>
                    <a:lnTo>
                      <a:pt x="280" y="141"/>
                    </a:lnTo>
                    <a:lnTo>
                      <a:pt x="281" y="140"/>
                    </a:lnTo>
                    <a:lnTo>
                      <a:pt x="284" y="139"/>
                    </a:lnTo>
                    <a:lnTo>
                      <a:pt x="284" y="136"/>
                    </a:lnTo>
                    <a:lnTo>
                      <a:pt x="283" y="135"/>
                    </a:lnTo>
                    <a:lnTo>
                      <a:pt x="283" y="134"/>
                    </a:lnTo>
                    <a:lnTo>
                      <a:pt x="285" y="133"/>
                    </a:lnTo>
                    <a:lnTo>
                      <a:pt x="287" y="132"/>
                    </a:lnTo>
                    <a:lnTo>
                      <a:pt x="291" y="130"/>
                    </a:lnTo>
                    <a:lnTo>
                      <a:pt x="292" y="130"/>
                    </a:lnTo>
                    <a:lnTo>
                      <a:pt x="292" y="129"/>
                    </a:lnTo>
                    <a:lnTo>
                      <a:pt x="294" y="125"/>
                    </a:lnTo>
                    <a:lnTo>
                      <a:pt x="296" y="125"/>
                    </a:lnTo>
                    <a:lnTo>
                      <a:pt x="298" y="126"/>
                    </a:lnTo>
                    <a:lnTo>
                      <a:pt x="301" y="124"/>
                    </a:lnTo>
                    <a:lnTo>
                      <a:pt x="300" y="122"/>
                    </a:lnTo>
                    <a:lnTo>
                      <a:pt x="298" y="120"/>
                    </a:lnTo>
                    <a:lnTo>
                      <a:pt x="297" y="118"/>
                    </a:lnTo>
                    <a:lnTo>
                      <a:pt x="299" y="112"/>
                    </a:lnTo>
                    <a:lnTo>
                      <a:pt x="299" y="111"/>
                    </a:lnTo>
                    <a:lnTo>
                      <a:pt x="297" y="110"/>
                    </a:lnTo>
                    <a:lnTo>
                      <a:pt x="297" y="108"/>
                    </a:lnTo>
                    <a:lnTo>
                      <a:pt x="298" y="107"/>
                    </a:lnTo>
                    <a:lnTo>
                      <a:pt x="294" y="106"/>
                    </a:lnTo>
                    <a:lnTo>
                      <a:pt x="292" y="106"/>
                    </a:lnTo>
                    <a:lnTo>
                      <a:pt x="291" y="106"/>
                    </a:lnTo>
                    <a:lnTo>
                      <a:pt x="287" y="106"/>
                    </a:lnTo>
                    <a:lnTo>
                      <a:pt x="286" y="104"/>
                    </a:lnTo>
                    <a:lnTo>
                      <a:pt x="285" y="104"/>
                    </a:lnTo>
                    <a:lnTo>
                      <a:pt x="286" y="103"/>
                    </a:lnTo>
                    <a:lnTo>
                      <a:pt x="284" y="103"/>
                    </a:lnTo>
                    <a:lnTo>
                      <a:pt x="285" y="102"/>
                    </a:lnTo>
                    <a:lnTo>
                      <a:pt x="283" y="100"/>
                    </a:lnTo>
                    <a:lnTo>
                      <a:pt x="286" y="98"/>
                    </a:lnTo>
                    <a:lnTo>
                      <a:pt x="287" y="96"/>
                    </a:lnTo>
                    <a:lnTo>
                      <a:pt x="289" y="96"/>
                    </a:lnTo>
                    <a:lnTo>
                      <a:pt x="291" y="93"/>
                    </a:lnTo>
                    <a:lnTo>
                      <a:pt x="285" y="92"/>
                    </a:lnTo>
                    <a:lnTo>
                      <a:pt x="284" y="93"/>
                    </a:lnTo>
                    <a:lnTo>
                      <a:pt x="283" y="92"/>
                    </a:lnTo>
                    <a:lnTo>
                      <a:pt x="283" y="90"/>
                    </a:lnTo>
                    <a:lnTo>
                      <a:pt x="284" y="90"/>
                    </a:lnTo>
                    <a:lnTo>
                      <a:pt x="281" y="87"/>
                    </a:lnTo>
                    <a:lnTo>
                      <a:pt x="278" y="82"/>
                    </a:lnTo>
                    <a:lnTo>
                      <a:pt x="272" y="83"/>
                    </a:lnTo>
                    <a:lnTo>
                      <a:pt x="272" y="80"/>
                    </a:lnTo>
                    <a:lnTo>
                      <a:pt x="270" y="79"/>
                    </a:lnTo>
                    <a:lnTo>
                      <a:pt x="271" y="79"/>
                    </a:lnTo>
                    <a:lnTo>
                      <a:pt x="266" y="78"/>
                    </a:lnTo>
                    <a:lnTo>
                      <a:pt x="262" y="79"/>
                    </a:lnTo>
                    <a:lnTo>
                      <a:pt x="262" y="78"/>
                    </a:lnTo>
                    <a:lnTo>
                      <a:pt x="259" y="78"/>
                    </a:lnTo>
                    <a:lnTo>
                      <a:pt x="258" y="78"/>
                    </a:lnTo>
                    <a:lnTo>
                      <a:pt x="255" y="78"/>
                    </a:lnTo>
                    <a:lnTo>
                      <a:pt x="252" y="76"/>
                    </a:lnTo>
                    <a:lnTo>
                      <a:pt x="249" y="78"/>
                    </a:lnTo>
                    <a:lnTo>
                      <a:pt x="248" y="78"/>
                    </a:lnTo>
                    <a:lnTo>
                      <a:pt x="246" y="78"/>
                    </a:lnTo>
                    <a:lnTo>
                      <a:pt x="247" y="76"/>
                    </a:lnTo>
                    <a:lnTo>
                      <a:pt x="246" y="74"/>
                    </a:lnTo>
                    <a:lnTo>
                      <a:pt x="243" y="72"/>
                    </a:lnTo>
                    <a:lnTo>
                      <a:pt x="242" y="69"/>
                    </a:lnTo>
                    <a:lnTo>
                      <a:pt x="243" y="66"/>
                    </a:lnTo>
                    <a:lnTo>
                      <a:pt x="245" y="66"/>
                    </a:lnTo>
                    <a:lnTo>
                      <a:pt x="247" y="62"/>
                    </a:lnTo>
                    <a:lnTo>
                      <a:pt x="248" y="62"/>
                    </a:lnTo>
                    <a:lnTo>
                      <a:pt x="251" y="58"/>
                    </a:lnTo>
                    <a:lnTo>
                      <a:pt x="251" y="57"/>
                    </a:lnTo>
                    <a:lnTo>
                      <a:pt x="248" y="58"/>
                    </a:lnTo>
                    <a:lnTo>
                      <a:pt x="248" y="57"/>
                    </a:lnTo>
                    <a:lnTo>
                      <a:pt x="251" y="54"/>
                    </a:lnTo>
                    <a:lnTo>
                      <a:pt x="253" y="50"/>
                    </a:lnTo>
                    <a:lnTo>
                      <a:pt x="251" y="49"/>
                    </a:lnTo>
                    <a:lnTo>
                      <a:pt x="252" y="47"/>
                    </a:lnTo>
                    <a:lnTo>
                      <a:pt x="254" y="47"/>
                    </a:lnTo>
                    <a:lnTo>
                      <a:pt x="254" y="45"/>
                    </a:lnTo>
                    <a:lnTo>
                      <a:pt x="254" y="43"/>
                    </a:lnTo>
                    <a:lnTo>
                      <a:pt x="256" y="43"/>
                    </a:lnTo>
                    <a:lnTo>
                      <a:pt x="257" y="42"/>
                    </a:lnTo>
                    <a:lnTo>
                      <a:pt x="256" y="41"/>
                    </a:lnTo>
                    <a:lnTo>
                      <a:pt x="259" y="37"/>
                    </a:lnTo>
                    <a:close/>
                  </a:path>
                </a:pathLst>
              </a:custGeom>
              <a:solidFill>
                <a:srgbClr val="E7E7E4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41" name="Spain">
                <a:extLst>
                  <a:ext uri="{FF2B5EF4-FFF2-40B4-BE49-F238E27FC236}">
                    <a16:creationId xmlns:a16="http://schemas.microsoft.com/office/drawing/2014/main" id="{980127F9-2AA5-4B7D-96B9-9244F5DABA9B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3022051" y="4389594"/>
                <a:ext cx="1197649" cy="1051843"/>
              </a:xfrm>
              <a:custGeom>
                <a:avLst/>
                <a:gdLst>
                  <a:gd name="T0" fmla="*/ 185 w 1067"/>
                  <a:gd name="T1" fmla="*/ 700 h 823"/>
                  <a:gd name="T2" fmla="*/ 242 w 1067"/>
                  <a:gd name="T3" fmla="*/ 725 h 823"/>
                  <a:gd name="T4" fmla="*/ 241 w 1067"/>
                  <a:gd name="T5" fmla="*/ 772 h 823"/>
                  <a:gd name="T6" fmla="*/ 299 w 1067"/>
                  <a:gd name="T7" fmla="*/ 818 h 823"/>
                  <a:gd name="T8" fmla="*/ 367 w 1067"/>
                  <a:gd name="T9" fmla="*/ 764 h 823"/>
                  <a:gd name="T10" fmla="*/ 466 w 1067"/>
                  <a:gd name="T11" fmla="*/ 744 h 823"/>
                  <a:gd name="T12" fmla="*/ 558 w 1067"/>
                  <a:gd name="T13" fmla="*/ 746 h 823"/>
                  <a:gd name="T14" fmla="*/ 610 w 1067"/>
                  <a:gd name="T15" fmla="*/ 672 h 823"/>
                  <a:gd name="T16" fmla="*/ 670 w 1067"/>
                  <a:gd name="T17" fmla="*/ 654 h 823"/>
                  <a:gd name="T18" fmla="*/ 678 w 1067"/>
                  <a:gd name="T19" fmla="*/ 594 h 823"/>
                  <a:gd name="T20" fmla="*/ 730 w 1067"/>
                  <a:gd name="T21" fmla="*/ 546 h 823"/>
                  <a:gd name="T22" fmla="*/ 701 w 1067"/>
                  <a:gd name="T23" fmla="*/ 468 h 823"/>
                  <a:gd name="T24" fmla="*/ 760 w 1067"/>
                  <a:gd name="T25" fmla="*/ 360 h 823"/>
                  <a:gd name="T26" fmla="*/ 783 w 1067"/>
                  <a:gd name="T27" fmla="*/ 317 h 823"/>
                  <a:gd name="T28" fmla="*/ 904 w 1067"/>
                  <a:gd name="T29" fmla="*/ 249 h 823"/>
                  <a:gd name="T30" fmla="*/ 980 w 1067"/>
                  <a:gd name="T31" fmla="*/ 181 h 823"/>
                  <a:gd name="T32" fmla="*/ 967 w 1067"/>
                  <a:gd name="T33" fmla="*/ 139 h 823"/>
                  <a:gd name="T34" fmla="*/ 906 w 1067"/>
                  <a:gd name="T35" fmla="*/ 144 h 823"/>
                  <a:gd name="T36" fmla="*/ 843 w 1067"/>
                  <a:gd name="T37" fmla="*/ 133 h 823"/>
                  <a:gd name="T38" fmla="*/ 782 w 1067"/>
                  <a:gd name="T39" fmla="*/ 103 h 823"/>
                  <a:gd name="T40" fmla="*/ 720 w 1067"/>
                  <a:gd name="T41" fmla="*/ 111 h 823"/>
                  <a:gd name="T42" fmla="*/ 655 w 1067"/>
                  <a:gd name="T43" fmla="*/ 88 h 823"/>
                  <a:gd name="T44" fmla="*/ 608 w 1067"/>
                  <a:gd name="T45" fmla="*/ 52 h 823"/>
                  <a:gd name="T46" fmla="*/ 560 w 1067"/>
                  <a:gd name="T47" fmla="*/ 54 h 823"/>
                  <a:gd name="T48" fmla="*/ 495 w 1067"/>
                  <a:gd name="T49" fmla="*/ 40 h 823"/>
                  <a:gd name="T50" fmla="*/ 459 w 1067"/>
                  <a:gd name="T51" fmla="*/ 36 h 823"/>
                  <a:gd name="T52" fmla="*/ 430 w 1067"/>
                  <a:gd name="T53" fmla="*/ 32 h 823"/>
                  <a:gd name="T54" fmla="*/ 374 w 1067"/>
                  <a:gd name="T55" fmla="*/ 42 h 823"/>
                  <a:gd name="T56" fmla="*/ 284 w 1067"/>
                  <a:gd name="T57" fmla="*/ 25 h 823"/>
                  <a:gd name="T58" fmla="*/ 221 w 1067"/>
                  <a:gd name="T59" fmla="*/ 25 h 823"/>
                  <a:gd name="T60" fmla="*/ 161 w 1067"/>
                  <a:gd name="T61" fmla="*/ 24 h 823"/>
                  <a:gd name="T62" fmla="*/ 126 w 1067"/>
                  <a:gd name="T63" fmla="*/ 7 h 823"/>
                  <a:gd name="T64" fmla="*/ 113 w 1067"/>
                  <a:gd name="T65" fmla="*/ 9 h 823"/>
                  <a:gd name="T66" fmla="*/ 76 w 1067"/>
                  <a:gd name="T67" fmla="*/ 25 h 823"/>
                  <a:gd name="T68" fmla="*/ 85 w 1067"/>
                  <a:gd name="T69" fmla="*/ 51 h 823"/>
                  <a:gd name="T70" fmla="*/ 35 w 1067"/>
                  <a:gd name="T71" fmla="*/ 48 h 823"/>
                  <a:gd name="T72" fmla="*/ 11 w 1067"/>
                  <a:gd name="T73" fmla="*/ 71 h 823"/>
                  <a:gd name="T74" fmla="*/ 11 w 1067"/>
                  <a:gd name="T75" fmla="*/ 97 h 823"/>
                  <a:gd name="T76" fmla="*/ 20 w 1067"/>
                  <a:gd name="T77" fmla="*/ 116 h 823"/>
                  <a:gd name="T78" fmla="*/ 35 w 1067"/>
                  <a:gd name="T79" fmla="*/ 118 h 823"/>
                  <a:gd name="T80" fmla="*/ 30 w 1067"/>
                  <a:gd name="T81" fmla="*/ 141 h 823"/>
                  <a:gd name="T82" fmla="*/ 37 w 1067"/>
                  <a:gd name="T83" fmla="*/ 164 h 823"/>
                  <a:gd name="T84" fmla="*/ 33 w 1067"/>
                  <a:gd name="T85" fmla="*/ 203 h 823"/>
                  <a:gd name="T86" fmla="*/ 88 w 1067"/>
                  <a:gd name="T87" fmla="*/ 189 h 823"/>
                  <a:gd name="T88" fmla="*/ 109 w 1067"/>
                  <a:gd name="T89" fmla="*/ 203 h 823"/>
                  <a:gd name="T90" fmla="*/ 145 w 1067"/>
                  <a:gd name="T91" fmla="*/ 208 h 823"/>
                  <a:gd name="T92" fmla="*/ 211 w 1067"/>
                  <a:gd name="T93" fmla="*/ 194 h 823"/>
                  <a:gd name="T94" fmla="*/ 235 w 1067"/>
                  <a:gd name="T95" fmla="*/ 246 h 823"/>
                  <a:gd name="T96" fmla="*/ 195 w 1067"/>
                  <a:gd name="T97" fmla="*/ 310 h 823"/>
                  <a:gd name="T98" fmla="*/ 178 w 1067"/>
                  <a:gd name="T99" fmla="*/ 378 h 823"/>
                  <a:gd name="T100" fmla="*/ 138 w 1067"/>
                  <a:gd name="T101" fmla="*/ 440 h 823"/>
                  <a:gd name="T102" fmla="*/ 180 w 1067"/>
                  <a:gd name="T103" fmla="*/ 507 h 823"/>
                  <a:gd name="T104" fmla="*/ 167 w 1067"/>
                  <a:gd name="T105" fmla="*/ 586 h 823"/>
                  <a:gd name="T106" fmla="*/ 140 w 1067"/>
                  <a:gd name="T107" fmla="*/ 657 h 823"/>
                  <a:gd name="T108" fmla="*/ 1061 w 1067"/>
                  <a:gd name="T109" fmla="*/ 406 h 823"/>
                  <a:gd name="T110" fmla="*/ 1047 w 1067"/>
                  <a:gd name="T111" fmla="*/ 394 h 823"/>
                  <a:gd name="T112" fmla="*/ 969 w 1067"/>
                  <a:gd name="T113" fmla="*/ 414 h 823"/>
                  <a:gd name="T114" fmla="*/ 993 w 1067"/>
                  <a:gd name="T115" fmla="*/ 445 h 823"/>
                  <a:gd name="T116" fmla="*/ 932 w 1067"/>
                  <a:gd name="T117" fmla="*/ 448 h 823"/>
                  <a:gd name="T118" fmla="*/ 938 w 1067"/>
                  <a:gd name="T119" fmla="*/ 421 h 823"/>
                  <a:gd name="T120" fmla="*/ 844 w 1067"/>
                  <a:gd name="T121" fmla="*/ 514 h 823"/>
                  <a:gd name="T122" fmla="*/ 833 w 1067"/>
                  <a:gd name="T123" fmla="*/ 498 h 823"/>
                  <a:gd name="T124" fmla="*/ 836 w 1067"/>
                  <a:gd name="T125" fmla="*/ 535 h 823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067"/>
                  <a:gd name="T190" fmla="*/ 0 h 823"/>
                  <a:gd name="T191" fmla="*/ 1067 w 1067"/>
                  <a:gd name="T192" fmla="*/ 823 h 823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067" h="823">
                    <a:moveTo>
                      <a:pt x="883" y="143"/>
                    </a:moveTo>
                    <a:lnTo>
                      <a:pt x="887" y="143"/>
                    </a:lnTo>
                    <a:lnTo>
                      <a:pt x="885" y="141"/>
                    </a:lnTo>
                    <a:lnTo>
                      <a:pt x="887" y="138"/>
                    </a:lnTo>
                    <a:lnTo>
                      <a:pt x="885" y="137"/>
                    </a:lnTo>
                    <a:lnTo>
                      <a:pt x="882" y="140"/>
                    </a:lnTo>
                    <a:lnTo>
                      <a:pt x="882" y="142"/>
                    </a:lnTo>
                    <a:lnTo>
                      <a:pt x="883" y="143"/>
                    </a:lnTo>
                    <a:close/>
                    <a:moveTo>
                      <a:pt x="147" y="698"/>
                    </a:moveTo>
                    <a:lnTo>
                      <a:pt x="147" y="698"/>
                    </a:lnTo>
                    <a:lnTo>
                      <a:pt x="150" y="700"/>
                    </a:lnTo>
                    <a:lnTo>
                      <a:pt x="151" y="699"/>
                    </a:lnTo>
                    <a:lnTo>
                      <a:pt x="153" y="697"/>
                    </a:lnTo>
                    <a:lnTo>
                      <a:pt x="167" y="696"/>
                    </a:lnTo>
                    <a:lnTo>
                      <a:pt x="172" y="697"/>
                    </a:lnTo>
                    <a:lnTo>
                      <a:pt x="172" y="696"/>
                    </a:lnTo>
                    <a:lnTo>
                      <a:pt x="169" y="695"/>
                    </a:lnTo>
                    <a:lnTo>
                      <a:pt x="173" y="695"/>
                    </a:lnTo>
                    <a:lnTo>
                      <a:pt x="177" y="696"/>
                    </a:lnTo>
                    <a:lnTo>
                      <a:pt x="181" y="699"/>
                    </a:lnTo>
                    <a:lnTo>
                      <a:pt x="185" y="700"/>
                    </a:lnTo>
                    <a:lnTo>
                      <a:pt x="183" y="694"/>
                    </a:lnTo>
                    <a:lnTo>
                      <a:pt x="184" y="694"/>
                    </a:lnTo>
                    <a:lnTo>
                      <a:pt x="189" y="689"/>
                    </a:lnTo>
                    <a:lnTo>
                      <a:pt x="191" y="688"/>
                    </a:lnTo>
                    <a:lnTo>
                      <a:pt x="186" y="695"/>
                    </a:lnTo>
                    <a:lnTo>
                      <a:pt x="185" y="697"/>
                    </a:lnTo>
                    <a:lnTo>
                      <a:pt x="186" y="700"/>
                    </a:lnTo>
                    <a:lnTo>
                      <a:pt x="198" y="708"/>
                    </a:lnTo>
                    <a:lnTo>
                      <a:pt x="202" y="709"/>
                    </a:lnTo>
                    <a:lnTo>
                      <a:pt x="210" y="715"/>
                    </a:lnTo>
                    <a:lnTo>
                      <a:pt x="219" y="722"/>
                    </a:lnTo>
                    <a:lnTo>
                      <a:pt x="223" y="727"/>
                    </a:lnTo>
                    <a:lnTo>
                      <a:pt x="225" y="734"/>
                    </a:lnTo>
                    <a:lnTo>
                      <a:pt x="227" y="738"/>
                    </a:lnTo>
                    <a:lnTo>
                      <a:pt x="229" y="739"/>
                    </a:lnTo>
                    <a:lnTo>
                      <a:pt x="230" y="738"/>
                    </a:lnTo>
                    <a:lnTo>
                      <a:pt x="230" y="732"/>
                    </a:lnTo>
                    <a:lnTo>
                      <a:pt x="230" y="730"/>
                    </a:lnTo>
                    <a:lnTo>
                      <a:pt x="231" y="728"/>
                    </a:lnTo>
                    <a:lnTo>
                      <a:pt x="235" y="726"/>
                    </a:lnTo>
                    <a:lnTo>
                      <a:pt x="238" y="727"/>
                    </a:lnTo>
                    <a:lnTo>
                      <a:pt x="239" y="727"/>
                    </a:lnTo>
                    <a:lnTo>
                      <a:pt x="242" y="725"/>
                    </a:lnTo>
                    <a:lnTo>
                      <a:pt x="242" y="727"/>
                    </a:lnTo>
                    <a:lnTo>
                      <a:pt x="240" y="729"/>
                    </a:lnTo>
                    <a:lnTo>
                      <a:pt x="234" y="727"/>
                    </a:lnTo>
                    <a:lnTo>
                      <a:pt x="232" y="730"/>
                    </a:lnTo>
                    <a:lnTo>
                      <a:pt x="230" y="732"/>
                    </a:lnTo>
                    <a:lnTo>
                      <a:pt x="232" y="738"/>
                    </a:lnTo>
                    <a:lnTo>
                      <a:pt x="231" y="739"/>
                    </a:lnTo>
                    <a:lnTo>
                      <a:pt x="227" y="742"/>
                    </a:lnTo>
                    <a:lnTo>
                      <a:pt x="223" y="744"/>
                    </a:lnTo>
                    <a:lnTo>
                      <a:pt x="223" y="747"/>
                    </a:lnTo>
                    <a:lnTo>
                      <a:pt x="227" y="757"/>
                    </a:lnTo>
                    <a:lnTo>
                      <a:pt x="230" y="758"/>
                    </a:lnTo>
                    <a:lnTo>
                      <a:pt x="232" y="758"/>
                    </a:lnTo>
                    <a:lnTo>
                      <a:pt x="234" y="758"/>
                    </a:lnTo>
                    <a:lnTo>
                      <a:pt x="236" y="760"/>
                    </a:lnTo>
                    <a:lnTo>
                      <a:pt x="238" y="763"/>
                    </a:lnTo>
                    <a:lnTo>
                      <a:pt x="239" y="763"/>
                    </a:lnTo>
                    <a:lnTo>
                      <a:pt x="239" y="764"/>
                    </a:lnTo>
                    <a:lnTo>
                      <a:pt x="238" y="767"/>
                    </a:lnTo>
                    <a:lnTo>
                      <a:pt x="239" y="769"/>
                    </a:lnTo>
                    <a:lnTo>
                      <a:pt x="241" y="769"/>
                    </a:lnTo>
                    <a:lnTo>
                      <a:pt x="243" y="769"/>
                    </a:lnTo>
                    <a:lnTo>
                      <a:pt x="241" y="772"/>
                    </a:lnTo>
                    <a:lnTo>
                      <a:pt x="239" y="773"/>
                    </a:lnTo>
                    <a:lnTo>
                      <a:pt x="238" y="772"/>
                    </a:lnTo>
                    <a:lnTo>
                      <a:pt x="237" y="769"/>
                    </a:lnTo>
                    <a:lnTo>
                      <a:pt x="235" y="766"/>
                    </a:lnTo>
                    <a:lnTo>
                      <a:pt x="234" y="766"/>
                    </a:lnTo>
                    <a:lnTo>
                      <a:pt x="233" y="768"/>
                    </a:lnTo>
                    <a:lnTo>
                      <a:pt x="235" y="769"/>
                    </a:lnTo>
                    <a:lnTo>
                      <a:pt x="239" y="776"/>
                    </a:lnTo>
                    <a:lnTo>
                      <a:pt x="241" y="781"/>
                    </a:lnTo>
                    <a:lnTo>
                      <a:pt x="243" y="785"/>
                    </a:lnTo>
                    <a:lnTo>
                      <a:pt x="244" y="790"/>
                    </a:lnTo>
                    <a:lnTo>
                      <a:pt x="246" y="793"/>
                    </a:lnTo>
                    <a:lnTo>
                      <a:pt x="248" y="793"/>
                    </a:lnTo>
                    <a:lnTo>
                      <a:pt x="253" y="803"/>
                    </a:lnTo>
                    <a:lnTo>
                      <a:pt x="257" y="805"/>
                    </a:lnTo>
                    <a:lnTo>
                      <a:pt x="260" y="804"/>
                    </a:lnTo>
                    <a:lnTo>
                      <a:pt x="262" y="805"/>
                    </a:lnTo>
                    <a:lnTo>
                      <a:pt x="267" y="808"/>
                    </a:lnTo>
                    <a:lnTo>
                      <a:pt x="272" y="815"/>
                    </a:lnTo>
                    <a:lnTo>
                      <a:pt x="276" y="817"/>
                    </a:lnTo>
                    <a:lnTo>
                      <a:pt x="280" y="817"/>
                    </a:lnTo>
                    <a:lnTo>
                      <a:pt x="283" y="818"/>
                    </a:lnTo>
                    <a:lnTo>
                      <a:pt x="287" y="823"/>
                    </a:lnTo>
                    <a:lnTo>
                      <a:pt x="299" y="818"/>
                    </a:lnTo>
                    <a:lnTo>
                      <a:pt x="300" y="816"/>
                    </a:lnTo>
                    <a:lnTo>
                      <a:pt x="299" y="809"/>
                    </a:lnTo>
                    <a:lnTo>
                      <a:pt x="301" y="805"/>
                    </a:lnTo>
                    <a:lnTo>
                      <a:pt x="302" y="805"/>
                    </a:lnTo>
                    <a:lnTo>
                      <a:pt x="305" y="807"/>
                    </a:lnTo>
                    <a:lnTo>
                      <a:pt x="306" y="808"/>
                    </a:lnTo>
                    <a:lnTo>
                      <a:pt x="305" y="807"/>
                    </a:lnTo>
                    <a:lnTo>
                      <a:pt x="307" y="807"/>
                    </a:lnTo>
                    <a:lnTo>
                      <a:pt x="307" y="804"/>
                    </a:lnTo>
                    <a:lnTo>
                      <a:pt x="309" y="799"/>
                    </a:lnTo>
                    <a:lnTo>
                      <a:pt x="311" y="798"/>
                    </a:lnTo>
                    <a:lnTo>
                      <a:pt x="311" y="795"/>
                    </a:lnTo>
                    <a:lnTo>
                      <a:pt x="314" y="791"/>
                    </a:lnTo>
                    <a:lnTo>
                      <a:pt x="315" y="787"/>
                    </a:lnTo>
                    <a:lnTo>
                      <a:pt x="321" y="779"/>
                    </a:lnTo>
                    <a:lnTo>
                      <a:pt x="326" y="778"/>
                    </a:lnTo>
                    <a:lnTo>
                      <a:pt x="332" y="775"/>
                    </a:lnTo>
                    <a:lnTo>
                      <a:pt x="336" y="774"/>
                    </a:lnTo>
                    <a:lnTo>
                      <a:pt x="341" y="770"/>
                    </a:lnTo>
                    <a:lnTo>
                      <a:pt x="346" y="770"/>
                    </a:lnTo>
                    <a:lnTo>
                      <a:pt x="354" y="772"/>
                    </a:lnTo>
                    <a:lnTo>
                      <a:pt x="360" y="771"/>
                    </a:lnTo>
                    <a:lnTo>
                      <a:pt x="363" y="770"/>
                    </a:lnTo>
                    <a:lnTo>
                      <a:pt x="367" y="764"/>
                    </a:lnTo>
                    <a:lnTo>
                      <a:pt x="371" y="763"/>
                    </a:lnTo>
                    <a:lnTo>
                      <a:pt x="375" y="759"/>
                    </a:lnTo>
                    <a:lnTo>
                      <a:pt x="377" y="755"/>
                    </a:lnTo>
                    <a:lnTo>
                      <a:pt x="378" y="752"/>
                    </a:lnTo>
                    <a:lnTo>
                      <a:pt x="378" y="753"/>
                    </a:lnTo>
                    <a:lnTo>
                      <a:pt x="380" y="749"/>
                    </a:lnTo>
                    <a:lnTo>
                      <a:pt x="382" y="748"/>
                    </a:lnTo>
                    <a:lnTo>
                      <a:pt x="395" y="748"/>
                    </a:lnTo>
                    <a:lnTo>
                      <a:pt x="400" y="748"/>
                    </a:lnTo>
                    <a:lnTo>
                      <a:pt x="405" y="746"/>
                    </a:lnTo>
                    <a:lnTo>
                      <a:pt x="408" y="744"/>
                    </a:lnTo>
                    <a:lnTo>
                      <a:pt x="418" y="746"/>
                    </a:lnTo>
                    <a:lnTo>
                      <a:pt x="425" y="744"/>
                    </a:lnTo>
                    <a:lnTo>
                      <a:pt x="429" y="744"/>
                    </a:lnTo>
                    <a:lnTo>
                      <a:pt x="435" y="747"/>
                    </a:lnTo>
                    <a:lnTo>
                      <a:pt x="439" y="746"/>
                    </a:lnTo>
                    <a:lnTo>
                      <a:pt x="441" y="744"/>
                    </a:lnTo>
                    <a:lnTo>
                      <a:pt x="443" y="744"/>
                    </a:lnTo>
                    <a:lnTo>
                      <a:pt x="447" y="747"/>
                    </a:lnTo>
                    <a:lnTo>
                      <a:pt x="452" y="748"/>
                    </a:lnTo>
                    <a:lnTo>
                      <a:pt x="455" y="750"/>
                    </a:lnTo>
                    <a:lnTo>
                      <a:pt x="456" y="750"/>
                    </a:lnTo>
                    <a:lnTo>
                      <a:pt x="463" y="748"/>
                    </a:lnTo>
                    <a:lnTo>
                      <a:pt x="466" y="744"/>
                    </a:lnTo>
                    <a:lnTo>
                      <a:pt x="468" y="744"/>
                    </a:lnTo>
                    <a:lnTo>
                      <a:pt x="473" y="744"/>
                    </a:lnTo>
                    <a:lnTo>
                      <a:pt x="481" y="744"/>
                    </a:lnTo>
                    <a:lnTo>
                      <a:pt x="484" y="743"/>
                    </a:lnTo>
                    <a:lnTo>
                      <a:pt x="494" y="745"/>
                    </a:lnTo>
                    <a:lnTo>
                      <a:pt x="497" y="744"/>
                    </a:lnTo>
                    <a:lnTo>
                      <a:pt x="500" y="745"/>
                    </a:lnTo>
                    <a:lnTo>
                      <a:pt x="504" y="749"/>
                    </a:lnTo>
                    <a:lnTo>
                      <a:pt x="507" y="748"/>
                    </a:lnTo>
                    <a:lnTo>
                      <a:pt x="510" y="750"/>
                    </a:lnTo>
                    <a:lnTo>
                      <a:pt x="514" y="750"/>
                    </a:lnTo>
                    <a:lnTo>
                      <a:pt x="520" y="747"/>
                    </a:lnTo>
                    <a:lnTo>
                      <a:pt x="523" y="739"/>
                    </a:lnTo>
                    <a:lnTo>
                      <a:pt x="525" y="736"/>
                    </a:lnTo>
                    <a:lnTo>
                      <a:pt x="531" y="736"/>
                    </a:lnTo>
                    <a:lnTo>
                      <a:pt x="536" y="737"/>
                    </a:lnTo>
                    <a:lnTo>
                      <a:pt x="540" y="735"/>
                    </a:lnTo>
                    <a:lnTo>
                      <a:pt x="542" y="735"/>
                    </a:lnTo>
                    <a:lnTo>
                      <a:pt x="545" y="736"/>
                    </a:lnTo>
                    <a:lnTo>
                      <a:pt x="549" y="738"/>
                    </a:lnTo>
                    <a:lnTo>
                      <a:pt x="551" y="741"/>
                    </a:lnTo>
                    <a:lnTo>
                      <a:pt x="552" y="744"/>
                    </a:lnTo>
                    <a:lnTo>
                      <a:pt x="555" y="746"/>
                    </a:lnTo>
                    <a:lnTo>
                      <a:pt x="558" y="746"/>
                    </a:lnTo>
                    <a:lnTo>
                      <a:pt x="560" y="746"/>
                    </a:lnTo>
                    <a:lnTo>
                      <a:pt x="562" y="743"/>
                    </a:lnTo>
                    <a:lnTo>
                      <a:pt x="564" y="741"/>
                    </a:lnTo>
                    <a:lnTo>
                      <a:pt x="565" y="740"/>
                    </a:lnTo>
                    <a:lnTo>
                      <a:pt x="565" y="738"/>
                    </a:lnTo>
                    <a:lnTo>
                      <a:pt x="569" y="734"/>
                    </a:lnTo>
                    <a:lnTo>
                      <a:pt x="569" y="732"/>
                    </a:lnTo>
                    <a:lnTo>
                      <a:pt x="570" y="729"/>
                    </a:lnTo>
                    <a:lnTo>
                      <a:pt x="573" y="727"/>
                    </a:lnTo>
                    <a:lnTo>
                      <a:pt x="574" y="725"/>
                    </a:lnTo>
                    <a:lnTo>
                      <a:pt x="577" y="724"/>
                    </a:lnTo>
                    <a:lnTo>
                      <a:pt x="578" y="724"/>
                    </a:lnTo>
                    <a:lnTo>
                      <a:pt x="577" y="720"/>
                    </a:lnTo>
                    <a:lnTo>
                      <a:pt x="583" y="703"/>
                    </a:lnTo>
                    <a:lnTo>
                      <a:pt x="584" y="697"/>
                    </a:lnTo>
                    <a:lnTo>
                      <a:pt x="586" y="694"/>
                    </a:lnTo>
                    <a:lnTo>
                      <a:pt x="592" y="687"/>
                    </a:lnTo>
                    <a:lnTo>
                      <a:pt x="595" y="680"/>
                    </a:lnTo>
                    <a:lnTo>
                      <a:pt x="597" y="678"/>
                    </a:lnTo>
                    <a:lnTo>
                      <a:pt x="601" y="675"/>
                    </a:lnTo>
                    <a:lnTo>
                      <a:pt x="605" y="675"/>
                    </a:lnTo>
                    <a:lnTo>
                      <a:pt x="607" y="672"/>
                    </a:lnTo>
                    <a:lnTo>
                      <a:pt x="609" y="673"/>
                    </a:lnTo>
                    <a:lnTo>
                      <a:pt x="610" y="672"/>
                    </a:lnTo>
                    <a:lnTo>
                      <a:pt x="610" y="670"/>
                    </a:lnTo>
                    <a:lnTo>
                      <a:pt x="612" y="667"/>
                    </a:lnTo>
                    <a:lnTo>
                      <a:pt x="616" y="664"/>
                    </a:lnTo>
                    <a:lnTo>
                      <a:pt x="620" y="660"/>
                    </a:lnTo>
                    <a:lnTo>
                      <a:pt x="621" y="659"/>
                    </a:lnTo>
                    <a:lnTo>
                      <a:pt x="627" y="659"/>
                    </a:lnTo>
                    <a:lnTo>
                      <a:pt x="629" y="657"/>
                    </a:lnTo>
                    <a:lnTo>
                      <a:pt x="631" y="657"/>
                    </a:lnTo>
                    <a:lnTo>
                      <a:pt x="634" y="659"/>
                    </a:lnTo>
                    <a:lnTo>
                      <a:pt x="634" y="660"/>
                    </a:lnTo>
                    <a:lnTo>
                      <a:pt x="637" y="661"/>
                    </a:lnTo>
                    <a:lnTo>
                      <a:pt x="640" y="661"/>
                    </a:lnTo>
                    <a:lnTo>
                      <a:pt x="639" y="659"/>
                    </a:lnTo>
                    <a:lnTo>
                      <a:pt x="643" y="657"/>
                    </a:lnTo>
                    <a:lnTo>
                      <a:pt x="647" y="657"/>
                    </a:lnTo>
                    <a:lnTo>
                      <a:pt x="650" y="657"/>
                    </a:lnTo>
                    <a:lnTo>
                      <a:pt x="652" y="659"/>
                    </a:lnTo>
                    <a:lnTo>
                      <a:pt x="655" y="659"/>
                    </a:lnTo>
                    <a:lnTo>
                      <a:pt x="660" y="657"/>
                    </a:lnTo>
                    <a:lnTo>
                      <a:pt x="662" y="657"/>
                    </a:lnTo>
                    <a:lnTo>
                      <a:pt x="665" y="655"/>
                    </a:lnTo>
                    <a:lnTo>
                      <a:pt x="669" y="655"/>
                    </a:lnTo>
                    <a:lnTo>
                      <a:pt x="670" y="654"/>
                    </a:lnTo>
                    <a:lnTo>
                      <a:pt x="672" y="652"/>
                    </a:lnTo>
                    <a:lnTo>
                      <a:pt x="671" y="650"/>
                    </a:lnTo>
                    <a:lnTo>
                      <a:pt x="670" y="649"/>
                    </a:lnTo>
                    <a:lnTo>
                      <a:pt x="670" y="651"/>
                    </a:lnTo>
                    <a:lnTo>
                      <a:pt x="669" y="651"/>
                    </a:lnTo>
                    <a:lnTo>
                      <a:pt x="663" y="649"/>
                    </a:lnTo>
                    <a:lnTo>
                      <a:pt x="659" y="642"/>
                    </a:lnTo>
                    <a:lnTo>
                      <a:pt x="659" y="640"/>
                    </a:lnTo>
                    <a:lnTo>
                      <a:pt x="660" y="639"/>
                    </a:lnTo>
                    <a:lnTo>
                      <a:pt x="663" y="637"/>
                    </a:lnTo>
                    <a:lnTo>
                      <a:pt x="665" y="632"/>
                    </a:lnTo>
                    <a:lnTo>
                      <a:pt x="666" y="632"/>
                    </a:lnTo>
                    <a:lnTo>
                      <a:pt x="667" y="634"/>
                    </a:lnTo>
                    <a:lnTo>
                      <a:pt x="668" y="634"/>
                    </a:lnTo>
                    <a:lnTo>
                      <a:pt x="667" y="630"/>
                    </a:lnTo>
                    <a:lnTo>
                      <a:pt x="668" y="624"/>
                    </a:lnTo>
                    <a:lnTo>
                      <a:pt x="670" y="622"/>
                    </a:lnTo>
                    <a:lnTo>
                      <a:pt x="670" y="619"/>
                    </a:lnTo>
                    <a:lnTo>
                      <a:pt x="671" y="617"/>
                    </a:lnTo>
                    <a:lnTo>
                      <a:pt x="675" y="614"/>
                    </a:lnTo>
                    <a:lnTo>
                      <a:pt x="673" y="607"/>
                    </a:lnTo>
                    <a:lnTo>
                      <a:pt x="674" y="598"/>
                    </a:lnTo>
                    <a:lnTo>
                      <a:pt x="676" y="595"/>
                    </a:lnTo>
                    <a:lnTo>
                      <a:pt x="678" y="594"/>
                    </a:lnTo>
                    <a:lnTo>
                      <a:pt x="681" y="592"/>
                    </a:lnTo>
                    <a:lnTo>
                      <a:pt x="682" y="592"/>
                    </a:lnTo>
                    <a:lnTo>
                      <a:pt x="685" y="591"/>
                    </a:lnTo>
                    <a:lnTo>
                      <a:pt x="685" y="588"/>
                    </a:lnTo>
                    <a:lnTo>
                      <a:pt x="685" y="584"/>
                    </a:lnTo>
                    <a:lnTo>
                      <a:pt x="686" y="578"/>
                    </a:lnTo>
                    <a:lnTo>
                      <a:pt x="687" y="577"/>
                    </a:lnTo>
                    <a:lnTo>
                      <a:pt x="688" y="577"/>
                    </a:lnTo>
                    <a:lnTo>
                      <a:pt x="689" y="576"/>
                    </a:lnTo>
                    <a:lnTo>
                      <a:pt x="691" y="574"/>
                    </a:lnTo>
                    <a:lnTo>
                      <a:pt x="694" y="575"/>
                    </a:lnTo>
                    <a:lnTo>
                      <a:pt x="695" y="569"/>
                    </a:lnTo>
                    <a:lnTo>
                      <a:pt x="696" y="566"/>
                    </a:lnTo>
                    <a:lnTo>
                      <a:pt x="698" y="566"/>
                    </a:lnTo>
                    <a:lnTo>
                      <a:pt x="701" y="562"/>
                    </a:lnTo>
                    <a:lnTo>
                      <a:pt x="711" y="558"/>
                    </a:lnTo>
                    <a:lnTo>
                      <a:pt x="714" y="556"/>
                    </a:lnTo>
                    <a:lnTo>
                      <a:pt x="719" y="557"/>
                    </a:lnTo>
                    <a:lnTo>
                      <a:pt x="722" y="553"/>
                    </a:lnTo>
                    <a:lnTo>
                      <a:pt x="721" y="552"/>
                    </a:lnTo>
                    <a:lnTo>
                      <a:pt x="722" y="548"/>
                    </a:lnTo>
                    <a:lnTo>
                      <a:pt x="725" y="547"/>
                    </a:lnTo>
                    <a:lnTo>
                      <a:pt x="728" y="547"/>
                    </a:lnTo>
                    <a:lnTo>
                      <a:pt x="730" y="546"/>
                    </a:lnTo>
                    <a:lnTo>
                      <a:pt x="732" y="546"/>
                    </a:lnTo>
                    <a:lnTo>
                      <a:pt x="732" y="544"/>
                    </a:lnTo>
                    <a:lnTo>
                      <a:pt x="733" y="542"/>
                    </a:lnTo>
                    <a:lnTo>
                      <a:pt x="737" y="540"/>
                    </a:lnTo>
                    <a:lnTo>
                      <a:pt x="739" y="537"/>
                    </a:lnTo>
                    <a:lnTo>
                      <a:pt x="745" y="535"/>
                    </a:lnTo>
                    <a:lnTo>
                      <a:pt x="744" y="532"/>
                    </a:lnTo>
                    <a:lnTo>
                      <a:pt x="742" y="532"/>
                    </a:lnTo>
                    <a:lnTo>
                      <a:pt x="740" y="529"/>
                    </a:lnTo>
                    <a:lnTo>
                      <a:pt x="741" y="528"/>
                    </a:lnTo>
                    <a:lnTo>
                      <a:pt x="740" y="527"/>
                    </a:lnTo>
                    <a:lnTo>
                      <a:pt x="735" y="523"/>
                    </a:lnTo>
                    <a:lnTo>
                      <a:pt x="725" y="521"/>
                    </a:lnTo>
                    <a:lnTo>
                      <a:pt x="718" y="515"/>
                    </a:lnTo>
                    <a:lnTo>
                      <a:pt x="715" y="508"/>
                    </a:lnTo>
                    <a:lnTo>
                      <a:pt x="713" y="505"/>
                    </a:lnTo>
                    <a:lnTo>
                      <a:pt x="710" y="500"/>
                    </a:lnTo>
                    <a:lnTo>
                      <a:pt x="709" y="497"/>
                    </a:lnTo>
                    <a:lnTo>
                      <a:pt x="707" y="494"/>
                    </a:lnTo>
                    <a:lnTo>
                      <a:pt x="707" y="491"/>
                    </a:lnTo>
                    <a:lnTo>
                      <a:pt x="707" y="489"/>
                    </a:lnTo>
                    <a:lnTo>
                      <a:pt x="709" y="489"/>
                    </a:lnTo>
                    <a:lnTo>
                      <a:pt x="709" y="488"/>
                    </a:lnTo>
                    <a:lnTo>
                      <a:pt x="701" y="468"/>
                    </a:lnTo>
                    <a:lnTo>
                      <a:pt x="700" y="461"/>
                    </a:lnTo>
                    <a:lnTo>
                      <a:pt x="701" y="459"/>
                    </a:lnTo>
                    <a:lnTo>
                      <a:pt x="701" y="454"/>
                    </a:lnTo>
                    <a:lnTo>
                      <a:pt x="702" y="450"/>
                    </a:lnTo>
                    <a:lnTo>
                      <a:pt x="706" y="442"/>
                    </a:lnTo>
                    <a:lnTo>
                      <a:pt x="710" y="438"/>
                    </a:lnTo>
                    <a:lnTo>
                      <a:pt x="711" y="433"/>
                    </a:lnTo>
                    <a:lnTo>
                      <a:pt x="716" y="422"/>
                    </a:lnTo>
                    <a:lnTo>
                      <a:pt x="719" y="418"/>
                    </a:lnTo>
                    <a:lnTo>
                      <a:pt x="721" y="416"/>
                    </a:lnTo>
                    <a:lnTo>
                      <a:pt x="722" y="414"/>
                    </a:lnTo>
                    <a:lnTo>
                      <a:pt x="723" y="413"/>
                    </a:lnTo>
                    <a:lnTo>
                      <a:pt x="725" y="412"/>
                    </a:lnTo>
                    <a:lnTo>
                      <a:pt x="725" y="411"/>
                    </a:lnTo>
                    <a:lnTo>
                      <a:pt x="731" y="398"/>
                    </a:lnTo>
                    <a:lnTo>
                      <a:pt x="733" y="396"/>
                    </a:lnTo>
                    <a:lnTo>
                      <a:pt x="737" y="395"/>
                    </a:lnTo>
                    <a:lnTo>
                      <a:pt x="739" y="392"/>
                    </a:lnTo>
                    <a:lnTo>
                      <a:pt x="743" y="384"/>
                    </a:lnTo>
                    <a:lnTo>
                      <a:pt x="749" y="379"/>
                    </a:lnTo>
                    <a:lnTo>
                      <a:pt x="750" y="375"/>
                    </a:lnTo>
                    <a:lnTo>
                      <a:pt x="755" y="370"/>
                    </a:lnTo>
                    <a:lnTo>
                      <a:pt x="760" y="360"/>
                    </a:lnTo>
                    <a:lnTo>
                      <a:pt x="762" y="358"/>
                    </a:lnTo>
                    <a:lnTo>
                      <a:pt x="763" y="354"/>
                    </a:lnTo>
                    <a:lnTo>
                      <a:pt x="766" y="351"/>
                    </a:lnTo>
                    <a:lnTo>
                      <a:pt x="768" y="347"/>
                    </a:lnTo>
                    <a:lnTo>
                      <a:pt x="769" y="341"/>
                    </a:lnTo>
                    <a:lnTo>
                      <a:pt x="774" y="335"/>
                    </a:lnTo>
                    <a:lnTo>
                      <a:pt x="784" y="333"/>
                    </a:lnTo>
                    <a:lnTo>
                      <a:pt x="784" y="335"/>
                    </a:lnTo>
                    <a:lnTo>
                      <a:pt x="782" y="338"/>
                    </a:lnTo>
                    <a:lnTo>
                      <a:pt x="778" y="340"/>
                    </a:lnTo>
                    <a:lnTo>
                      <a:pt x="775" y="339"/>
                    </a:lnTo>
                    <a:lnTo>
                      <a:pt x="778" y="341"/>
                    </a:lnTo>
                    <a:lnTo>
                      <a:pt x="779" y="341"/>
                    </a:lnTo>
                    <a:lnTo>
                      <a:pt x="783" y="337"/>
                    </a:lnTo>
                    <a:lnTo>
                      <a:pt x="787" y="331"/>
                    </a:lnTo>
                    <a:lnTo>
                      <a:pt x="794" y="329"/>
                    </a:lnTo>
                    <a:lnTo>
                      <a:pt x="797" y="326"/>
                    </a:lnTo>
                    <a:lnTo>
                      <a:pt x="797" y="325"/>
                    </a:lnTo>
                    <a:lnTo>
                      <a:pt x="796" y="325"/>
                    </a:lnTo>
                    <a:lnTo>
                      <a:pt x="789" y="317"/>
                    </a:lnTo>
                    <a:lnTo>
                      <a:pt x="787" y="317"/>
                    </a:lnTo>
                    <a:lnTo>
                      <a:pt x="788" y="319"/>
                    </a:lnTo>
                    <a:lnTo>
                      <a:pt x="788" y="320"/>
                    </a:lnTo>
                    <a:lnTo>
                      <a:pt x="783" y="317"/>
                    </a:lnTo>
                    <a:lnTo>
                      <a:pt x="783" y="315"/>
                    </a:lnTo>
                    <a:lnTo>
                      <a:pt x="791" y="307"/>
                    </a:lnTo>
                    <a:lnTo>
                      <a:pt x="796" y="300"/>
                    </a:lnTo>
                    <a:lnTo>
                      <a:pt x="805" y="291"/>
                    </a:lnTo>
                    <a:lnTo>
                      <a:pt x="815" y="288"/>
                    </a:lnTo>
                    <a:lnTo>
                      <a:pt x="820" y="289"/>
                    </a:lnTo>
                    <a:lnTo>
                      <a:pt x="821" y="286"/>
                    </a:lnTo>
                    <a:lnTo>
                      <a:pt x="824" y="285"/>
                    </a:lnTo>
                    <a:lnTo>
                      <a:pt x="825" y="285"/>
                    </a:lnTo>
                    <a:lnTo>
                      <a:pt x="830" y="282"/>
                    </a:lnTo>
                    <a:lnTo>
                      <a:pt x="836" y="281"/>
                    </a:lnTo>
                    <a:lnTo>
                      <a:pt x="840" y="279"/>
                    </a:lnTo>
                    <a:lnTo>
                      <a:pt x="845" y="277"/>
                    </a:lnTo>
                    <a:lnTo>
                      <a:pt x="858" y="275"/>
                    </a:lnTo>
                    <a:lnTo>
                      <a:pt x="868" y="272"/>
                    </a:lnTo>
                    <a:lnTo>
                      <a:pt x="873" y="271"/>
                    </a:lnTo>
                    <a:lnTo>
                      <a:pt x="878" y="269"/>
                    </a:lnTo>
                    <a:lnTo>
                      <a:pt x="888" y="268"/>
                    </a:lnTo>
                    <a:lnTo>
                      <a:pt x="893" y="265"/>
                    </a:lnTo>
                    <a:lnTo>
                      <a:pt x="896" y="262"/>
                    </a:lnTo>
                    <a:lnTo>
                      <a:pt x="898" y="258"/>
                    </a:lnTo>
                    <a:lnTo>
                      <a:pt x="900" y="256"/>
                    </a:lnTo>
                    <a:lnTo>
                      <a:pt x="904" y="249"/>
                    </a:lnTo>
                    <a:lnTo>
                      <a:pt x="905" y="248"/>
                    </a:lnTo>
                    <a:lnTo>
                      <a:pt x="913" y="244"/>
                    </a:lnTo>
                    <a:lnTo>
                      <a:pt x="927" y="236"/>
                    </a:lnTo>
                    <a:lnTo>
                      <a:pt x="933" y="233"/>
                    </a:lnTo>
                    <a:lnTo>
                      <a:pt x="937" y="230"/>
                    </a:lnTo>
                    <a:lnTo>
                      <a:pt x="942" y="228"/>
                    </a:lnTo>
                    <a:lnTo>
                      <a:pt x="950" y="223"/>
                    </a:lnTo>
                    <a:lnTo>
                      <a:pt x="951" y="221"/>
                    </a:lnTo>
                    <a:lnTo>
                      <a:pt x="958" y="219"/>
                    </a:lnTo>
                    <a:lnTo>
                      <a:pt x="964" y="214"/>
                    </a:lnTo>
                    <a:lnTo>
                      <a:pt x="967" y="212"/>
                    </a:lnTo>
                    <a:lnTo>
                      <a:pt x="972" y="206"/>
                    </a:lnTo>
                    <a:lnTo>
                      <a:pt x="973" y="206"/>
                    </a:lnTo>
                    <a:lnTo>
                      <a:pt x="974" y="206"/>
                    </a:lnTo>
                    <a:lnTo>
                      <a:pt x="974" y="205"/>
                    </a:lnTo>
                    <a:lnTo>
                      <a:pt x="978" y="204"/>
                    </a:lnTo>
                    <a:lnTo>
                      <a:pt x="980" y="199"/>
                    </a:lnTo>
                    <a:lnTo>
                      <a:pt x="983" y="193"/>
                    </a:lnTo>
                    <a:lnTo>
                      <a:pt x="980" y="191"/>
                    </a:lnTo>
                    <a:lnTo>
                      <a:pt x="980" y="189"/>
                    </a:lnTo>
                    <a:lnTo>
                      <a:pt x="979" y="186"/>
                    </a:lnTo>
                    <a:lnTo>
                      <a:pt x="980" y="184"/>
                    </a:lnTo>
                    <a:lnTo>
                      <a:pt x="980" y="181"/>
                    </a:lnTo>
                    <a:lnTo>
                      <a:pt x="977" y="178"/>
                    </a:lnTo>
                    <a:lnTo>
                      <a:pt x="973" y="175"/>
                    </a:lnTo>
                    <a:lnTo>
                      <a:pt x="973" y="173"/>
                    </a:lnTo>
                    <a:lnTo>
                      <a:pt x="973" y="169"/>
                    </a:lnTo>
                    <a:lnTo>
                      <a:pt x="974" y="165"/>
                    </a:lnTo>
                    <a:lnTo>
                      <a:pt x="976" y="163"/>
                    </a:lnTo>
                    <a:lnTo>
                      <a:pt x="981" y="165"/>
                    </a:lnTo>
                    <a:lnTo>
                      <a:pt x="982" y="164"/>
                    </a:lnTo>
                    <a:lnTo>
                      <a:pt x="985" y="164"/>
                    </a:lnTo>
                    <a:lnTo>
                      <a:pt x="987" y="162"/>
                    </a:lnTo>
                    <a:lnTo>
                      <a:pt x="987" y="160"/>
                    </a:lnTo>
                    <a:lnTo>
                      <a:pt x="989" y="157"/>
                    </a:lnTo>
                    <a:lnTo>
                      <a:pt x="988" y="155"/>
                    </a:lnTo>
                    <a:lnTo>
                      <a:pt x="986" y="154"/>
                    </a:lnTo>
                    <a:lnTo>
                      <a:pt x="985" y="155"/>
                    </a:lnTo>
                    <a:lnTo>
                      <a:pt x="983" y="153"/>
                    </a:lnTo>
                    <a:lnTo>
                      <a:pt x="981" y="153"/>
                    </a:lnTo>
                    <a:lnTo>
                      <a:pt x="979" y="155"/>
                    </a:lnTo>
                    <a:lnTo>
                      <a:pt x="977" y="149"/>
                    </a:lnTo>
                    <a:lnTo>
                      <a:pt x="978" y="145"/>
                    </a:lnTo>
                    <a:lnTo>
                      <a:pt x="973" y="143"/>
                    </a:lnTo>
                    <a:lnTo>
                      <a:pt x="972" y="145"/>
                    </a:lnTo>
                    <a:lnTo>
                      <a:pt x="971" y="145"/>
                    </a:lnTo>
                    <a:lnTo>
                      <a:pt x="967" y="139"/>
                    </a:lnTo>
                    <a:lnTo>
                      <a:pt x="962" y="140"/>
                    </a:lnTo>
                    <a:lnTo>
                      <a:pt x="959" y="139"/>
                    </a:lnTo>
                    <a:lnTo>
                      <a:pt x="957" y="141"/>
                    </a:lnTo>
                    <a:lnTo>
                      <a:pt x="953" y="142"/>
                    </a:lnTo>
                    <a:lnTo>
                      <a:pt x="951" y="143"/>
                    </a:lnTo>
                    <a:lnTo>
                      <a:pt x="948" y="146"/>
                    </a:lnTo>
                    <a:lnTo>
                      <a:pt x="946" y="146"/>
                    </a:lnTo>
                    <a:lnTo>
                      <a:pt x="942" y="145"/>
                    </a:lnTo>
                    <a:lnTo>
                      <a:pt x="939" y="147"/>
                    </a:lnTo>
                    <a:lnTo>
                      <a:pt x="938" y="149"/>
                    </a:lnTo>
                    <a:lnTo>
                      <a:pt x="937" y="149"/>
                    </a:lnTo>
                    <a:lnTo>
                      <a:pt x="939" y="153"/>
                    </a:lnTo>
                    <a:lnTo>
                      <a:pt x="937" y="155"/>
                    </a:lnTo>
                    <a:lnTo>
                      <a:pt x="934" y="154"/>
                    </a:lnTo>
                    <a:lnTo>
                      <a:pt x="930" y="151"/>
                    </a:lnTo>
                    <a:lnTo>
                      <a:pt x="928" y="154"/>
                    </a:lnTo>
                    <a:lnTo>
                      <a:pt x="924" y="153"/>
                    </a:lnTo>
                    <a:lnTo>
                      <a:pt x="919" y="150"/>
                    </a:lnTo>
                    <a:lnTo>
                      <a:pt x="917" y="148"/>
                    </a:lnTo>
                    <a:lnTo>
                      <a:pt x="915" y="148"/>
                    </a:lnTo>
                    <a:lnTo>
                      <a:pt x="913" y="146"/>
                    </a:lnTo>
                    <a:lnTo>
                      <a:pt x="911" y="145"/>
                    </a:lnTo>
                    <a:lnTo>
                      <a:pt x="909" y="145"/>
                    </a:lnTo>
                    <a:lnTo>
                      <a:pt x="906" y="144"/>
                    </a:lnTo>
                    <a:lnTo>
                      <a:pt x="902" y="146"/>
                    </a:lnTo>
                    <a:lnTo>
                      <a:pt x="898" y="146"/>
                    </a:lnTo>
                    <a:lnTo>
                      <a:pt x="891" y="151"/>
                    </a:lnTo>
                    <a:lnTo>
                      <a:pt x="888" y="152"/>
                    </a:lnTo>
                    <a:lnTo>
                      <a:pt x="885" y="151"/>
                    </a:lnTo>
                    <a:lnTo>
                      <a:pt x="882" y="143"/>
                    </a:lnTo>
                    <a:lnTo>
                      <a:pt x="880" y="142"/>
                    </a:lnTo>
                    <a:lnTo>
                      <a:pt x="873" y="139"/>
                    </a:lnTo>
                    <a:lnTo>
                      <a:pt x="864" y="137"/>
                    </a:lnTo>
                    <a:lnTo>
                      <a:pt x="862" y="138"/>
                    </a:lnTo>
                    <a:lnTo>
                      <a:pt x="861" y="137"/>
                    </a:lnTo>
                    <a:lnTo>
                      <a:pt x="859" y="139"/>
                    </a:lnTo>
                    <a:lnTo>
                      <a:pt x="855" y="140"/>
                    </a:lnTo>
                    <a:lnTo>
                      <a:pt x="854" y="141"/>
                    </a:lnTo>
                    <a:lnTo>
                      <a:pt x="852" y="141"/>
                    </a:lnTo>
                    <a:lnTo>
                      <a:pt x="852" y="143"/>
                    </a:lnTo>
                    <a:lnTo>
                      <a:pt x="850" y="144"/>
                    </a:lnTo>
                    <a:lnTo>
                      <a:pt x="843" y="143"/>
                    </a:lnTo>
                    <a:lnTo>
                      <a:pt x="843" y="141"/>
                    </a:lnTo>
                    <a:lnTo>
                      <a:pt x="840" y="139"/>
                    </a:lnTo>
                    <a:lnTo>
                      <a:pt x="844" y="137"/>
                    </a:lnTo>
                    <a:lnTo>
                      <a:pt x="843" y="135"/>
                    </a:lnTo>
                    <a:lnTo>
                      <a:pt x="843" y="133"/>
                    </a:lnTo>
                    <a:lnTo>
                      <a:pt x="840" y="133"/>
                    </a:lnTo>
                    <a:lnTo>
                      <a:pt x="841" y="130"/>
                    </a:lnTo>
                    <a:lnTo>
                      <a:pt x="842" y="130"/>
                    </a:lnTo>
                    <a:lnTo>
                      <a:pt x="842" y="129"/>
                    </a:lnTo>
                    <a:lnTo>
                      <a:pt x="843" y="127"/>
                    </a:lnTo>
                    <a:lnTo>
                      <a:pt x="841" y="123"/>
                    </a:lnTo>
                    <a:lnTo>
                      <a:pt x="841" y="121"/>
                    </a:lnTo>
                    <a:lnTo>
                      <a:pt x="840" y="120"/>
                    </a:lnTo>
                    <a:lnTo>
                      <a:pt x="838" y="117"/>
                    </a:lnTo>
                    <a:lnTo>
                      <a:pt x="834" y="112"/>
                    </a:lnTo>
                    <a:lnTo>
                      <a:pt x="827" y="112"/>
                    </a:lnTo>
                    <a:lnTo>
                      <a:pt x="822" y="114"/>
                    </a:lnTo>
                    <a:lnTo>
                      <a:pt x="819" y="112"/>
                    </a:lnTo>
                    <a:lnTo>
                      <a:pt x="819" y="110"/>
                    </a:lnTo>
                    <a:lnTo>
                      <a:pt x="813" y="106"/>
                    </a:lnTo>
                    <a:lnTo>
                      <a:pt x="811" y="107"/>
                    </a:lnTo>
                    <a:lnTo>
                      <a:pt x="807" y="106"/>
                    </a:lnTo>
                    <a:lnTo>
                      <a:pt x="802" y="106"/>
                    </a:lnTo>
                    <a:lnTo>
                      <a:pt x="798" y="102"/>
                    </a:lnTo>
                    <a:lnTo>
                      <a:pt x="790" y="100"/>
                    </a:lnTo>
                    <a:lnTo>
                      <a:pt x="786" y="98"/>
                    </a:lnTo>
                    <a:lnTo>
                      <a:pt x="783" y="99"/>
                    </a:lnTo>
                    <a:lnTo>
                      <a:pt x="781" y="101"/>
                    </a:lnTo>
                    <a:lnTo>
                      <a:pt x="782" y="103"/>
                    </a:lnTo>
                    <a:lnTo>
                      <a:pt x="781" y="106"/>
                    </a:lnTo>
                    <a:lnTo>
                      <a:pt x="781" y="108"/>
                    </a:lnTo>
                    <a:lnTo>
                      <a:pt x="783" y="113"/>
                    </a:lnTo>
                    <a:lnTo>
                      <a:pt x="783" y="116"/>
                    </a:lnTo>
                    <a:lnTo>
                      <a:pt x="773" y="115"/>
                    </a:lnTo>
                    <a:lnTo>
                      <a:pt x="764" y="115"/>
                    </a:lnTo>
                    <a:lnTo>
                      <a:pt x="761" y="114"/>
                    </a:lnTo>
                    <a:lnTo>
                      <a:pt x="759" y="112"/>
                    </a:lnTo>
                    <a:lnTo>
                      <a:pt x="757" y="113"/>
                    </a:lnTo>
                    <a:lnTo>
                      <a:pt x="756" y="116"/>
                    </a:lnTo>
                    <a:lnTo>
                      <a:pt x="753" y="117"/>
                    </a:lnTo>
                    <a:lnTo>
                      <a:pt x="752" y="116"/>
                    </a:lnTo>
                    <a:lnTo>
                      <a:pt x="750" y="112"/>
                    </a:lnTo>
                    <a:lnTo>
                      <a:pt x="747" y="112"/>
                    </a:lnTo>
                    <a:lnTo>
                      <a:pt x="744" y="111"/>
                    </a:lnTo>
                    <a:lnTo>
                      <a:pt x="740" y="112"/>
                    </a:lnTo>
                    <a:lnTo>
                      <a:pt x="738" y="113"/>
                    </a:lnTo>
                    <a:lnTo>
                      <a:pt x="737" y="113"/>
                    </a:lnTo>
                    <a:lnTo>
                      <a:pt x="735" y="115"/>
                    </a:lnTo>
                    <a:lnTo>
                      <a:pt x="732" y="115"/>
                    </a:lnTo>
                    <a:lnTo>
                      <a:pt x="729" y="116"/>
                    </a:lnTo>
                    <a:lnTo>
                      <a:pt x="724" y="115"/>
                    </a:lnTo>
                    <a:lnTo>
                      <a:pt x="721" y="113"/>
                    </a:lnTo>
                    <a:lnTo>
                      <a:pt x="720" y="111"/>
                    </a:lnTo>
                    <a:lnTo>
                      <a:pt x="716" y="105"/>
                    </a:lnTo>
                    <a:lnTo>
                      <a:pt x="716" y="103"/>
                    </a:lnTo>
                    <a:lnTo>
                      <a:pt x="712" y="103"/>
                    </a:lnTo>
                    <a:lnTo>
                      <a:pt x="704" y="99"/>
                    </a:lnTo>
                    <a:lnTo>
                      <a:pt x="701" y="100"/>
                    </a:lnTo>
                    <a:lnTo>
                      <a:pt x="699" y="103"/>
                    </a:lnTo>
                    <a:lnTo>
                      <a:pt x="697" y="104"/>
                    </a:lnTo>
                    <a:lnTo>
                      <a:pt x="692" y="104"/>
                    </a:lnTo>
                    <a:lnTo>
                      <a:pt x="688" y="103"/>
                    </a:lnTo>
                    <a:lnTo>
                      <a:pt x="685" y="106"/>
                    </a:lnTo>
                    <a:lnTo>
                      <a:pt x="684" y="103"/>
                    </a:lnTo>
                    <a:lnTo>
                      <a:pt x="682" y="103"/>
                    </a:lnTo>
                    <a:lnTo>
                      <a:pt x="681" y="101"/>
                    </a:lnTo>
                    <a:lnTo>
                      <a:pt x="678" y="98"/>
                    </a:lnTo>
                    <a:lnTo>
                      <a:pt x="676" y="97"/>
                    </a:lnTo>
                    <a:lnTo>
                      <a:pt x="674" y="96"/>
                    </a:lnTo>
                    <a:lnTo>
                      <a:pt x="672" y="94"/>
                    </a:lnTo>
                    <a:lnTo>
                      <a:pt x="672" y="92"/>
                    </a:lnTo>
                    <a:lnTo>
                      <a:pt x="672" y="89"/>
                    </a:lnTo>
                    <a:lnTo>
                      <a:pt x="670" y="86"/>
                    </a:lnTo>
                    <a:lnTo>
                      <a:pt x="668" y="86"/>
                    </a:lnTo>
                    <a:lnTo>
                      <a:pt x="664" y="88"/>
                    </a:lnTo>
                    <a:lnTo>
                      <a:pt x="658" y="87"/>
                    </a:lnTo>
                    <a:lnTo>
                      <a:pt x="655" y="88"/>
                    </a:lnTo>
                    <a:lnTo>
                      <a:pt x="649" y="84"/>
                    </a:lnTo>
                    <a:lnTo>
                      <a:pt x="645" y="83"/>
                    </a:lnTo>
                    <a:lnTo>
                      <a:pt x="643" y="81"/>
                    </a:lnTo>
                    <a:lnTo>
                      <a:pt x="640" y="82"/>
                    </a:lnTo>
                    <a:lnTo>
                      <a:pt x="639" y="80"/>
                    </a:lnTo>
                    <a:lnTo>
                      <a:pt x="637" y="80"/>
                    </a:lnTo>
                    <a:lnTo>
                      <a:pt x="632" y="79"/>
                    </a:lnTo>
                    <a:lnTo>
                      <a:pt x="629" y="79"/>
                    </a:lnTo>
                    <a:lnTo>
                      <a:pt x="627" y="76"/>
                    </a:lnTo>
                    <a:lnTo>
                      <a:pt x="629" y="73"/>
                    </a:lnTo>
                    <a:lnTo>
                      <a:pt x="628" y="71"/>
                    </a:lnTo>
                    <a:lnTo>
                      <a:pt x="624" y="72"/>
                    </a:lnTo>
                    <a:lnTo>
                      <a:pt x="623" y="74"/>
                    </a:lnTo>
                    <a:lnTo>
                      <a:pt x="623" y="78"/>
                    </a:lnTo>
                    <a:lnTo>
                      <a:pt x="621" y="79"/>
                    </a:lnTo>
                    <a:lnTo>
                      <a:pt x="616" y="78"/>
                    </a:lnTo>
                    <a:lnTo>
                      <a:pt x="615" y="77"/>
                    </a:lnTo>
                    <a:lnTo>
                      <a:pt x="615" y="74"/>
                    </a:lnTo>
                    <a:lnTo>
                      <a:pt x="620" y="68"/>
                    </a:lnTo>
                    <a:lnTo>
                      <a:pt x="621" y="62"/>
                    </a:lnTo>
                    <a:lnTo>
                      <a:pt x="621" y="58"/>
                    </a:lnTo>
                    <a:lnTo>
                      <a:pt x="619" y="54"/>
                    </a:lnTo>
                    <a:lnTo>
                      <a:pt x="613" y="54"/>
                    </a:lnTo>
                    <a:lnTo>
                      <a:pt x="608" y="52"/>
                    </a:lnTo>
                    <a:lnTo>
                      <a:pt x="607" y="53"/>
                    </a:lnTo>
                    <a:lnTo>
                      <a:pt x="607" y="55"/>
                    </a:lnTo>
                    <a:lnTo>
                      <a:pt x="605" y="56"/>
                    </a:lnTo>
                    <a:lnTo>
                      <a:pt x="602" y="54"/>
                    </a:lnTo>
                    <a:lnTo>
                      <a:pt x="601" y="51"/>
                    </a:lnTo>
                    <a:lnTo>
                      <a:pt x="600" y="50"/>
                    </a:lnTo>
                    <a:lnTo>
                      <a:pt x="596" y="52"/>
                    </a:lnTo>
                    <a:lnTo>
                      <a:pt x="593" y="51"/>
                    </a:lnTo>
                    <a:lnTo>
                      <a:pt x="593" y="48"/>
                    </a:lnTo>
                    <a:lnTo>
                      <a:pt x="588" y="43"/>
                    </a:lnTo>
                    <a:lnTo>
                      <a:pt x="587" y="43"/>
                    </a:lnTo>
                    <a:lnTo>
                      <a:pt x="586" y="42"/>
                    </a:lnTo>
                    <a:lnTo>
                      <a:pt x="582" y="43"/>
                    </a:lnTo>
                    <a:lnTo>
                      <a:pt x="579" y="46"/>
                    </a:lnTo>
                    <a:lnTo>
                      <a:pt x="576" y="48"/>
                    </a:lnTo>
                    <a:lnTo>
                      <a:pt x="577" y="50"/>
                    </a:lnTo>
                    <a:lnTo>
                      <a:pt x="576" y="50"/>
                    </a:lnTo>
                    <a:lnTo>
                      <a:pt x="574" y="48"/>
                    </a:lnTo>
                    <a:lnTo>
                      <a:pt x="572" y="48"/>
                    </a:lnTo>
                    <a:lnTo>
                      <a:pt x="571" y="49"/>
                    </a:lnTo>
                    <a:lnTo>
                      <a:pt x="569" y="49"/>
                    </a:lnTo>
                    <a:lnTo>
                      <a:pt x="562" y="52"/>
                    </a:lnTo>
                    <a:lnTo>
                      <a:pt x="560" y="54"/>
                    </a:lnTo>
                    <a:lnTo>
                      <a:pt x="559" y="52"/>
                    </a:lnTo>
                    <a:lnTo>
                      <a:pt x="556" y="52"/>
                    </a:lnTo>
                    <a:lnTo>
                      <a:pt x="555" y="50"/>
                    </a:lnTo>
                    <a:lnTo>
                      <a:pt x="548" y="52"/>
                    </a:lnTo>
                    <a:lnTo>
                      <a:pt x="543" y="51"/>
                    </a:lnTo>
                    <a:lnTo>
                      <a:pt x="535" y="48"/>
                    </a:lnTo>
                    <a:lnTo>
                      <a:pt x="530" y="43"/>
                    </a:lnTo>
                    <a:lnTo>
                      <a:pt x="528" y="43"/>
                    </a:lnTo>
                    <a:lnTo>
                      <a:pt x="526" y="42"/>
                    </a:lnTo>
                    <a:lnTo>
                      <a:pt x="522" y="42"/>
                    </a:lnTo>
                    <a:lnTo>
                      <a:pt x="519" y="40"/>
                    </a:lnTo>
                    <a:lnTo>
                      <a:pt x="517" y="41"/>
                    </a:lnTo>
                    <a:lnTo>
                      <a:pt x="517" y="42"/>
                    </a:lnTo>
                    <a:lnTo>
                      <a:pt x="517" y="45"/>
                    </a:lnTo>
                    <a:lnTo>
                      <a:pt x="516" y="43"/>
                    </a:lnTo>
                    <a:lnTo>
                      <a:pt x="515" y="40"/>
                    </a:lnTo>
                    <a:lnTo>
                      <a:pt x="513" y="38"/>
                    </a:lnTo>
                    <a:lnTo>
                      <a:pt x="511" y="36"/>
                    </a:lnTo>
                    <a:lnTo>
                      <a:pt x="509" y="36"/>
                    </a:lnTo>
                    <a:lnTo>
                      <a:pt x="508" y="37"/>
                    </a:lnTo>
                    <a:lnTo>
                      <a:pt x="505" y="37"/>
                    </a:lnTo>
                    <a:lnTo>
                      <a:pt x="497" y="37"/>
                    </a:lnTo>
                    <a:lnTo>
                      <a:pt x="497" y="40"/>
                    </a:lnTo>
                    <a:lnTo>
                      <a:pt x="495" y="40"/>
                    </a:lnTo>
                    <a:lnTo>
                      <a:pt x="494" y="42"/>
                    </a:lnTo>
                    <a:lnTo>
                      <a:pt x="490" y="43"/>
                    </a:lnTo>
                    <a:lnTo>
                      <a:pt x="491" y="50"/>
                    </a:lnTo>
                    <a:lnTo>
                      <a:pt x="488" y="46"/>
                    </a:lnTo>
                    <a:lnTo>
                      <a:pt x="485" y="45"/>
                    </a:lnTo>
                    <a:lnTo>
                      <a:pt x="483" y="46"/>
                    </a:lnTo>
                    <a:lnTo>
                      <a:pt x="480" y="46"/>
                    </a:lnTo>
                    <a:lnTo>
                      <a:pt x="478" y="45"/>
                    </a:lnTo>
                    <a:lnTo>
                      <a:pt x="474" y="42"/>
                    </a:lnTo>
                    <a:lnTo>
                      <a:pt x="472" y="41"/>
                    </a:lnTo>
                    <a:lnTo>
                      <a:pt x="468" y="40"/>
                    </a:lnTo>
                    <a:lnTo>
                      <a:pt x="467" y="41"/>
                    </a:lnTo>
                    <a:lnTo>
                      <a:pt x="465" y="39"/>
                    </a:lnTo>
                    <a:lnTo>
                      <a:pt x="459" y="40"/>
                    </a:lnTo>
                    <a:lnTo>
                      <a:pt x="457" y="38"/>
                    </a:lnTo>
                    <a:lnTo>
                      <a:pt x="456" y="39"/>
                    </a:lnTo>
                    <a:lnTo>
                      <a:pt x="456" y="40"/>
                    </a:lnTo>
                    <a:lnTo>
                      <a:pt x="455" y="40"/>
                    </a:lnTo>
                    <a:lnTo>
                      <a:pt x="455" y="38"/>
                    </a:lnTo>
                    <a:lnTo>
                      <a:pt x="453" y="37"/>
                    </a:lnTo>
                    <a:lnTo>
                      <a:pt x="455" y="37"/>
                    </a:lnTo>
                    <a:lnTo>
                      <a:pt x="455" y="36"/>
                    </a:lnTo>
                    <a:lnTo>
                      <a:pt x="459" y="36"/>
                    </a:lnTo>
                    <a:lnTo>
                      <a:pt x="459" y="35"/>
                    </a:lnTo>
                    <a:lnTo>
                      <a:pt x="458" y="34"/>
                    </a:lnTo>
                    <a:lnTo>
                      <a:pt x="453" y="33"/>
                    </a:lnTo>
                    <a:lnTo>
                      <a:pt x="450" y="31"/>
                    </a:lnTo>
                    <a:lnTo>
                      <a:pt x="449" y="31"/>
                    </a:lnTo>
                    <a:lnTo>
                      <a:pt x="449" y="30"/>
                    </a:lnTo>
                    <a:lnTo>
                      <a:pt x="448" y="29"/>
                    </a:lnTo>
                    <a:lnTo>
                      <a:pt x="446" y="28"/>
                    </a:lnTo>
                    <a:lnTo>
                      <a:pt x="441" y="31"/>
                    </a:lnTo>
                    <a:lnTo>
                      <a:pt x="439" y="32"/>
                    </a:lnTo>
                    <a:lnTo>
                      <a:pt x="436" y="33"/>
                    </a:lnTo>
                    <a:lnTo>
                      <a:pt x="435" y="34"/>
                    </a:lnTo>
                    <a:lnTo>
                      <a:pt x="433" y="34"/>
                    </a:lnTo>
                    <a:lnTo>
                      <a:pt x="435" y="36"/>
                    </a:lnTo>
                    <a:lnTo>
                      <a:pt x="434" y="37"/>
                    </a:lnTo>
                    <a:lnTo>
                      <a:pt x="433" y="37"/>
                    </a:lnTo>
                    <a:lnTo>
                      <a:pt x="432" y="36"/>
                    </a:lnTo>
                    <a:lnTo>
                      <a:pt x="431" y="37"/>
                    </a:lnTo>
                    <a:lnTo>
                      <a:pt x="428" y="39"/>
                    </a:lnTo>
                    <a:lnTo>
                      <a:pt x="427" y="36"/>
                    </a:lnTo>
                    <a:lnTo>
                      <a:pt x="432" y="33"/>
                    </a:lnTo>
                    <a:lnTo>
                      <a:pt x="430" y="32"/>
                    </a:lnTo>
                    <a:lnTo>
                      <a:pt x="430" y="31"/>
                    </a:lnTo>
                    <a:lnTo>
                      <a:pt x="428" y="31"/>
                    </a:lnTo>
                    <a:lnTo>
                      <a:pt x="423" y="33"/>
                    </a:lnTo>
                    <a:lnTo>
                      <a:pt x="420" y="32"/>
                    </a:lnTo>
                    <a:lnTo>
                      <a:pt x="419" y="33"/>
                    </a:lnTo>
                    <a:lnTo>
                      <a:pt x="416" y="36"/>
                    </a:lnTo>
                    <a:lnTo>
                      <a:pt x="417" y="37"/>
                    </a:lnTo>
                    <a:lnTo>
                      <a:pt x="415" y="37"/>
                    </a:lnTo>
                    <a:lnTo>
                      <a:pt x="412" y="36"/>
                    </a:lnTo>
                    <a:lnTo>
                      <a:pt x="412" y="37"/>
                    </a:lnTo>
                    <a:lnTo>
                      <a:pt x="411" y="36"/>
                    </a:lnTo>
                    <a:lnTo>
                      <a:pt x="407" y="37"/>
                    </a:lnTo>
                    <a:lnTo>
                      <a:pt x="397" y="42"/>
                    </a:lnTo>
                    <a:lnTo>
                      <a:pt x="393" y="42"/>
                    </a:lnTo>
                    <a:lnTo>
                      <a:pt x="389" y="43"/>
                    </a:lnTo>
                    <a:lnTo>
                      <a:pt x="387" y="41"/>
                    </a:lnTo>
                    <a:lnTo>
                      <a:pt x="384" y="42"/>
                    </a:lnTo>
                    <a:lnTo>
                      <a:pt x="384" y="43"/>
                    </a:lnTo>
                    <a:lnTo>
                      <a:pt x="383" y="42"/>
                    </a:lnTo>
                    <a:lnTo>
                      <a:pt x="380" y="41"/>
                    </a:lnTo>
                    <a:lnTo>
                      <a:pt x="378" y="42"/>
                    </a:lnTo>
                    <a:lnTo>
                      <a:pt x="376" y="43"/>
                    </a:lnTo>
                    <a:lnTo>
                      <a:pt x="375" y="42"/>
                    </a:lnTo>
                    <a:lnTo>
                      <a:pt x="374" y="42"/>
                    </a:lnTo>
                    <a:lnTo>
                      <a:pt x="371" y="40"/>
                    </a:lnTo>
                    <a:lnTo>
                      <a:pt x="367" y="41"/>
                    </a:lnTo>
                    <a:lnTo>
                      <a:pt x="355" y="39"/>
                    </a:lnTo>
                    <a:lnTo>
                      <a:pt x="349" y="36"/>
                    </a:lnTo>
                    <a:lnTo>
                      <a:pt x="345" y="36"/>
                    </a:lnTo>
                    <a:lnTo>
                      <a:pt x="340" y="34"/>
                    </a:lnTo>
                    <a:lnTo>
                      <a:pt x="338" y="35"/>
                    </a:lnTo>
                    <a:lnTo>
                      <a:pt x="333" y="34"/>
                    </a:lnTo>
                    <a:lnTo>
                      <a:pt x="331" y="34"/>
                    </a:lnTo>
                    <a:lnTo>
                      <a:pt x="327" y="31"/>
                    </a:lnTo>
                    <a:lnTo>
                      <a:pt x="320" y="32"/>
                    </a:lnTo>
                    <a:lnTo>
                      <a:pt x="313" y="26"/>
                    </a:lnTo>
                    <a:lnTo>
                      <a:pt x="307" y="26"/>
                    </a:lnTo>
                    <a:lnTo>
                      <a:pt x="307" y="28"/>
                    </a:lnTo>
                    <a:lnTo>
                      <a:pt x="304" y="30"/>
                    </a:lnTo>
                    <a:lnTo>
                      <a:pt x="303" y="29"/>
                    </a:lnTo>
                    <a:lnTo>
                      <a:pt x="305" y="27"/>
                    </a:lnTo>
                    <a:lnTo>
                      <a:pt x="305" y="25"/>
                    </a:lnTo>
                    <a:lnTo>
                      <a:pt x="304" y="25"/>
                    </a:lnTo>
                    <a:lnTo>
                      <a:pt x="301" y="24"/>
                    </a:lnTo>
                    <a:lnTo>
                      <a:pt x="298" y="25"/>
                    </a:lnTo>
                    <a:lnTo>
                      <a:pt x="288" y="24"/>
                    </a:lnTo>
                    <a:lnTo>
                      <a:pt x="287" y="25"/>
                    </a:lnTo>
                    <a:lnTo>
                      <a:pt x="284" y="25"/>
                    </a:lnTo>
                    <a:lnTo>
                      <a:pt x="282" y="24"/>
                    </a:lnTo>
                    <a:lnTo>
                      <a:pt x="282" y="22"/>
                    </a:lnTo>
                    <a:lnTo>
                      <a:pt x="280" y="24"/>
                    </a:lnTo>
                    <a:lnTo>
                      <a:pt x="279" y="22"/>
                    </a:lnTo>
                    <a:lnTo>
                      <a:pt x="275" y="16"/>
                    </a:lnTo>
                    <a:lnTo>
                      <a:pt x="270" y="13"/>
                    </a:lnTo>
                    <a:lnTo>
                      <a:pt x="269" y="13"/>
                    </a:lnTo>
                    <a:lnTo>
                      <a:pt x="268" y="16"/>
                    </a:lnTo>
                    <a:lnTo>
                      <a:pt x="265" y="16"/>
                    </a:lnTo>
                    <a:lnTo>
                      <a:pt x="265" y="17"/>
                    </a:lnTo>
                    <a:lnTo>
                      <a:pt x="264" y="19"/>
                    </a:lnTo>
                    <a:lnTo>
                      <a:pt x="265" y="20"/>
                    </a:lnTo>
                    <a:lnTo>
                      <a:pt x="265" y="22"/>
                    </a:lnTo>
                    <a:lnTo>
                      <a:pt x="263" y="20"/>
                    </a:lnTo>
                    <a:lnTo>
                      <a:pt x="260" y="22"/>
                    </a:lnTo>
                    <a:lnTo>
                      <a:pt x="256" y="22"/>
                    </a:lnTo>
                    <a:lnTo>
                      <a:pt x="250" y="24"/>
                    </a:lnTo>
                    <a:lnTo>
                      <a:pt x="243" y="23"/>
                    </a:lnTo>
                    <a:lnTo>
                      <a:pt x="239" y="21"/>
                    </a:lnTo>
                    <a:lnTo>
                      <a:pt x="238" y="22"/>
                    </a:lnTo>
                    <a:lnTo>
                      <a:pt x="230" y="24"/>
                    </a:lnTo>
                    <a:lnTo>
                      <a:pt x="225" y="25"/>
                    </a:lnTo>
                    <a:lnTo>
                      <a:pt x="221" y="23"/>
                    </a:lnTo>
                    <a:lnTo>
                      <a:pt x="221" y="25"/>
                    </a:lnTo>
                    <a:lnTo>
                      <a:pt x="218" y="25"/>
                    </a:lnTo>
                    <a:lnTo>
                      <a:pt x="210" y="23"/>
                    </a:lnTo>
                    <a:lnTo>
                      <a:pt x="206" y="23"/>
                    </a:lnTo>
                    <a:lnTo>
                      <a:pt x="201" y="25"/>
                    </a:lnTo>
                    <a:lnTo>
                      <a:pt x="199" y="25"/>
                    </a:lnTo>
                    <a:lnTo>
                      <a:pt x="198" y="24"/>
                    </a:lnTo>
                    <a:lnTo>
                      <a:pt x="192" y="24"/>
                    </a:lnTo>
                    <a:lnTo>
                      <a:pt x="191" y="24"/>
                    </a:lnTo>
                    <a:lnTo>
                      <a:pt x="188" y="24"/>
                    </a:lnTo>
                    <a:lnTo>
                      <a:pt x="183" y="24"/>
                    </a:lnTo>
                    <a:lnTo>
                      <a:pt x="181" y="25"/>
                    </a:lnTo>
                    <a:lnTo>
                      <a:pt x="178" y="25"/>
                    </a:lnTo>
                    <a:lnTo>
                      <a:pt x="178" y="28"/>
                    </a:lnTo>
                    <a:lnTo>
                      <a:pt x="177" y="28"/>
                    </a:lnTo>
                    <a:lnTo>
                      <a:pt x="177" y="31"/>
                    </a:lnTo>
                    <a:lnTo>
                      <a:pt x="176" y="33"/>
                    </a:lnTo>
                    <a:lnTo>
                      <a:pt x="175" y="31"/>
                    </a:lnTo>
                    <a:lnTo>
                      <a:pt x="175" y="29"/>
                    </a:lnTo>
                    <a:lnTo>
                      <a:pt x="177" y="25"/>
                    </a:lnTo>
                    <a:lnTo>
                      <a:pt x="176" y="24"/>
                    </a:lnTo>
                    <a:lnTo>
                      <a:pt x="174" y="24"/>
                    </a:lnTo>
                    <a:lnTo>
                      <a:pt x="168" y="25"/>
                    </a:lnTo>
                    <a:lnTo>
                      <a:pt x="161" y="24"/>
                    </a:lnTo>
                    <a:lnTo>
                      <a:pt x="160" y="25"/>
                    </a:lnTo>
                    <a:lnTo>
                      <a:pt x="159" y="24"/>
                    </a:lnTo>
                    <a:lnTo>
                      <a:pt x="158" y="24"/>
                    </a:lnTo>
                    <a:lnTo>
                      <a:pt x="159" y="24"/>
                    </a:lnTo>
                    <a:lnTo>
                      <a:pt x="159" y="22"/>
                    </a:lnTo>
                    <a:lnTo>
                      <a:pt x="155" y="21"/>
                    </a:lnTo>
                    <a:lnTo>
                      <a:pt x="155" y="19"/>
                    </a:lnTo>
                    <a:lnTo>
                      <a:pt x="153" y="17"/>
                    </a:lnTo>
                    <a:lnTo>
                      <a:pt x="151" y="12"/>
                    </a:lnTo>
                    <a:lnTo>
                      <a:pt x="145" y="10"/>
                    </a:lnTo>
                    <a:lnTo>
                      <a:pt x="142" y="9"/>
                    </a:lnTo>
                    <a:lnTo>
                      <a:pt x="142" y="7"/>
                    </a:lnTo>
                    <a:lnTo>
                      <a:pt x="139" y="8"/>
                    </a:lnTo>
                    <a:lnTo>
                      <a:pt x="138" y="7"/>
                    </a:lnTo>
                    <a:lnTo>
                      <a:pt x="135" y="7"/>
                    </a:lnTo>
                    <a:lnTo>
                      <a:pt x="135" y="9"/>
                    </a:lnTo>
                    <a:lnTo>
                      <a:pt x="133" y="9"/>
                    </a:lnTo>
                    <a:lnTo>
                      <a:pt x="133" y="11"/>
                    </a:lnTo>
                    <a:lnTo>
                      <a:pt x="132" y="12"/>
                    </a:lnTo>
                    <a:lnTo>
                      <a:pt x="131" y="11"/>
                    </a:lnTo>
                    <a:lnTo>
                      <a:pt x="131" y="8"/>
                    </a:lnTo>
                    <a:lnTo>
                      <a:pt x="129" y="5"/>
                    </a:lnTo>
                    <a:lnTo>
                      <a:pt x="127" y="5"/>
                    </a:lnTo>
                    <a:lnTo>
                      <a:pt x="126" y="7"/>
                    </a:lnTo>
                    <a:lnTo>
                      <a:pt x="125" y="8"/>
                    </a:lnTo>
                    <a:lnTo>
                      <a:pt x="125" y="5"/>
                    </a:lnTo>
                    <a:lnTo>
                      <a:pt x="127" y="3"/>
                    </a:lnTo>
                    <a:lnTo>
                      <a:pt x="126" y="0"/>
                    </a:lnTo>
                    <a:lnTo>
                      <a:pt x="125" y="0"/>
                    </a:lnTo>
                    <a:lnTo>
                      <a:pt x="125" y="3"/>
                    </a:lnTo>
                    <a:lnTo>
                      <a:pt x="123" y="5"/>
                    </a:lnTo>
                    <a:lnTo>
                      <a:pt x="118" y="6"/>
                    </a:lnTo>
                    <a:lnTo>
                      <a:pt x="117" y="7"/>
                    </a:lnTo>
                    <a:lnTo>
                      <a:pt x="116" y="7"/>
                    </a:lnTo>
                    <a:lnTo>
                      <a:pt x="116" y="9"/>
                    </a:lnTo>
                    <a:lnTo>
                      <a:pt x="115" y="10"/>
                    </a:lnTo>
                    <a:lnTo>
                      <a:pt x="116" y="11"/>
                    </a:lnTo>
                    <a:lnTo>
                      <a:pt x="112" y="10"/>
                    </a:lnTo>
                    <a:lnTo>
                      <a:pt x="112" y="11"/>
                    </a:lnTo>
                    <a:lnTo>
                      <a:pt x="114" y="13"/>
                    </a:lnTo>
                    <a:lnTo>
                      <a:pt x="112" y="14"/>
                    </a:lnTo>
                    <a:lnTo>
                      <a:pt x="109" y="13"/>
                    </a:lnTo>
                    <a:lnTo>
                      <a:pt x="109" y="12"/>
                    </a:lnTo>
                    <a:lnTo>
                      <a:pt x="111" y="12"/>
                    </a:lnTo>
                    <a:lnTo>
                      <a:pt x="110" y="11"/>
                    </a:lnTo>
                    <a:lnTo>
                      <a:pt x="111" y="9"/>
                    </a:lnTo>
                    <a:lnTo>
                      <a:pt x="113" y="10"/>
                    </a:lnTo>
                    <a:lnTo>
                      <a:pt x="113" y="9"/>
                    </a:lnTo>
                    <a:lnTo>
                      <a:pt x="111" y="6"/>
                    </a:lnTo>
                    <a:lnTo>
                      <a:pt x="111" y="4"/>
                    </a:lnTo>
                    <a:lnTo>
                      <a:pt x="109" y="4"/>
                    </a:lnTo>
                    <a:lnTo>
                      <a:pt x="107" y="6"/>
                    </a:lnTo>
                    <a:lnTo>
                      <a:pt x="105" y="7"/>
                    </a:lnTo>
                    <a:lnTo>
                      <a:pt x="104" y="8"/>
                    </a:lnTo>
                    <a:lnTo>
                      <a:pt x="102" y="10"/>
                    </a:lnTo>
                    <a:lnTo>
                      <a:pt x="98" y="10"/>
                    </a:lnTo>
                    <a:lnTo>
                      <a:pt x="96" y="10"/>
                    </a:lnTo>
                    <a:lnTo>
                      <a:pt x="95" y="13"/>
                    </a:lnTo>
                    <a:lnTo>
                      <a:pt x="97" y="15"/>
                    </a:lnTo>
                    <a:lnTo>
                      <a:pt x="96" y="16"/>
                    </a:lnTo>
                    <a:lnTo>
                      <a:pt x="97" y="17"/>
                    </a:lnTo>
                    <a:lnTo>
                      <a:pt x="95" y="17"/>
                    </a:lnTo>
                    <a:lnTo>
                      <a:pt x="94" y="16"/>
                    </a:lnTo>
                    <a:lnTo>
                      <a:pt x="91" y="17"/>
                    </a:lnTo>
                    <a:lnTo>
                      <a:pt x="89" y="19"/>
                    </a:lnTo>
                    <a:lnTo>
                      <a:pt x="87" y="19"/>
                    </a:lnTo>
                    <a:lnTo>
                      <a:pt x="86" y="22"/>
                    </a:lnTo>
                    <a:lnTo>
                      <a:pt x="84" y="22"/>
                    </a:lnTo>
                    <a:lnTo>
                      <a:pt x="83" y="24"/>
                    </a:lnTo>
                    <a:lnTo>
                      <a:pt x="80" y="25"/>
                    </a:lnTo>
                    <a:lnTo>
                      <a:pt x="77" y="24"/>
                    </a:lnTo>
                    <a:lnTo>
                      <a:pt x="76" y="25"/>
                    </a:lnTo>
                    <a:lnTo>
                      <a:pt x="77" y="26"/>
                    </a:lnTo>
                    <a:lnTo>
                      <a:pt x="78" y="28"/>
                    </a:lnTo>
                    <a:lnTo>
                      <a:pt x="78" y="29"/>
                    </a:lnTo>
                    <a:lnTo>
                      <a:pt x="76" y="30"/>
                    </a:lnTo>
                    <a:lnTo>
                      <a:pt x="76" y="33"/>
                    </a:lnTo>
                    <a:lnTo>
                      <a:pt x="75" y="35"/>
                    </a:lnTo>
                    <a:lnTo>
                      <a:pt x="80" y="34"/>
                    </a:lnTo>
                    <a:lnTo>
                      <a:pt x="81" y="32"/>
                    </a:lnTo>
                    <a:lnTo>
                      <a:pt x="82" y="33"/>
                    </a:lnTo>
                    <a:lnTo>
                      <a:pt x="81" y="34"/>
                    </a:lnTo>
                    <a:lnTo>
                      <a:pt x="85" y="34"/>
                    </a:lnTo>
                    <a:lnTo>
                      <a:pt x="87" y="33"/>
                    </a:lnTo>
                    <a:lnTo>
                      <a:pt x="87" y="32"/>
                    </a:lnTo>
                    <a:lnTo>
                      <a:pt x="88" y="33"/>
                    </a:lnTo>
                    <a:lnTo>
                      <a:pt x="87" y="35"/>
                    </a:lnTo>
                    <a:lnTo>
                      <a:pt x="79" y="35"/>
                    </a:lnTo>
                    <a:lnTo>
                      <a:pt x="77" y="36"/>
                    </a:lnTo>
                    <a:lnTo>
                      <a:pt x="82" y="40"/>
                    </a:lnTo>
                    <a:lnTo>
                      <a:pt x="83" y="39"/>
                    </a:lnTo>
                    <a:lnTo>
                      <a:pt x="88" y="40"/>
                    </a:lnTo>
                    <a:lnTo>
                      <a:pt x="84" y="43"/>
                    </a:lnTo>
                    <a:lnTo>
                      <a:pt x="85" y="47"/>
                    </a:lnTo>
                    <a:lnTo>
                      <a:pt x="85" y="50"/>
                    </a:lnTo>
                    <a:lnTo>
                      <a:pt x="85" y="51"/>
                    </a:lnTo>
                    <a:lnTo>
                      <a:pt x="84" y="48"/>
                    </a:lnTo>
                    <a:lnTo>
                      <a:pt x="82" y="46"/>
                    </a:lnTo>
                    <a:lnTo>
                      <a:pt x="80" y="43"/>
                    </a:lnTo>
                    <a:lnTo>
                      <a:pt x="79" y="43"/>
                    </a:lnTo>
                    <a:lnTo>
                      <a:pt x="78" y="42"/>
                    </a:lnTo>
                    <a:lnTo>
                      <a:pt x="75" y="42"/>
                    </a:lnTo>
                    <a:lnTo>
                      <a:pt x="74" y="43"/>
                    </a:lnTo>
                    <a:lnTo>
                      <a:pt x="75" y="45"/>
                    </a:lnTo>
                    <a:lnTo>
                      <a:pt x="74" y="47"/>
                    </a:lnTo>
                    <a:lnTo>
                      <a:pt x="72" y="47"/>
                    </a:lnTo>
                    <a:lnTo>
                      <a:pt x="71" y="44"/>
                    </a:lnTo>
                    <a:lnTo>
                      <a:pt x="71" y="43"/>
                    </a:lnTo>
                    <a:lnTo>
                      <a:pt x="70" y="43"/>
                    </a:lnTo>
                    <a:lnTo>
                      <a:pt x="69" y="44"/>
                    </a:lnTo>
                    <a:lnTo>
                      <a:pt x="68" y="43"/>
                    </a:lnTo>
                    <a:lnTo>
                      <a:pt x="65" y="46"/>
                    </a:lnTo>
                    <a:lnTo>
                      <a:pt x="64" y="46"/>
                    </a:lnTo>
                    <a:lnTo>
                      <a:pt x="61" y="50"/>
                    </a:lnTo>
                    <a:lnTo>
                      <a:pt x="58" y="51"/>
                    </a:lnTo>
                    <a:lnTo>
                      <a:pt x="53" y="50"/>
                    </a:lnTo>
                    <a:lnTo>
                      <a:pt x="48" y="53"/>
                    </a:lnTo>
                    <a:lnTo>
                      <a:pt x="41" y="52"/>
                    </a:lnTo>
                    <a:lnTo>
                      <a:pt x="37" y="49"/>
                    </a:lnTo>
                    <a:lnTo>
                      <a:pt x="35" y="48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29" y="54"/>
                    </a:lnTo>
                    <a:lnTo>
                      <a:pt x="27" y="53"/>
                    </a:lnTo>
                    <a:lnTo>
                      <a:pt x="24" y="54"/>
                    </a:lnTo>
                    <a:lnTo>
                      <a:pt x="25" y="56"/>
                    </a:lnTo>
                    <a:lnTo>
                      <a:pt x="27" y="56"/>
                    </a:lnTo>
                    <a:lnTo>
                      <a:pt x="27" y="58"/>
                    </a:lnTo>
                    <a:lnTo>
                      <a:pt x="30" y="58"/>
                    </a:lnTo>
                    <a:lnTo>
                      <a:pt x="28" y="60"/>
                    </a:lnTo>
                    <a:lnTo>
                      <a:pt x="27" y="60"/>
                    </a:lnTo>
                    <a:lnTo>
                      <a:pt x="25" y="60"/>
                    </a:lnTo>
                    <a:lnTo>
                      <a:pt x="23" y="59"/>
                    </a:lnTo>
                    <a:lnTo>
                      <a:pt x="19" y="64"/>
                    </a:lnTo>
                    <a:lnTo>
                      <a:pt x="17" y="65"/>
                    </a:lnTo>
                    <a:lnTo>
                      <a:pt x="13" y="64"/>
                    </a:lnTo>
                    <a:lnTo>
                      <a:pt x="9" y="65"/>
                    </a:lnTo>
                    <a:lnTo>
                      <a:pt x="6" y="68"/>
                    </a:lnTo>
                    <a:lnTo>
                      <a:pt x="7" y="71"/>
                    </a:lnTo>
                    <a:lnTo>
                      <a:pt x="10" y="69"/>
                    </a:lnTo>
                    <a:lnTo>
                      <a:pt x="10" y="70"/>
                    </a:lnTo>
                    <a:lnTo>
                      <a:pt x="15" y="70"/>
                    </a:lnTo>
                    <a:lnTo>
                      <a:pt x="11" y="71"/>
                    </a:lnTo>
                    <a:lnTo>
                      <a:pt x="9" y="74"/>
                    </a:lnTo>
                    <a:lnTo>
                      <a:pt x="8" y="74"/>
                    </a:lnTo>
                    <a:lnTo>
                      <a:pt x="6" y="73"/>
                    </a:lnTo>
                    <a:lnTo>
                      <a:pt x="6" y="74"/>
                    </a:lnTo>
                    <a:lnTo>
                      <a:pt x="4" y="74"/>
                    </a:lnTo>
                    <a:lnTo>
                      <a:pt x="3" y="78"/>
                    </a:lnTo>
                    <a:lnTo>
                      <a:pt x="1" y="79"/>
                    </a:lnTo>
                    <a:lnTo>
                      <a:pt x="1" y="81"/>
                    </a:lnTo>
                    <a:lnTo>
                      <a:pt x="3" y="83"/>
                    </a:lnTo>
                    <a:lnTo>
                      <a:pt x="0" y="93"/>
                    </a:lnTo>
                    <a:lnTo>
                      <a:pt x="1" y="94"/>
                    </a:lnTo>
                    <a:lnTo>
                      <a:pt x="1" y="97"/>
                    </a:lnTo>
                    <a:lnTo>
                      <a:pt x="2" y="96"/>
                    </a:lnTo>
                    <a:lnTo>
                      <a:pt x="3" y="93"/>
                    </a:lnTo>
                    <a:lnTo>
                      <a:pt x="5" y="91"/>
                    </a:lnTo>
                    <a:lnTo>
                      <a:pt x="8" y="93"/>
                    </a:lnTo>
                    <a:lnTo>
                      <a:pt x="9" y="92"/>
                    </a:lnTo>
                    <a:lnTo>
                      <a:pt x="8" y="90"/>
                    </a:lnTo>
                    <a:lnTo>
                      <a:pt x="9" y="91"/>
                    </a:lnTo>
                    <a:lnTo>
                      <a:pt x="10" y="92"/>
                    </a:lnTo>
                    <a:lnTo>
                      <a:pt x="13" y="94"/>
                    </a:lnTo>
                    <a:lnTo>
                      <a:pt x="13" y="95"/>
                    </a:lnTo>
                    <a:lnTo>
                      <a:pt x="11" y="97"/>
                    </a:lnTo>
                    <a:lnTo>
                      <a:pt x="12" y="100"/>
                    </a:lnTo>
                    <a:lnTo>
                      <a:pt x="14" y="100"/>
                    </a:lnTo>
                    <a:lnTo>
                      <a:pt x="15" y="103"/>
                    </a:lnTo>
                    <a:lnTo>
                      <a:pt x="12" y="105"/>
                    </a:lnTo>
                    <a:lnTo>
                      <a:pt x="14" y="111"/>
                    </a:lnTo>
                    <a:lnTo>
                      <a:pt x="17" y="111"/>
                    </a:lnTo>
                    <a:lnTo>
                      <a:pt x="19" y="109"/>
                    </a:lnTo>
                    <a:lnTo>
                      <a:pt x="19" y="107"/>
                    </a:lnTo>
                    <a:lnTo>
                      <a:pt x="19" y="106"/>
                    </a:lnTo>
                    <a:lnTo>
                      <a:pt x="21" y="106"/>
                    </a:lnTo>
                    <a:lnTo>
                      <a:pt x="24" y="107"/>
                    </a:lnTo>
                    <a:lnTo>
                      <a:pt x="26" y="106"/>
                    </a:lnTo>
                    <a:lnTo>
                      <a:pt x="30" y="105"/>
                    </a:lnTo>
                    <a:lnTo>
                      <a:pt x="30" y="102"/>
                    </a:lnTo>
                    <a:lnTo>
                      <a:pt x="33" y="103"/>
                    </a:lnTo>
                    <a:lnTo>
                      <a:pt x="32" y="104"/>
                    </a:lnTo>
                    <a:lnTo>
                      <a:pt x="31" y="105"/>
                    </a:lnTo>
                    <a:lnTo>
                      <a:pt x="31" y="106"/>
                    </a:lnTo>
                    <a:lnTo>
                      <a:pt x="29" y="107"/>
                    </a:lnTo>
                    <a:lnTo>
                      <a:pt x="27" y="109"/>
                    </a:lnTo>
                    <a:lnTo>
                      <a:pt x="26" y="111"/>
                    </a:lnTo>
                    <a:lnTo>
                      <a:pt x="21" y="113"/>
                    </a:lnTo>
                    <a:lnTo>
                      <a:pt x="22" y="115"/>
                    </a:lnTo>
                    <a:lnTo>
                      <a:pt x="20" y="116"/>
                    </a:lnTo>
                    <a:lnTo>
                      <a:pt x="21" y="117"/>
                    </a:lnTo>
                    <a:lnTo>
                      <a:pt x="20" y="120"/>
                    </a:lnTo>
                    <a:lnTo>
                      <a:pt x="20" y="121"/>
                    </a:lnTo>
                    <a:lnTo>
                      <a:pt x="17" y="127"/>
                    </a:lnTo>
                    <a:lnTo>
                      <a:pt x="17" y="129"/>
                    </a:lnTo>
                    <a:lnTo>
                      <a:pt x="20" y="129"/>
                    </a:lnTo>
                    <a:lnTo>
                      <a:pt x="20" y="130"/>
                    </a:lnTo>
                    <a:lnTo>
                      <a:pt x="21" y="132"/>
                    </a:lnTo>
                    <a:lnTo>
                      <a:pt x="20" y="134"/>
                    </a:lnTo>
                    <a:lnTo>
                      <a:pt x="21" y="135"/>
                    </a:lnTo>
                    <a:lnTo>
                      <a:pt x="22" y="135"/>
                    </a:lnTo>
                    <a:lnTo>
                      <a:pt x="24" y="133"/>
                    </a:lnTo>
                    <a:lnTo>
                      <a:pt x="25" y="129"/>
                    </a:lnTo>
                    <a:lnTo>
                      <a:pt x="27" y="130"/>
                    </a:lnTo>
                    <a:lnTo>
                      <a:pt x="28" y="129"/>
                    </a:lnTo>
                    <a:lnTo>
                      <a:pt x="29" y="129"/>
                    </a:lnTo>
                    <a:lnTo>
                      <a:pt x="28" y="127"/>
                    </a:lnTo>
                    <a:lnTo>
                      <a:pt x="31" y="124"/>
                    </a:lnTo>
                    <a:lnTo>
                      <a:pt x="32" y="124"/>
                    </a:lnTo>
                    <a:lnTo>
                      <a:pt x="32" y="126"/>
                    </a:lnTo>
                    <a:lnTo>
                      <a:pt x="34" y="126"/>
                    </a:lnTo>
                    <a:lnTo>
                      <a:pt x="35" y="123"/>
                    </a:lnTo>
                    <a:lnTo>
                      <a:pt x="34" y="123"/>
                    </a:lnTo>
                    <a:lnTo>
                      <a:pt x="35" y="118"/>
                    </a:lnTo>
                    <a:lnTo>
                      <a:pt x="37" y="121"/>
                    </a:lnTo>
                    <a:lnTo>
                      <a:pt x="38" y="123"/>
                    </a:lnTo>
                    <a:lnTo>
                      <a:pt x="40" y="123"/>
                    </a:lnTo>
                    <a:lnTo>
                      <a:pt x="42" y="122"/>
                    </a:lnTo>
                    <a:lnTo>
                      <a:pt x="44" y="118"/>
                    </a:lnTo>
                    <a:lnTo>
                      <a:pt x="44" y="121"/>
                    </a:lnTo>
                    <a:lnTo>
                      <a:pt x="41" y="124"/>
                    </a:lnTo>
                    <a:lnTo>
                      <a:pt x="41" y="127"/>
                    </a:lnTo>
                    <a:lnTo>
                      <a:pt x="39" y="129"/>
                    </a:lnTo>
                    <a:lnTo>
                      <a:pt x="37" y="130"/>
                    </a:lnTo>
                    <a:lnTo>
                      <a:pt x="37" y="135"/>
                    </a:lnTo>
                    <a:lnTo>
                      <a:pt x="38" y="138"/>
                    </a:lnTo>
                    <a:lnTo>
                      <a:pt x="37" y="139"/>
                    </a:lnTo>
                    <a:lnTo>
                      <a:pt x="37" y="142"/>
                    </a:lnTo>
                    <a:lnTo>
                      <a:pt x="33" y="142"/>
                    </a:lnTo>
                    <a:lnTo>
                      <a:pt x="33" y="141"/>
                    </a:lnTo>
                    <a:lnTo>
                      <a:pt x="34" y="141"/>
                    </a:lnTo>
                    <a:lnTo>
                      <a:pt x="34" y="138"/>
                    </a:lnTo>
                    <a:lnTo>
                      <a:pt x="32" y="138"/>
                    </a:lnTo>
                    <a:lnTo>
                      <a:pt x="29" y="140"/>
                    </a:lnTo>
                    <a:lnTo>
                      <a:pt x="28" y="140"/>
                    </a:lnTo>
                    <a:lnTo>
                      <a:pt x="28" y="141"/>
                    </a:lnTo>
                    <a:lnTo>
                      <a:pt x="28" y="143"/>
                    </a:lnTo>
                    <a:lnTo>
                      <a:pt x="30" y="141"/>
                    </a:lnTo>
                    <a:lnTo>
                      <a:pt x="32" y="143"/>
                    </a:lnTo>
                    <a:lnTo>
                      <a:pt x="33" y="144"/>
                    </a:lnTo>
                    <a:lnTo>
                      <a:pt x="33" y="146"/>
                    </a:lnTo>
                    <a:lnTo>
                      <a:pt x="37" y="149"/>
                    </a:lnTo>
                    <a:lnTo>
                      <a:pt x="38" y="148"/>
                    </a:lnTo>
                    <a:lnTo>
                      <a:pt x="41" y="149"/>
                    </a:lnTo>
                    <a:lnTo>
                      <a:pt x="48" y="144"/>
                    </a:lnTo>
                    <a:lnTo>
                      <a:pt x="49" y="145"/>
                    </a:lnTo>
                    <a:lnTo>
                      <a:pt x="50" y="145"/>
                    </a:lnTo>
                    <a:lnTo>
                      <a:pt x="50" y="146"/>
                    </a:lnTo>
                    <a:lnTo>
                      <a:pt x="48" y="147"/>
                    </a:lnTo>
                    <a:lnTo>
                      <a:pt x="44" y="150"/>
                    </a:lnTo>
                    <a:lnTo>
                      <a:pt x="41" y="155"/>
                    </a:lnTo>
                    <a:lnTo>
                      <a:pt x="40" y="155"/>
                    </a:lnTo>
                    <a:lnTo>
                      <a:pt x="39" y="154"/>
                    </a:lnTo>
                    <a:lnTo>
                      <a:pt x="36" y="155"/>
                    </a:lnTo>
                    <a:lnTo>
                      <a:pt x="37" y="157"/>
                    </a:lnTo>
                    <a:lnTo>
                      <a:pt x="37" y="160"/>
                    </a:lnTo>
                    <a:lnTo>
                      <a:pt x="35" y="159"/>
                    </a:lnTo>
                    <a:lnTo>
                      <a:pt x="34" y="161"/>
                    </a:lnTo>
                    <a:lnTo>
                      <a:pt x="33" y="163"/>
                    </a:lnTo>
                    <a:lnTo>
                      <a:pt x="34" y="163"/>
                    </a:lnTo>
                    <a:lnTo>
                      <a:pt x="36" y="163"/>
                    </a:lnTo>
                    <a:lnTo>
                      <a:pt x="37" y="164"/>
                    </a:lnTo>
                    <a:lnTo>
                      <a:pt x="39" y="164"/>
                    </a:lnTo>
                    <a:lnTo>
                      <a:pt x="40" y="163"/>
                    </a:lnTo>
                    <a:lnTo>
                      <a:pt x="44" y="161"/>
                    </a:lnTo>
                    <a:lnTo>
                      <a:pt x="46" y="161"/>
                    </a:lnTo>
                    <a:lnTo>
                      <a:pt x="49" y="159"/>
                    </a:lnTo>
                    <a:lnTo>
                      <a:pt x="50" y="156"/>
                    </a:lnTo>
                    <a:lnTo>
                      <a:pt x="52" y="153"/>
                    </a:lnTo>
                    <a:lnTo>
                      <a:pt x="53" y="154"/>
                    </a:lnTo>
                    <a:lnTo>
                      <a:pt x="52" y="160"/>
                    </a:lnTo>
                    <a:lnTo>
                      <a:pt x="49" y="161"/>
                    </a:lnTo>
                    <a:lnTo>
                      <a:pt x="45" y="165"/>
                    </a:lnTo>
                    <a:lnTo>
                      <a:pt x="41" y="167"/>
                    </a:lnTo>
                    <a:lnTo>
                      <a:pt x="38" y="171"/>
                    </a:lnTo>
                    <a:lnTo>
                      <a:pt x="37" y="173"/>
                    </a:lnTo>
                    <a:lnTo>
                      <a:pt x="35" y="173"/>
                    </a:lnTo>
                    <a:lnTo>
                      <a:pt x="35" y="174"/>
                    </a:lnTo>
                    <a:lnTo>
                      <a:pt x="37" y="175"/>
                    </a:lnTo>
                    <a:lnTo>
                      <a:pt x="37" y="178"/>
                    </a:lnTo>
                    <a:lnTo>
                      <a:pt x="35" y="177"/>
                    </a:lnTo>
                    <a:lnTo>
                      <a:pt x="31" y="178"/>
                    </a:lnTo>
                    <a:lnTo>
                      <a:pt x="31" y="179"/>
                    </a:lnTo>
                    <a:lnTo>
                      <a:pt x="32" y="190"/>
                    </a:lnTo>
                    <a:lnTo>
                      <a:pt x="32" y="197"/>
                    </a:lnTo>
                    <a:lnTo>
                      <a:pt x="33" y="203"/>
                    </a:lnTo>
                    <a:lnTo>
                      <a:pt x="34" y="203"/>
                    </a:lnTo>
                    <a:lnTo>
                      <a:pt x="36" y="199"/>
                    </a:lnTo>
                    <a:lnTo>
                      <a:pt x="39" y="199"/>
                    </a:lnTo>
                    <a:lnTo>
                      <a:pt x="43" y="194"/>
                    </a:lnTo>
                    <a:lnTo>
                      <a:pt x="45" y="192"/>
                    </a:lnTo>
                    <a:lnTo>
                      <a:pt x="49" y="191"/>
                    </a:lnTo>
                    <a:lnTo>
                      <a:pt x="51" y="186"/>
                    </a:lnTo>
                    <a:lnTo>
                      <a:pt x="53" y="185"/>
                    </a:lnTo>
                    <a:lnTo>
                      <a:pt x="59" y="184"/>
                    </a:lnTo>
                    <a:lnTo>
                      <a:pt x="62" y="181"/>
                    </a:lnTo>
                    <a:lnTo>
                      <a:pt x="65" y="181"/>
                    </a:lnTo>
                    <a:lnTo>
                      <a:pt x="72" y="181"/>
                    </a:lnTo>
                    <a:lnTo>
                      <a:pt x="74" y="180"/>
                    </a:lnTo>
                    <a:lnTo>
                      <a:pt x="75" y="180"/>
                    </a:lnTo>
                    <a:lnTo>
                      <a:pt x="80" y="177"/>
                    </a:lnTo>
                    <a:lnTo>
                      <a:pt x="85" y="174"/>
                    </a:lnTo>
                    <a:lnTo>
                      <a:pt x="86" y="181"/>
                    </a:lnTo>
                    <a:lnTo>
                      <a:pt x="91" y="180"/>
                    </a:lnTo>
                    <a:lnTo>
                      <a:pt x="92" y="181"/>
                    </a:lnTo>
                    <a:lnTo>
                      <a:pt x="93" y="182"/>
                    </a:lnTo>
                    <a:lnTo>
                      <a:pt x="93" y="185"/>
                    </a:lnTo>
                    <a:lnTo>
                      <a:pt x="93" y="187"/>
                    </a:lnTo>
                    <a:lnTo>
                      <a:pt x="89" y="187"/>
                    </a:lnTo>
                    <a:lnTo>
                      <a:pt x="88" y="189"/>
                    </a:lnTo>
                    <a:lnTo>
                      <a:pt x="86" y="191"/>
                    </a:lnTo>
                    <a:lnTo>
                      <a:pt x="85" y="196"/>
                    </a:lnTo>
                    <a:lnTo>
                      <a:pt x="82" y="199"/>
                    </a:lnTo>
                    <a:lnTo>
                      <a:pt x="82" y="200"/>
                    </a:lnTo>
                    <a:lnTo>
                      <a:pt x="83" y="202"/>
                    </a:lnTo>
                    <a:lnTo>
                      <a:pt x="87" y="202"/>
                    </a:lnTo>
                    <a:lnTo>
                      <a:pt x="87" y="203"/>
                    </a:lnTo>
                    <a:lnTo>
                      <a:pt x="88" y="204"/>
                    </a:lnTo>
                    <a:lnTo>
                      <a:pt x="88" y="205"/>
                    </a:lnTo>
                    <a:lnTo>
                      <a:pt x="88" y="206"/>
                    </a:lnTo>
                    <a:lnTo>
                      <a:pt x="88" y="207"/>
                    </a:lnTo>
                    <a:lnTo>
                      <a:pt x="89" y="209"/>
                    </a:lnTo>
                    <a:lnTo>
                      <a:pt x="95" y="209"/>
                    </a:lnTo>
                    <a:lnTo>
                      <a:pt x="95" y="208"/>
                    </a:lnTo>
                    <a:lnTo>
                      <a:pt x="97" y="208"/>
                    </a:lnTo>
                    <a:lnTo>
                      <a:pt x="99" y="206"/>
                    </a:lnTo>
                    <a:lnTo>
                      <a:pt x="100" y="204"/>
                    </a:lnTo>
                    <a:lnTo>
                      <a:pt x="102" y="202"/>
                    </a:lnTo>
                    <a:lnTo>
                      <a:pt x="105" y="201"/>
                    </a:lnTo>
                    <a:lnTo>
                      <a:pt x="108" y="197"/>
                    </a:lnTo>
                    <a:lnTo>
                      <a:pt x="109" y="197"/>
                    </a:lnTo>
                    <a:lnTo>
                      <a:pt x="109" y="203"/>
                    </a:lnTo>
                    <a:lnTo>
                      <a:pt x="110" y="204"/>
                    </a:lnTo>
                    <a:lnTo>
                      <a:pt x="115" y="200"/>
                    </a:lnTo>
                    <a:lnTo>
                      <a:pt x="123" y="199"/>
                    </a:lnTo>
                    <a:lnTo>
                      <a:pt x="125" y="201"/>
                    </a:lnTo>
                    <a:lnTo>
                      <a:pt x="132" y="202"/>
                    </a:lnTo>
                    <a:lnTo>
                      <a:pt x="132" y="204"/>
                    </a:lnTo>
                    <a:lnTo>
                      <a:pt x="131" y="204"/>
                    </a:lnTo>
                    <a:lnTo>
                      <a:pt x="130" y="206"/>
                    </a:lnTo>
                    <a:lnTo>
                      <a:pt x="129" y="207"/>
                    </a:lnTo>
                    <a:lnTo>
                      <a:pt x="130" y="208"/>
                    </a:lnTo>
                    <a:lnTo>
                      <a:pt x="134" y="206"/>
                    </a:lnTo>
                    <a:lnTo>
                      <a:pt x="135" y="207"/>
                    </a:lnTo>
                    <a:lnTo>
                      <a:pt x="136" y="207"/>
                    </a:lnTo>
                    <a:lnTo>
                      <a:pt x="137" y="206"/>
                    </a:lnTo>
                    <a:lnTo>
                      <a:pt x="138" y="206"/>
                    </a:lnTo>
                    <a:lnTo>
                      <a:pt x="138" y="205"/>
                    </a:lnTo>
                    <a:lnTo>
                      <a:pt x="137" y="204"/>
                    </a:lnTo>
                    <a:lnTo>
                      <a:pt x="139" y="202"/>
                    </a:lnTo>
                    <a:lnTo>
                      <a:pt x="142" y="204"/>
                    </a:lnTo>
                    <a:lnTo>
                      <a:pt x="143" y="206"/>
                    </a:lnTo>
                    <a:lnTo>
                      <a:pt x="145" y="207"/>
                    </a:lnTo>
                    <a:lnTo>
                      <a:pt x="145" y="208"/>
                    </a:lnTo>
                    <a:lnTo>
                      <a:pt x="147" y="208"/>
                    </a:lnTo>
                    <a:lnTo>
                      <a:pt x="148" y="207"/>
                    </a:lnTo>
                    <a:lnTo>
                      <a:pt x="149" y="206"/>
                    </a:lnTo>
                    <a:lnTo>
                      <a:pt x="149" y="205"/>
                    </a:lnTo>
                    <a:lnTo>
                      <a:pt x="156" y="205"/>
                    </a:lnTo>
                    <a:lnTo>
                      <a:pt x="158" y="205"/>
                    </a:lnTo>
                    <a:lnTo>
                      <a:pt x="166" y="199"/>
                    </a:lnTo>
                    <a:lnTo>
                      <a:pt x="166" y="198"/>
                    </a:lnTo>
                    <a:lnTo>
                      <a:pt x="164" y="192"/>
                    </a:lnTo>
                    <a:lnTo>
                      <a:pt x="169" y="191"/>
                    </a:lnTo>
                    <a:lnTo>
                      <a:pt x="172" y="192"/>
                    </a:lnTo>
                    <a:lnTo>
                      <a:pt x="175" y="195"/>
                    </a:lnTo>
                    <a:lnTo>
                      <a:pt x="178" y="195"/>
                    </a:lnTo>
                    <a:lnTo>
                      <a:pt x="183" y="192"/>
                    </a:lnTo>
                    <a:lnTo>
                      <a:pt x="184" y="195"/>
                    </a:lnTo>
                    <a:lnTo>
                      <a:pt x="188" y="196"/>
                    </a:lnTo>
                    <a:lnTo>
                      <a:pt x="193" y="196"/>
                    </a:lnTo>
                    <a:lnTo>
                      <a:pt x="194" y="191"/>
                    </a:lnTo>
                    <a:lnTo>
                      <a:pt x="197" y="191"/>
                    </a:lnTo>
                    <a:lnTo>
                      <a:pt x="197" y="193"/>
                    </a:lnTo>
                    <a:lnTo>
                      <a:pt x="199" y="196"/>
                    </a:lnTo>
                    <a:lnTo>
                      <a:pt x="207" y="196"/>
                    </a:lnTo>
                    <a:lnTo>
                      <a:pt x="211" y="194"/>
                    </a:lnTo>
                    <a:lnTo>
                      <a:pt x="215" y="196"/>
                    </a:lnTo>
                    <a:lnTo>
                      <a:pt x="212" y="202"/>
                    </a:lnTo>
                    <a:lnTo>
                      <a:pt x="215" y="202"/>
                    </a:lnTo>
                    <a:lnTo>
                      <a:pt x="218" y="204"/>
                    </a:lnTo>
                    <a:lnTo>
                      <a:pt x="217" y="206"/>
                    </a:lnTo>
                    <a:lnTo>
                      <a:pt x="217" y="209"/>
                    </a:lnTo>
                    <a:lnTo>
                      <a:pt x="216" y="213"/>
                    </a:lnTo>
                    <a:lnTo>
                      <a:pt x="215" y="216"/>
                    </a:lnTo>
                    <a:lnTo>
                      <a:pt x="215" y="217"/>
                    </a:lnTo>
                    <a:lnTo>
                      <a:pt x="216" y="220"/>
                    </a:lnTo>
                    <a:lnTo>
                      <a:pt x="215" y="224"/>
                    </a:lnTo>
                    <a:lnTo>
                      <a:pt x="219" y="226"/>
                    </a:lnTo>
                    <a:lnTo>
                      <a:pt x="222" y="224"/>
                    </a:lnTo>
                    <a:lnTo>
                      <a:pt x="223" y="223"/>
                    </a:lnTo>
                    <a:lnTo>
                      <a:pt x="229" y="224"/>
                    </a:lnTo>
                    <a:lnTo>
                      <a:pt x="236" y="226"/>
                    </a:lnTo>
                    <a:lnTo>
                      <a:pt x="239" y="232"/>
                    </a:lnTo>
                    <a:lnTo>
                      <a:pt x="243" y="234"/>
                    </a:lnTo>
                    <a:lnTo>
                      <a:pt x="242" y="236"/>
                    </a:lnTo>
                    <a:lnTo>
                      <a:pt x="241" y="238"/>
                    </a:lnTo>
                    <a:lnTo>
                      <a:pt x="239" y="240"/>
                    </a:lnTo>
                    <a:lnTo>
                      <a:pt x="238" y="242"/>
                    </a:lnTo>
                    <a:lnTo>
                      <a:pt x="235" y="246"/>
                    </a:lnTo>
                    <a:lnTo>
                      <a:pt x="235" y="249"/>
                    </a:lnTo>
                    <a:lnTo>
                      <a:pt x="233" y="252"/>
                    </a:lnTo>
                    <a:lnTo>
                      <a:pt x="232" y="254"/>
                    </a:lnTo>
                    <a:lnTo>
                      <a:pt x="231" y="255"/>
                    </a:lnTo>
                    <a:lnTo>
                      <a:pt x="229" y="254"/>
                    </a:lnTo>
                    <a:lnTo>
                      <a:pt x="228" y="256"/>
                    </a:lnTo>
                    <a:lnTo>
                      <a:pt x="229" y="257"/>
                    </a:lnTo>
                    <a:lnTo>
                      <a:pt x="226" y="259"/>
                    </a:lnTo>
                    <a:lnTo>
                      <a:pt x="224" y="262"/>
                    </a:lnTo>
                    <a:lnTo>
                      <a:pt x="219" y="266"/>
                    </a:lnTo>
                    <a:lnTo>
                      <a:pt x="214" y="269"/>
                    </a:lnTo>
                    <a:lnTo>
                      <a:pt x="208" y="269"/>
                    </a:lnTo>
                    <a:lnTo>
                      <a:pt x="206" y="271"/>
                    </a:lnTo>
                    <a:lnTo>
                      <a:pt x="202" y="277"/>
                    </a:lnTo>
                    <a:lnTo>
                      <a:pt x="198" y="280"/>
                    </a:lnTo>
                    <a:lnTo>
                      <a:pt x="198" y="282"/>
                    </a:lnTo>
                    <a:lnTo>
                      <a:pt x="198" y="285"/>
                    </a:lnTo>
                    <a:lnTo>
                      <a:pt x="196" y="287"/>
                    </a:lnTo>
                    <a:lnTo>
                      <a:pt x="195" y="291"/>
                    </a:lnTo>
                    <a:lnTo>
                      <a:pt x="184" y="292"/>
                    </a:lnTo>
                    <a:lnTo>
                      <a:pt x="185" y="295"/>
                    </a:lnTo>
                    <a:lnTo>
                      <a:pt x="191" y="303"/>
                    </a:lnTo>
                    <a:lnTo>
                      <a:pt x="193" y="308"/>
                    </a:lnTo>
                    <a:lnTo>
                      <a:pt x="195" y="310"/>
                    </a:lnTo>
                    <a:lnTo>
                      <a:pt x="193" y="311"/>
                    </a:lnTo>
                    <a:lnTo>
                      <a:pt x="193" y="313"/>
                    </a:lnTo>
                    <a:lnTo>
                      <a:pt x="193" y="320"/>
                    </a:lnTo>
                    <a:lnTo>
                      <a:pt x="193" y="323"/>
                    </a:lnTo>
                    <a:lnTo>
                      <a:pt x="195" y="327"/>
                    </a:lnTo>
                    <a:lnTo>
                      <a:pt x="194" y="329"/>
                    </a:lnTo>
                    <a:lnTo>
                      <a:pt x="195" y="331"/>
                    </a:lnTo>
                    <a:lnTo>
                      <a:pt x="192" y="340"/>
                    </a:lnTo>
                    <a:lnTo>
                      <a:pt x="194" y="342"/>
                    </a:lnTo>
                    <a:lnTo>
                      <a:pt x="196" y="346"/>
                    </a:lnTo>
                    <a:lnTo>
                      <a:pt x="194" y="348"/>
                    </a:lnTo>
                    <a:lnTo>
                      <a:pt x="194" y="349"/>
                    </a:lnTo>
                    <a:lnTo>
                      <a:pt x="193" y="350"/>
                    </a:lnTo>
                    <a:lnTo>
                      <a:pt x="192" y="352"/>
                    </a:lnTo>
                    <a:lnTo>
                      <a:pt x="191" y="353"/>
                    </a:lnTo>
                    <a:lnTo>
                      <a:pt x="193" y="358"/>
                    </a:lnTo>
                    <a:lnTo>
                      <a:pt x="197" y="361"/>
                    </a:lnTo>
                    <a:lnTo>
                      <a:pt x="197" y="364"/>
                    </a:lnTo>
                    <a:lnTo>
                      <a:pt x="191" y="367"/>
                    </a:lnTo>
                    <a:lnTo>
                      <a:pt x="191" y="372"/>
                    </a:lnTo>
                    <a:lnTo>
                      <a:pt x="185" y="372"/>
                    </a:lnTo>
                    <a:lnTo>
                      <a:pt x="183" y="374"/>
                    </a:lnTo>
                    <a:lnTo>
                      <a:pt x="180" y="376"/>
                    </a:lnTo>
                    <a:lnTo>
                      <a:pt x="178" y="378"/>
                    </a:lnTo>
                    <a:lnTo>
                      <a:pt x="178" y="388"/>
                    </a:lnTo>
                    <a:lnTo>
                      <a:pt x="184" y="389"/>
                    </a:lnTo>
                    <a:lnTo>
                      <a:pt x="185" y="390"/>
                    </a:lnTo>
                    <a:lnTo>
                      <a:pt x="186" y="392"/>
                    </a:lnTo>
                    <a:lnTo>
                      <a:pt x="188" y="396"/>
                    </a:lnTo>
                    <a:lnTo>
                      <a:pt x="189" y="400"/>
                    </a:lnTo>
                    <a:lnTo>
                      <a:pt x="188" y="406"/>
                    </a:lnTo>
                    <a:lnTo>
                      <a:pt x="187" y="411"/>
                    </a:lnTo>
                    <a:lnTo>
                      <a:pt x="187" y="412"/>
                    </a:lnTo>
                    <a:lnTo>
                      <a:pt x="187" y="414"/>
                    </a:lnTo>
                    <a:lnTo>
                      <a:pt x="186" y="416"/>
                    </a:lnTo>
                    <a:lnTo>
                      <a:pt x="184" y="419"/>
                    </a:lnTo>
                    <a:lnTo>
                      <a:pt x="183" y="421"/>
                    </a:lnTo>
                    <a:lnTo>
                      <a:pt x="181" y="421"/>
                    </a:lnTo>
                    <a:lnTo>
                      <a:pt x="182" y="424"/>
                    </a:lnTo>
                    <a:lnTo>
                      <a:pt x="181" y="429"/>
                    </a:lnTo>
                    <a:lnTo>
                      <a:pt x="179" y="434"/>
                    </a:lnTo>
                    <a:lnTo>
                      <a:pt x="168" y="436"/>
                    </a:lnTo>
                    <a:lnTo>
                      <a:pt x="157" y="435"/>
                    </a:lnTo>
                    <a:lnTo>
                      <a:pt x="153" y="437"/>
                    </a:lnTo>
                    <a:lnTo>
                      <a:pt x="137" y="435"/>
                    </a:lnTo>
                    <a:lnTo>
                      <a:pt x="137" y="436"/>
                    </a:lnTo>
                    <a:lnTo>
                      <a:pt x="138" y="440"/>
                    </a:lnTo>
                    <a:lnTo>
                      <a:pt x="139" y="443"/>
                    </a:lnTo>
                    <a:lnTo>
                      <a:pt x="145" y="449"/>
                    </a:lnTo>
                    <a:lnTo>
                      <a:pt x="148" y="450"/>
                    </a:lnTo>
                    <a:lnTo>
                      <a:pt x="150" y="453"/>
                    </a:lnTo>
                    <a:lnTo>
                      <a:pt x="154" y="456"/>
                    </a:lnTo>
                    <a:lnTo>
                      <a:pt x="155" y="457"/>
                    </a:lnTo>
                    <a:lnTo>
                      <a:pt x="154" y="463"/>
                    </a:lnTo>
                    <a:lnTo>
                      <a:pt x="152" y="465"/>
                    </a:lnTo>
                    <a:lnTo>
                      <a:pt x="153" y="467"/>
                    </a:lnTo>
                    <a:lnTo>
                      <a:pt x="153" y="471"/>
                    </a:lnTo>
                    <a:lnTo>
                      <a:pt x="156" y="473"/>
                    </a:lnTo>
                    <a:lnTo>
                      <a:pt x="158" y="477"/>
                    </a:lnTo>
                    <a:lnTo>
                      <a:pt x="158" y="482"/>
                    </a:lnTo>
                    <a:lnTo>
                      <a:pt x="160" y="487"/>
                    </a:lnTo>
                    <a:lnTo>
                      <a:pt x="166" y="490"/>
                    </a:lnTo>
                    <a:lnTo>
                      <a:pt x="166" y="495"/>
                    </a:lnTo>
                    <a:lnTo>
                      <a:pt x="169" y="497"/>
                    </a:lnTo>
                    <a:lnTo>
                      <a:pt x="174" y="495"/>
                    </a:lnTo>
                    <a:lnTo>
                      <a:pt x="175" y="495"/>
                    </a:lnTo>
                    <a:lnTo>
                      <a:pt x="178" y="497"/>
                    </a:lnTo>
                    <a:lnTo>
                      <a:pt x="180" y="499"/>
                    </a:lnTo>
                    <a:lnTo>
                      <a:pt x="180" y="502"/>
                    </a:lnTo>
                    <a:lnTo>
                      <a:pt x="180" y="505"/>
                    </a:lnTo>
                    <a:lnTo>
                      <a:pt x="180" y="507"/>
                    </a:lnTo>
                    <a:lnTo>
                      <a:pt x="175" y="512"/>
                    </a:lnTo>
                    <a:lnTo>
                      <a:pt x="174" y="517"/>
                    </a:lnTo>
                    <a:lnTo>
                      <a:pt x="174" y="518"/>
                    </a:lnTo>
                    <a:lnTo>
                      <a:pt x="177" y="521"/>
                    </a:lnTo>
                    <a:lnTo>
                      <a:pt x="172" y="526"/>
                    </a:lnTo>
                    <a:lnTo>
                      <a:pt x="168" y="527"/>
                    </a:lnTo>
                    <a:lnTo>
                      <a:pt x="164" y="530"/>
                    </a:lnTo>
                    <a:lnTo>
                      <a:pt x="158" y="535"/>
                    </a:lnTo>
                    <a:lnTo>
                      <a:pt x="157" y="537"/>
                    </a:lnTo>
                    <a:lnTo>
                      <a:pt x="157" y="539"/>
                    </a:lnTo>
                    <a:lnTo>
                      <a:pt x="156" y="545"/>
                    </a:lnTo>
                    <a:lnTo>
                      <a:pt x="157" y="546"/>
                    </a:lnTo>
                    <a:lnTo>
                      <a:pt x="158" y="547"/>
                    </a:lnTo>
                    <a:lnTo>
                      <a:pt x="154" y="554"/>
                    </a:lnTo>
                    <a:lnTo>
                      <a:pt x="153" y="561"/>
                    </a:lnTo>
                    <a:lnTo>
                      <a:pt x="154" y="563"/>
                    </a:lnTo>
                    <a:lnTo>
                      <a:pt x="151" y="566"/>
                    </a:lnTo>
                    <a:lnTo>
                      <a:pt x="153" y="566"/>
                    </a:lnTo>
                    <a:lnTo>
                      <a:pt x="156" y="567"/>
                    </a:lnTo>
                    <a:lnTo>
                      <a:pt x="157" y="571"/>
                    </a:lnTo>
                    <a:lnTo>
                      <a:pt x="162" y="578"/>
                    </a:lnTo>
                    <a:lnTo>
                      <a:pt x="164" y="583"/>
                    </a:lnTo>
                    <a:lnTo>
                      <a:pt x="166" y="585"/>
                    </a:lnTo>
                    <a:lnTo>
                      <a:pt x="167" y="586"/>
                    </a:lnTo>
                    <a:lnTo>
                      <a:pt x="169" y="588"/>
                    </a:lnTo>
                    <a:lnTo>
                      <a:pt x="169" y="592"/>
                    </a:lnTo>
                    <a:lnTo>
                      <a:pt x="174" y="593"/>
                    </a:lnTo>
                    <a:lnTo>
                      <a:pt x="183" y="590"/>
                    </a:lnTo>
                    <a:lnTo>
                      <a:pt x="179" y="594"/>
                    </a:lnTo>
                    <a:lnTo>
                      <a:pt x="179" y="600"/>
                    </a:lnTo>
                    <a:lnTo>
                      <a:pt x="177" y="606"/>
                    </a:lnTo>
                    <a:lnTo>
                      <a:pt x="177" y="607"/>
                    </a:lnTo>
                    <a:lnTo>
                      <a:pt x="177" y="609"/>
                    </a:lnTo>
                    <a:lnTo>
                      <a:pt x="174" y="610"/>
                    </a:lnTo>
                    <a:lnTo>
                      <a:pt x="171" y="608"/>
                    </a:lnTo>
                    <a:lnTo>
                      <a:pt x="169" y="608"/>
                    </a:lnTo>
                    <a:lnTo>
                      <a:pt x="168" y="612"/>
                    </a:lnTo>
                    <a:lnTo>
                      <a:pt x="166" y="613"/>
                    </a:lnTo>
                    <a:lnTo>
                      <a:pt x="162" y="613"/>
                    </a:lnTo>
                    <a:lnTo>
                      <a:pt x="159" y="614"/>
                    </a:lnTo>
                    <a:lnTo>
                      <a:pt x="159" y="620"/>
                    </a:lnTo>
                    <a:lnTo>
                      <a:pt x="157" y="622"/>
                    </a:lnTo>
                    <a:lnTo>
                      <a:pt x="156" y="628"/>
                    </a:lnTo>
                    <a:lnTo>
                      <a:pt x="153" y="633"/>
                    </a:lnTo>
                    <a:lnTo>
                      <a:pt x="146" y="639"/>
                    </a:lnTo>
                    <a:lnTo>
                      <a:pt x="143" y="650"/>
                    </a:lnTo>
                    <a:lnTo>
                      <a:pt x="140" y="655"/>
                    </a:lnTo>
                    <a:lnTo>
                      <a:pt x="140" y="657"/>
                    </a:lnTo>
                    <a:lnTo>
                      <a:pt x="139" y="660"/>
                    </a:lnTo>
                    <a:lnTo>
                      <a:pt x="138" y="659"/>
                    </a:lnTo>
                    <a:lnTo>
                      <a:pt x="138" y="660"/>
                    </a:lnTo>
                    <a:lnTo>
                      <a:pt x="139" y="660"/>
                    </a:lnTo>
                    <a:lnTo>
                      <a:pt x="139" y="661"/>
                    </a:lnTo>
                    <a:lnTo>
                      <a:pt x="138" y="663"/>
                    </a:lnTo>
                    <a:lnTo>
                      <a:pt x="140" y="664"/>
                    </a:lnTo>
                    <a:lnTo>
                      <a:pt x="142" y="666"/>
                    </a:lnTo>
                    <a:lnTo>
                      <a:pt x="142" y="669"/>
                    </a:lnTo>
                    <a:lnTo>
                      <a:pt x="143" y="671"/>
                    </a:lnTo>
                    <a:lnTo>
                      <a:pt x="143" y="675"/>
                    </a:lnTo>
                    <a:lnTo>
                      <a:pt x="144" y="678"/>
                    </a:lnTo>
                    <a:lnTo>
                      <a:pt x="145" y="686"/>
                    </a:lnTo>
                    <a:lnTo>
                      <a:pt x="146" y="688"/>
                    </a:lnTo>
                    <a:lnTo>
                      <a:pt x="145" y="691"/>
                    </a:lnTo>
                    <a:lnTo>
                      <a:pt x="147" y="698"/>
                    </a:lnTo>
                    <a:lnTo>
                      <a:pt x="147" y="697"/>
                    </a:lnTo>
                    <a:lnTo>
                      <a:pt x="147" y="698"/>
                    </a:lnTo>
                    <a:close/>
                    <a:moveTo>
                      <a:pt x="1057" y="398"/>
                    </a:moveTo>
                    <a:lnTo>
                      <a:pt x="1058" y="400"/>
                    </a:lnTo>
                    <a:lnTo>
                      <a:pt x="1061" y="402"/>
                    </a:lnTo>
                    <a:lnTo>
                      <a:pt x="1062" y="406"/>
                    </a:lnTo>
                    <a:lnTo>
                      <a:pt x="1061" y="406"/>
                    </a:lnTo>
                    <a:lnTo>
                      <a:pt x="1064" y="406"/>
                    </a:lnTo>
                    <a:lnTo>
                      <a:pt x="1065" y="410"/>
                    </a:lnTo>
                    <a:lnTo>
                      <a:pt x="1067" y="414"/>
                    </a:lnTo>
                    <a:lnTo>
                      <a:pt x="1066" y="414"/>
                    </a:lnTo>
                    <a:lnTo>
                      <a:pt x="1064" y="412"/>
                    </a:lnTo>
                    <a:lnTo>
                      <a:pt x="1066" y="416"/>
                    </a:lnTo>
                    <a:lnTo>
                      <a:pt x="1064" y="421"/>
                    </a:lnTo>
                    <a:lnTo>
                      <a:pt x="1063" y="421"/>
                    </a:lnTo>
                    <a:lnTo>
                      <a:pt x="1056" y="419"/>
                    </a:lnTo>
                    <a:lnTo>
                      <a:pt x="1044" y="409"/>
                    </a:lnTo>
                    <a:lnTo>
                      <a:pt x="1037" y="407"/>
                    </a:lnTo>
                    <a:lnTo>
                      <a:pt x="1035" y="408"/>
                    </a:lnTo>
                    <a:lnTo>
                      <a:pt x="1033" y="409"/>
                    </a:lnTo>
                    <a:lnTo>
                      <a:pt x="1028" y="408"/>
                    </a:lnTo>
                    <a:lnTo>
                      <a:pt x="1027" y="405"/>
                    </a:lnTo>
                    <a:lnTo>
                      <a:pt x="1029" y="402"/>
                    </a:lnTo>
                    <a:lnTo>
                      <a:pt x="1025" y="399"/>
                    </a:lnTo>
                    <a:lnTo>
                      <a:pt x="1025" y="398"/>
                    </a:lnTo>
                    <a:lnTo>
                      <a:pt x="1029" y="395"/>
                    </a:lnTo>
                    <a:lnTo>
                      <a:pt x="1030" y="394"/>
                    </a:lnTo>
                    <a:lnTo>
                      <a:pt x="1035" y="396"/>
                    </a:lnTo>
                    <a:lnTo>
                      <a:pt x="1036" y="394"/>
                    </a:lnTo>
                    <a:lnTo>
                      <a:pt x="1044" y="394"/>
                    </a:lnTo>
                    <a:lnTo>
                      <a:pt x="1047" y="394"/>
                    </a:lnTo>
                    <a:lnTo>
                      <a:pt x="1048" y="392"/>
                    </a:lnTo>
                    <a:lnTo>
                      <a:pt x="1049" y="394"/>
                    </a:lnTo>
                    <a:lnTo>
                      <a:pt x="1051" y="395"/>
                    </a:lnTo>
                    <a:lnTo>
                      <a:pt x="1051" y="397"/>
                    </a:lnTo>
                    <a:lnTo>
                      <a:pt x="1051" y="398"/>
                    </a:lnTo>
                    <a:lnTo>
                      <a:pt x="1053" y="397"/>
                    </a:lnTo>
                    <a:lnTo>
                      <a:pt x="1053" y="394"/>
                    </a:lnTo>
                    <a:lnTo>
                      <a:pt x="1054" y="394"/>
                    </a:lnTo>
                    <a:lnTo>
                      <a:pt x="1055" y="395"/>
                    </a:lnTo>
                    <a:lnTo>
                      <a:pt x="1055" y="396"/>
                    </a:lnTo>
                    <a:lnTo>
                      <a:pt x="1055" y="397"/>
                    </a:lnTo>
                    <a:lnTo>
                      <a:pt x="1056" y="398"/>
                    </a:lnTo>
                    <a:lnTo>
                      <a:pt x="1057" y="398"/>
                    </a:lnTo>
                    <a:close/>
                    <a:moveTo>
                      <a:pt x="976" y="405"/>
                    </a:moveTo>
                    <a:lnTo>
                      <a:pt x="977" y="406"/>
                    </a:lnTo>
                    <a:lnTo>
                      <a:pt x="978" y="406"/>
                    </a:lnTo>
                    <a:lnTo>
                      <a:pt x="975" y="407"/>
                    </a:lnTo>
                    <a:lnTo>
                      <a:pt x="974" y="408"/>
                    </a:lnTo>
                    <a:lnTo>
                      <a:pt x="973" y="408"/>
                    </a:lnTo>
                    <a:lnTo>
                      <a:pt x="971" y="411"/>
                    </a:lnTo>
                    <a:lnTo>
                      <a:pt x="969" y="410"/>
                    </a:lnTo>
                    <a:lnTo>
                      <a:pt x="969" y="412"/>
                    </a:lnTo>
                    <a:lnTo>
                      <a:pt x="969" y="414"/>
                    </a:lnTo>
                    <a:lnTo>
                      <a:pt x="970" y="415"/>
                    </a:lnTo>
                    <a:lnTo>
                      <a:pt x="973" y="414"/>
                    </a:lnTo>
                    <a:lnTo>
                      <a:pt x="978" y="412"/>
                    </a:lnTo>
                    <a:lnTo>
                      <a:pt x="976" y="414"/>
                    </a:lnTo>
                    <a:lnTo>
                      <a:pt x="976" y="417"/>
                    </a:lnTo>
                    <a:lnTo>
                      <a:pt x="972" y="418"/>
                    </a:lnTo>
                    <a:lnTo>
                      <a:pt x="971" y="419"/>
                    </a:lnTo>
                    <a:lnTo>
                      <a:pt x="971" y="422"/>
                    </a:lnTo>
                    <a:lnTo>
                      <a:pt x="972" y="424"/>
                    </a:lnTo>
                    <a:lnTo>
                      <a:pt x="980" y="428"/>
                    </a:lnTo>
                    <a:lnTo>
                      <a:pt x="983" y="428"/>
                    </a:lnTo>
                    <a:lnTo>
                      <a:pt x="990" y="424"/>
                    </a:lnTo>
                    <a:lnTo>
                      <a:pt x="992" y="425"/>
                    </a:lnTo>
                    <a:lnTo>
                      <a:pt x="998" y="428"/>
                    </a:lnTo>
                    <a:lnTo>
                      <a:pt x="998" y="430"/>
                    </a:lnTo>
                    <a:lnTo>
                      <a:pt x="998" y="431"/>
                    </a:lnTo>
                    <a:lnTo>
                      <a:pt x="997" y="433"/>
                    </a:lnTo>
                    <a:lnTo>
                      <a:pt x="998" y="434"/>
                    </a:lnTo>
                    <a:lnTo>
                      <a:pt x="997" y="436"/>
                    </a:lnTo>
                    <a:lnTo>
                      <a:pt x="996" y="438"/>
                    </a:lnTo>
                    <a:lnTo>
                      <a:pt x="996" y="439"/>
                    </a:lnTo>
                    <a:lnTo>
                      <a:pt x="994" y="439"/>
                    </a:lnTo>
                    <a:lnTo>
                      <a:pt x="993" y="442"/>
                    </a:lnTo>
                    <a:lnTo>
                      <a:pt x="993" y="445"/>
                    </a:lnTo>
                    <a:lnTo>
                      <a:pt x="985" y="454"/>
                    </a:lnTo>
                    <a:lnTo>
                      <a:pt x="983" y="462"/>
                    </a:lnTo>
                    <a:lnTo>
                      <a:pt x="982" y="463"/>
                    </a:lnTo>
                    <a:lnTo>
                      <a:pt x="980" y="467"/>
                    </a:lnTo>
                    <a:lnTo>
                      <a:pt x="977" y="469"/>
                    </a:lnTo>
                    <a:lnTo>
                      <a:pt x="977" y="471"/>
                    </a:lnTo>
                    <a:lnTo>
                      <a:pt x="971" y="474"/>
                    </a:lnTo>
                    <a:lnTo>
                      <a:pt x="967" y="478"/>
                    </a:lnTo>
                    <a:lnTo>
                      <a:pt x="965" y="478"/>
                    </a:lnTo>
                    <a:lnTo>
                      <a:pt x="962" y="473"/>
                    </a:lnTo>
                    <a:lnTo>
                      <a:pt x="961" y="472"/>
                    </a:lnTo>
                    <a:lnTo>
                      <a:pt x="960" y="471"/>
                    </a:lnTo>
                    <a:lnTo>
                      <a:pt x="959" y="469"/>
                    </a:lnTo>
                    <a:lnTo>
                      <a:pt x="950" y="468"/>
                    </a:lnTo>
                    <a:lnTo>
                      <a:pt x="948" y="469"/>
                    </a:lnTo>
                    <a:lnTo>
                      <a:pt x="945" y="468"/>
                    </a:lnTo>
                    <a:lnTo>
                      <a:pt x="942" y="463"/>
                    </a:lnTo>
                    <a:lnTo>
                      <a:pt x="942" y="460"/>
                    </a:lnTo>
                    <a:lnTo>
                      <a:pt x="940" y="456"/>
                    </a:lnTo>
                    <a:lnTo>
                      <a:pt x="942" y="454"/>
                    </a:lnTo>
                    <a:lnTo>
                      <a:pt x="942" y="453"/>
                    </a:lnTo>
                    <a:lnTo>
                      <a:pt x="936" y="448"/>
                    </a:lnTo>
                    <a:lnTo>
                      <a:pt x="933" y="447"/>
                    </a:lnTo>
                    <a:lnTo>
                      <a:pt x="932" y="448"/>
                    </a:lnTo>
                    <a:lnTo>
                      <a:pt x="931" y="448"/>
                    </a:lnTo>
                    <a:lnTo>
                      <a:pt x="929" y="451"/>
                    </a:lnTo>
                    <a:lnTo>
                      <a:pt x="927" y="451"/>
                    </a:lnTo>
                    <a:lnTo>
                      <a:pt x="925" y="457"/>
                    </a:lnTo>
                    <a:lnTo>
                      <a:pt x="924" y="457"/>
                    </a:lnTo>
                    <a:lnTo>
                      <a:pt x="921" y="457"/>
                    </a:lnTo>
                    <a:lnTo>
                      <a:pt x="920" y="453"/>
                    </a:lnTo>
                    <a:lnTo>
                      <a:pt x="921" y="453"/>
                    </a:lnTo>
                    <a:lnTo>
                      <a:pt x="919" y="451"/>
                    </a:lnTo>
                    <a:lnTo>
                      <a:pt x="917" y="451"/>
                    </a:lnTo>
                    <a:lnTo>
                      <a:pt x="916" y="450"/>
                    </a:lnTo>
                    <a:lnTo>
                      <a:pt x="913" y="451"/>
                    </a:lnTo>
                    <a:lnTo>
                      <a:pt x="912" y="450"/>
                    </a:lnTo>
                    <a:lnTo>
                      <a:pt x="912" y="448"/>
                    </a:lnTo>
                    <a:lnTo>
                      <a:pt x="911" y="447"/>
                    </a:lnTo>
                    <a:lnTo>
                      <a:pt x="911" y="444"/>
                    </a:lnTo>
                    <a:lnTo>
                      <a:pt x="912" y="441"/>
                    </a:lnTo>
                    <a:lnTo>
                      <a:pt x="920" y="437"/>
                    </a:lnTo>
                    <a:lnTo>
                      <a:pt x="924" y="433"/>
                    </a:lnTo>
                    <a:lnTo>
                      <a:pt x="929" y="431"/>
                    </a:lnTo>
                    <a:lnTo>
                      <a:pt x="932" y="427"/>
                    </a:lnTo>
                    <a:lnTo>
                      <a:pt x="933" y="425"/>
                    </a:lnTo>
                    <a:lnTo>
                      <a:pt x="935" y="425"/>
                    </a:lnTo>
                    <a:lnTo>
                      <a:pt x="938" y="421"/>
                    </a:lnTo>
                    <a:lnTo>
                      <a:pt x="945" y="416"/>
                    </a:lnTo>
                    <a:lnTo>
                      <a:pt x="946" y="416"/>
                    </a:lnTo>
                    <a:lnTo>
                      <a:pt x="946" y="415"/>
                    </a:lnTo>
                    <a:lnTo>
                      <a:pt x="950" y="415"/>
                    </a:lnTo>
                    <a:lnTo>
                      <a:pt x="950" y="414"/>
                    </a:lnTo>
                    <a:lnTo>
                      <a:pt x="958" y="410"/>
                    </a:lnTo>
                    <a:lnTo>
                      <a:pt x="960" y="410"/>
                    </a:lnTo>
                    <a:lnTo>
                      <a:pt x="964" y="408"/>
                    </a:lnTo>
                    <a:lnTo>
                      <a:pt x="968" y="408"/>
                    </a:lnTo>
                    <a:lnTo>
                      <a:pt x="976" y="405"/>
                    </a:lnTo>
                    <a:close/>
                    <a:moveTo>
                      <a:pt x="849" y="494"/>
                    </a:moveTo>
                    <a:lnTo>
                      <a:pt x="850" y="495"/>
                    </a:lnTo>
                    <a:lnTo>
                      <a:pt x="853" y="495"/>
                    </a:lnTo>
                    <a:lnTo>
                      <a:pt x="853" y="497"/>
                    </a:lnTo>
                    <a:lnTo>
                      <a:pt x="852" y="499"/>
                    </a:lnTo>
                    <a:lnTo>
                      <a:pt x="854" y="503"/>
                    </a:lnTo>
                    <a:lnTo>
                      <a:pt x="852" y="503"/>
                    </a:lnTo>
                    <a:lnTo>
                      <a:pt x="851" y="505"/>
                    </a:lnTo>
                    <a:lnTo>
                      <a:pt x="851" y="508"/>
                    </a:lnTo>
                    <a:lnTo>
                      <a:pt x="848" y="509"/>
                    </a:lnTo>
                    <a:lnTo>
                      <a:pt x="847" y="513"/>
                    </a:lnTo>
                    <a:lnTo>
                      <a:pt x="844" y="514"/>
                    </a:lnTo>
                    <a:lnTo>
                      <a:pt x="842" y="516"/>
                    </a:lnTo>
                    <a:lnTo>
                      <a:pt x="840" y="515"/>
                    </a:lnTo>
                    <a:lnTo>
                      <a:pt x="840" y="517"/>
                    </a:lnTo>
                    <a:lnTo>
                      <a:pt x="839" y="517"/>
                    </a:lnTo>
                    <a:lnTo>
                      <a:pt x="838" y="519"/>
                    </a:lnTo>
                    <a:lnTo>
                      <a:pt x="837" y="523"/>
                    </a:lnTo>
                    <a:lnTo>
                      <a:pt x="835" y="523"/>
                    </a:lnTo>
                    <a:lnTo>
                      <a:pt x="832" y="520"/>
                    </a:lnTo>
                    <a:lnTo>
                      <a:pt x="831" y="521"/>
                    </a:lnTo>
                    <a:lnTo>
                      <a:pt x="830" y="520"/>
                    </a:lnTo>
                    <a:lnTo>
                      <a:pt x="829" y="521"/>
                    </a:lnTo>
                    <a:lnTo>
                      <a:pt x="829" y="520"/>
                    </a:lnTo>
                    <a:lnTo>
                      <a:pt x="827" y="520"/>
                    </a:lnTo>
                    <a:lnTo>
                      <a:pt x="826" y="521"/>
                    </a:lnTo>
                    <a:lnTo>
                      <a:pt x="823" y="520"/>
                    </a:lnTo>
                    <a:lnTo>
                      <a:pt x="822" y="517"/>
                    </a:lnTo>
                    <a:lnTo>
                      <a:pt x="824" y="514"/>
                    </a:lnTo>
                    <a:lnTo>
                      <a:pt x="824" y="511"/>
                    </a:lnTo>
                    <a:lnTo>
                      <a:pt x="823" y="511"/>
                    </a:lnTo>
                    <a:lnTo>
                      <a:pt x="824" y="509"/>
                    </a:lnTo>
                    <a:lnTo>
                      <a:pt x="829" y="509"/>
                    </a:lnTo>
                    <a:lnTo>
                      <a:pt x="828" y="505"/>
                    </a:lnTo>
                    <a:lnTo>
                      <a:pt x="829" y="501"/>
                    </a:lnTo>
                    <a:lnTo>
                      <a:pt x="833" y="498"/>
                    </a:lnTo>
                    <a:lnTo>
                      <a:pt x="834" y="499"/>
                    </a:lnTo>
                    <a:lnTo>
                      <a:pt x="836" y="497"/>
                    </a:lnTo>
                    <a:lnTo>
                      <a:pt x="838" y="497"/>
                    </a:lnTo>
                    <a:lnTo>
                      <a:pt x="840" y="495"/>
                    </a:lnTo>
                    <a:lnTo>
                      <a:pt x="845" y="495"/>
                    </a:lnTo>
                    <a:lnTo>
                      <a:pt x="846" y="493"/>
                    </a:lnTo>
                    <a:lnTo>
                      <a:pt x="849" y="494"/>
                    </a:lnTo>
                    <a:close/>
                    <a:moveTo>
                      <a:pt x="840" y="532"/>
                    </a:moveTo>
                    <a:lnTo>
                      <a:pt x="841" y="535"/>
                    </a:lnTo>
                    <a:lnTo>
                      <a:pt x="845" y="540"/>
                    </a:lnTo>
                    <a:lnTo>
                      <a:pt x="847" y="540"/>
                    </a:lnTo>
                    <a:lnTo>
                      <a:pt x="850" y="539"/>
                    </a:lnTo>
                    <a:lnTo>
                      <a:pt x="851" y="540"/>
                    </a:lnTo>
                    <a:lnTo>
                      <a:pt x="851" y="542"/>
                    </a:lnTo>
                    <a:lnTo>
                      <a:pt x="850" y="544"/>
                    </a:lnTo>
                    <a:lnTo>
                      <a:pt x="847" y="544"/>
                    </a:lnTo>
                    <a:lnTo>
                      <a:pt x="843" y="541"/>
                    </a:lnTo>
                    <a:lnTo>
                      <a:pt x="840" y="540"/>
                    </a:lnTo>
                    <a:lnTo>
                      <a:pt x="837" y="544"/>
                    </a:lnTo>
                    <a:lnTo>
                      <a:pt x="836" y="544"/>
                    </a:lnTo>
                    <a:lnTo>
                      <a:pt x="836" y="540"/>
                    </a:lnTo>
                    <a:lnTo>
                      <a:pt x="836" y="538"/>
                    </a:lnTo>
                    <a:lnTo>
                      <a:pt x="836" y="535"/>
                    </a:lnTo>
                    <a:lnTo>
                      <a:pt x="838" y="535"/>
                    </a:lnTo>
                    <a:lnTo>
                      <a:pt x="840" y="532"/>
                    </a:lnTo>
                    <a:close/>
                  </a:path>
                </a:pathLst>
              </a:custGeom>
              <a:solidFill>
                <a:schemeClr val="tx1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42" name="Slovenia">
                <a:extLst>
                  <a:ext uri="{FF2B5EF4-FFF2-40B4-BE49-F238E27FC236}">
                    <a16:creationId xmlns:a16="http://schemas.microsoft.com/office/drawing/2014/main" id="{B2F5D31F-5C18-4314-BE60-7080C659FDFB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009917" y="3976192"/>
                <a:ext cx="284216" cy="193366"/>
              </a:xfrm>
              <a:custGeom>
                <a:avLst/>
                <a:gdLst>
                  <a:gd name="T0" fmla="*/ 28 w 252"/>
                  <a:gd name="T1" fmla="*/ 137 h 152"/>
                  <a:gd name="T2" fmla="*/ 42 w 252"/>
                  <a:gd name="T3" fmla="*/ 130 h 152"/>
                  <a:gd name="T4" fmla="*/ 34 w 252"/>
                  <a:gd name="T5" fmla="*/ 120 h 152"/>
                  <a:gd name="T6" fmla="*/ 17 w 252"/>
                  <a:gd name="T7" fmla="*/ 112 h 152"/>
                  <a:gd name="T8" fmla="*/ 20 w 252"/>
                  <a:gd name="T9" fmla="*/ 98 h 152"/>
                  <a:gd name="T10" fmla="*/ 12 w 252"/>
                  <a:gd name="T11" fmla="*/ 95 h 152"/>
                  <a:gd name="T12" fmla="*/ 10 w 252"/>
                  <a:gd name="T13" fmla="*/ 87 h 152"/>
                  <a:gd name="T14" fmla="*/ 17 w 252"/>
                  <a:gd name="T15" fmla="*/ 81 h 152"/>
                  <a:gd name="T16" fmla="*/ 14 w 252"/>
                  <a:gd name="T17" fmla="*/ 72 h 152"/>
                  <a:gd name="T18" fmla="*/ 8 w 252"/>
                  <a:gd name="T19" fmla="*/ 68 h 152"/>
                  <a:gd name="T20" fmla="*/ 3 w 252"/>
                  <a:gd name="T21" fmla="*/ 70 h 152"/>
                  <a:gd name="T22" fmla="*/ 1 w 252"/>
                  <a:gd name="T23" fmla="*/ 63 h 152"/>
                  <a:gd name="T24" fmla="*/ 4 w 252"/>
                  <a:gd name="T25" fmla="*/ 57 h 152"/>
                  <a:gd name="T26" fmla="*/ 15 w 252"/>
                  <a:gd name="T27" fmla="*/ 50 h 152"/>
                  <a:gd name="T28" fmla="*/ 26 w 252"/>
                  <a:gd name="T29" fmla="*/ 41 h 152"/>
                  <a:gd name="T30" fmla="*/ 34 w 252"/>
                  <a:gd name="T31" fmla="*/ 39 h 152"/>
                  <a:gd name="T32" fmla="*/ 51 w 252"/>
                  <a:gd name="T33" fmla="*/ 40 h 152"/>
                  <a:gd name="T34" fmla="*/ 61 w 252"/>
                  <a:gd name="T35" fmla="*/ 46 h 152"/>
                  <a:gd name="T36" fmla="*/ 74 w 252"/>
                  <a:gd name="T37" fmla="*/ 47 h 152"/>
                  <a:gd name="T38" fmla="*/ 89 w 252"/>
                  <a:gd name="T39" fmla="*/ 47 h 152"/>
                  <a:gd name="T40" fmla="*/ 93 w 252"/>
                  <a:gd name="T41" fmla="*/ 51 h 152"/>
                  <a:gd name="T42" fmla="*/ 102 w 252"/>
                  <a:gd name="T43" fmla="*/ 43 h 152"/>
                  <a:gd name="T44" fmla="*/ 113 w 252"/>
                  <a:gd name="T45" fmla="*/ 32 h 152"/>
                  <a:gd name="T46" fmla="*/ 125 w 252"/>
                  <a:gd name="T47" fmla="*/ 28 h 152"/>
                  <a:gd name="T48" fmla="*/ 135 w 252"/>
                  <a:gd name="T49" fmla="*/ 23 h 152"/>
                  <a:gd name="T50" fmla="*/ 142 w 252"/>
                  <a:gd name="T51" fmla="*/ 24 h 152"/>
                  <a:gd name="T52" fmla="*/ 161 w 252"/>
                  <a:gd name="T53" fmla="*/ 25 h 152"/>
                  <a:gd name="T54" fmla="*/ 169 w 252"/>
                  <a:gd name="T55" fmla="*/ 25 h 152"/>
                  <a:gd name="T56" fmla="*/ 174 w 252"/>
                  <a:gd name="T57" fmla="*/ 21 h 152"/>
                  <a:gd name="T58" fmla="*/ 183 w 252"/>
                  <a:gd name="T59" fmla="*/ 19 h 152"/>
                  <a:gd name="T60" fmla="*/ 201 w 252"/>
                  <a:gd name="T61" fmla="*/ 19 h 152"/>
                  <a:gd name="T62" fmla="*/ 208 w 252"/>
                  <a:gd name="T63" fmla="*/ 20 h 152"/>
                  <a:gd name="T64" fmla="*/ 204 w 252"/>
                  <a:gd name="T65" fmla="*/ 15 h 152"/>
                  <a:gd name="T66" fmla="*/ 210 w 252"/>
                  <a:gd name="T67" fmla="*/ 3 h 152"/>
                  <a:gd name="T68" fmla="*/ 223 w 252"/>
                  <a:gd name="T69" fmla="*/ 0 h 152"/>
                  <a:gd name="T70" fmla="*/ 232 w 252"/>
                  <a:gd name="T71" fmla="*/ 3 h 152"/>
                  <a:gd name="T72" fmla="*/ 229 w 252"/>
                  <a:gd name="T73" fmla="*/ 9 h 152"/>
                  <a:gd name="T74" fmla="*/ 232 w 252"/>
                  <a:gd name="T75" fmla="*/ 15 h 152"/>
                  <a:gd name="T76" fmla="*/ 238 w 252"/>
                  <a:gd name="T77" fmla="*/ 19 h 152"/>
                  <a:gd name="T78" fmla="*/ 235 w 252"/>
                  <a:gd name="T79" fmla="*/ 25 h 152"/>
                  <a:gd name="T80" fmla="*/ 240 w 252"/>
                  <a:gd name="T81" fmla="*/ 29 h 152"/>
                  <a:gd name="T82" fmla="*/ 245 w 252"/>
                  <a:gd name="T83" fmla="*/ 35 h 152"/>
                  <a:gd name="T84" fmla="*/ 252 w 252"/>
                  <a:gd name="T85" fmla="*/ 41 h 152"/>
                  <a:gd name="T86" fmla="*/ 229 w 252"/>
                  <a:gd name="T87" fmla="*/ 46 h 152"/>
                  <a:gd name="T88" fmla="*/ 195 w 252"/>
                  <a:gd name="T89" fmla="*/ 61 h 152"/>
                  <a:gd name="T90" fmla="*/ 171 w 252"/>
                  <a:gd name="T91" fmla="*/ 75 h 152"/>
                  <a:gd name="T92" fmla="*/ 183 w 252"/>
                  <a:gd name="T93" fmla="*/ 105 h 152"/>
                  <a:gd name="T94" fmla="*/ 166 w 252"/>
                  <a:gd name="T95" fmla="*/ 125 h 152"/>
                  <a:gd name="T96" fmla="*/ 157 w 252"/>
                  <a:gd name="T97" fmla="*/ 146 h 152"/>
                  <a:gd name="T98" fmla="*/ 116 w 252"/>
                  <a:gd name="T99" fmla="*/ 142 h 152"/>
                  <a:gd name="T100" fmla="*/ 96 w 252"/>
                  <a:gd name="T101" fmla="*/ 123 h 152"/>
                  <a:gd name="T102" fmla="*/ 81 w 252"/>
                  <a:gd name="T103" fmla="*/ 146 h 152"/>
                  <a:gd name="T104" fmla="*/ 53 w 252"/>
                  <a:gd name="T105" fmla="*/ 152 h 15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52"/>
                  <a:gd name="T160" fmla="*/ 0 h 152"/>
                  <a:gd name="T161" fmla="*/ 252 w 252"/>
                  <a:gd name="T162" fmla="*/ 152 h 15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52" h="152">
                    <a:moveTo>
                      <a:pt x="36" y="143"/>
                    </a:moveTo>
                    <a:lnTo>
                      <a:pt x="28" y="140"/>
                    </a:lnTo>
                    <a:lnTo>
                      <a:pt x="29" y="140"/>
                    </a:lnTo>
                    <a:lnTo>
                      <a:pt x="28" y="137"/>
                    </a:lnTo>
                    <a:lnTo>
                      <a:pt x="25" y="135"/>
                    </a:lnTo>
                    <a:lnTo>
                      <a:pt x="26" y="135"/>
                    </a:lnTo>
                    <a:lnTo>
                      <a:pt x="37" y="136"/>
                    </a:lnTo>
                    <a:lnTo>
                      <a:pt x="42" y="130"/>
                    </a:lnTo>
                    <a:lnTo>
                      <a:pt x="38" y="128"/>
                    </a:lnTo>
                    <a:lnTo>
                      <a:pt x="37" y="126"/>
                    </a:lnTo>
                    <a:lnTo>
                      <a:pt x="36" y="122"/>
                    </a:lnTo>
                    <a:lnTo>
                      <a:pt x="34" y="120"/>
                    </a:lnTo>
                    <a:lnTo>
                      <a:pt x="32" y="118"/>
                    </a:lnTo>
                    <a:lnTo>
                      <a:pt x="28" y="117"/>
                    </a:lnTo>
                    <a:lnTo>
                      <a:pt x="23" y="113"/>
                    </a:lnTo>
                    <a:lnTo>
                      <a:pt x="17" y="112"/>
                    </a:lnTo>
                    <a:lnTo>
                      <a:pt x="15" y="107"/>
                    </a:lnTo>
                    <a:lnTo>
                      <a:pt x="16" y="103"/>
                    </a:lnTo>
                    <a:lnTo>
                      <a:pt x="18" y="102"/>
                    </a:lnTo>
                    <a:lnTo>
                      <a:pt x="20" y="98"/>
                    </a:lnTo>
                    <a:lnTo>
                      <a:pt x="20" y="93"/>
                    </a:lnTo>
                    <a:lnTo>
                      <a:pt x="16" y="93"/>
                    </a:lnTo>
                    <a:lnTo>
                      <a:pt x="12" y="95"/>
                    </a:lnTo>
                    <a:lnTo>
                      <a:pt x="10" y="94"/>
                    </a:lnTo>
                    <a:lnTo>
                      <a:pt x="8" y="91"/>
                    </a:lnTo>
                    <a:lnTo>
                      <a:pt x="10" y="89"/>
                    </a:lnTo>
                    <a:lnTo>
                      <a:pt x="10" y="87"/>
                    </a:lnTo>
                    <a:lnTo>
                      <a:pt x="9" y="86"/>
                    </a:lnTo>
                    <a:lnTo>
                      <a:pt x="11" y="85"/>
                    </a:lnTo>
                    <a:lnTo>
                      <a:pt x="13" y="83"/>
                    </a:lnTo>
                    <a:lnTo>
                      <a:pt x="17" y="81"/>
                    </a:lnTo>
                    <a:lnTo>
                      <a:pt x="21" y="77"/>
                    </a:lnTo>
                    <a:lnTo>
                      <a:pt x="22" y="74"/>
                    </a:lnTo>
                    <a:lnTo>
                      <a:pt x="21" y="72"/>
                    </a:lnTo>
                    <a:lnTo>
                      <a:pt x="14" y="72"/>
                    </a:lnTo>
                    <a:lnTo>
                      <a:pt x="14" y="70"/>
                    </a:lnTo>
                    <a:lnTo>
                      <a:pt x="10" y="69"/>
                    </a:lnTo>
                    <a:lnTo>
                      <a:pt x="8" y="68"/>
                    </a:lnTo>
                    <a:lnTo>
                      <a:pt x="6" y="68"/>
                    </a:lnTo>
                    <a:lnTo>
                      <a:pt x="4" y="67"/>
                    </a:lnTo>
                    <a:lnTo>
                      <a:pt x="6" y="70"/>
                    </a:lnTo>
                    <a:lnTo>
                      <a:pt x="3" y="70"/>
                    </a:lnTo>
                    <a:lnTo>
                      <a:pt x="3" y="69"/>
                    </a:lnTo>
                    <a:lnTo>
                      <a:pt x="3" y="67"/>
                    </a:lnTo>
                    <a:lnTo>
                      <a:pt x="1" y="66"/>
                    </a:lnTo>
                    <a:lnTo>
                      <a:pt x="1" y="63"/>
                    </a:lnTo>
                    <a:lnTo>
                      <a:pt x="0" y="61"/>
                    </a:lnTo>
                    <a:lnTo>
                      <a:pt x="3" y="60"/>
                    </a:lnTo>
                    <a:lnTo>
                      <a:pt x="3" y="58"/>
                    </a:lnTo>
                    <a:lnTo>
                      <a:pt x="4" y="57"/>
                    </a:lnTo>
                    <a:lnTo>
                      <a:pt x="4" y="55"/>
                    </a:lnTo>
                    <a:lnTo>
                      <a:pt x="7" y="54"/>
                    </a:lnTo>
                    <a:lnTo>
                      <a:pt x="10" y="51"/>
                    </a:lnTo>
                    <a:lnTo>
                      <a:pt x="15" y="50"/>
                    </a:lnTo>
                    <a:lnTo>
                      <a:pt x="17" y="46"/>
                    </a:lnTo>
                    <a:lnTo>
                      <a:pt x="20" y="45"/>
                    </a:lnTo>
                    <a:lnTo>
                      <a:pt x="24" y="45"/>
                    </a:lnTo>
                    <a:lnTo>
                      <a:pt x="26" y="41"/>
                    </a:lnTo>
                    <a:lnTo>
                      <a:pt x="25" y="40"/>
                    </a:lnTo>
                    <a:lnTo>
                      <a:pt x="26" y="37"/>
                    </a:lnTo>
                    <a:lnTo>
                      <a:pt x="27" y="37"/>
                    </a:lnTo>
                    <a:lnTo>
                      <a:pt x="34" y="39"/>
                    </a:lnTo>
                    <a:lnTo>
                      <a:pt x="36" y="37"/>
                    </a:lnTo>
                    <a:lnTo>
                      <a:pt x="42" y="37"/>
                    </a:lnTo>
                    <a:lnTo>
                      <a:pt x="49" y="41"/>
                    </a:lnTo>
                    <a:lnTo>
                      <a:pt x="51" y="40"/>
                    </a:lnTo>
                    <a:lnTo>
                      <a:pt x="55" y="41"/>
                    </a:lnTo>
                    <a:lnTo>
                      <a:pt x="57" y="41"/>
                    </a:lnTo>
                    <a:lnTo>
                      <a:pt x="61" y="46"/>
                    </a:lnTo>
                    <a:lnTo>
                      <a:pt x="66" y="45"/>
                    </a:lnTo>
                    <a:lnTo>
                      <a:pt x="67" y="46"/>
                    </a:lnTo>
                    <a:lnTo>
                      <a:pt x="70" y="45"/>
                    </a:lnTo>
                    <a:lnTo>
                      <a:pt x="74" y="47"/>
                    </a:lnTo>
                    <a:lnTo>
                      <a:pt x="82" y="45"/>
                    </a:lnTo>
                    <a:lnTo>
                      <a:pt x="83" y="47"/>
                    </a:lnTo>
                    <a:lnTo>
                      <a:pt x="86" y="48"/>
                    </a:lnTo>
                    <a:lnTo>
                      <a:pt x="89" y="47"/>
                    </a:lnTo>
                    <a:lnTo>
                      <a:pt x="91" y="49"/>
                    </a:lnTo>
                    <a:lnTo>
                      <a:pt x="91" y="51"/>
                    </a:lnTo>
                    <a:lnTo>
                      <a:pt x="92" y="51"/>
                    </a:lnTo>
                    <a:lnTo>
                      <a:pt x="93" y="51"/>
                    </a:lnTo>
                    <a:lnTo>
                      <a:pt x="94" y="51"/>
                    </a:lnTo>
                    <a:lnTo>
                      <a:pt x="94" y="47"/>
                    </a:lnTo>
                    <a:lnTo>
                      <a:pt x="101" y="45"/>
                    </a:lnTo>
                    <a:lnTo>
                      <a:pt x="102" y="43"/>
                    </a:lnTo>
                    <a:lnTo>
                      <a:pt x="103" y="43"/>
                    </a:lnTo>
                    <a:lnTo>
                      <a:pt x="105" y="40"/>
                    </a:lnTo>
                    <a:lnTo>
                      <a:pt x="111" y="39"/>
                    </a:lnTo>
                    <a:lnTo>
                      <a:pt x="113" y="32"/>
                    </a:lnTo>
                    <a:lnTo>
                      <a:pt x="116" y="27"/>
                    </a:lnTo>
                    <a:lnTo>
                      <a:pt x="120" y="28"/>
                    </a:lnTo>
                    <a:lnTo>
                      <a:pt x="123" y="25"/>
                    </a:lnTo>
                    <a:lnTo>
                      <a:pt x="125" y="28"/>
                    </a:lnTo>
                    <a:lnTo>
                      <a:pt x="128" y="25"/>
                    </a:lnTo>
                    <a:lnTo>
                      <a:pt x="130" y="23"/>
                    </a:lnTo>
                    <a:lnTo>
                      <a:pt x="133" y="24"/>
                    </a:lnTo>
                    <a:lnTo>
                      <a:pt x="135" y="23"/>
                    </a:lnTo>
                    <a:lnTo>
                      <a:pt x="136" y="24"/>
                    </a:lnTo>
                    <a:lnTo>
                      <a:pt x="137" y="23"/>
                    </a:lnTo>
                    <a:lnTo>
                      <a:pt x="140" y="23"/>
                    </a:lnTo>
                    <a:lnTo>
                      <a:pt x="142" y="24"/>
                    </a:lnTo>
                    <a:lnTo>
                      <a:pt x="147" y="25"/>
                    </a:lnTo>
                    <a:lnTo>
                      <a:pt x="150" y="23"/>
                    </a:lnTo>
                    <a:lnTo>
                      <a:pt x="159" y="23"/>
                    </a:lnTo>
                    <a:lnTo>
                      <a:pt x="161" y="25"/>
                    </a:lnTo>
                    <a:lnTo>
                      <a:pt x="162" y="25"/>
                    </a:lnTo>
                    <a:lnTo>
                      <a:pt x="163" y="27"/>
                    </a:lnTo>
                    <a:lnTo>
                      <a:pt x="166" y="27"/>
                    </a:lnTo>
                    <a:lnTo>
                      <a:pt x="169" y="25"/>
                    </a:lnTo>
                    <a:lnTo>
                      <a:pt x="169" y="22"/>
                    </a:lnTo>
                    <a:lnTo>
                      <a:pt x="169" y="21"/>
                    </a:lnTo>
                    <a:lnTo>
                      <a:pt x="174" y="20"/>
                    </a:lnTo>
                    <a:lnTo>
                      <a:pt x="174" y="21"/>
                    </a:lnTo>
                    <a:lnTo>
                      <a:pt x="175" y="21"/>
                    </a:lnTo>
                    <a:lnTo>
                      <a:pt x="177" y="19"/>
                    </a:lnTo>
                    <a:lnTo>
                      <a:pt x="177" y="17"/>
                    </a:lnTo>
                    <a:lnTo>
                      <a:pt x="183" y="19"/>
                    </a:lnTo>
                    <a:lnTo>
                      <a:pt x="186" y="19"/>
                    </a:lnTo>
                    <a:lnTo>
                      <a:pt x="189" y="17"/>
                    </a:lnTo>
                    <a:lnTo>
                      <a:pt x="194" y="16"/>
                    </a:lnTo>
                    <a:lnTo>
                      <a:pt x="201" y="19"/>
                    </a:lnTo>
                    <a:lnTo>
                      <a:pt x="204" y="20"/>
                    </a:lnTo>
                    <a:lnTo>
                      <a:pt x="207" y="23"/>
                    </a:lnTo>
                    <a:lnTo>
                      <a:pt x="208" y="23"/>
                    </a:lnTo>
                    <a:lnTo>
                      <a:pt x="208" y="20"/>
                    </a:lnTo>
                    <a:lnTo>
                      <a:pt x="207" y="19"/>
                    </a:lnTo>
                    <a:lnTo>
                      <a:pt x="207" y="17"/>
                    </a:lnTo>
                    <a:lnTo>
                      <a:pt x="205" y="17"/>
                    </a:lnTo>
                    <a:lnTo>
                      <a:pt x="204" y="15"/>
                    </a:lnTo>
                    <a:lnTo>
                      <a:pt x="204" y="7"/>
                    </a:lnTo>
                    <a:lnTo>
                      <a:pt x="203" y="5"/>
                    </a:lnTo>
                    <a:lnTo>
                      <a:pt x="210" y="3"/>
                    </a:lnTo>
                    <a:lnTo>
                      <a:pt x="210" y="2"/>
                    </a:lnTo>
                    <a:lnTo>
                      <a:pt x="213" y="1"/>
                    </a:lnTo>
                    <a:lnTo>
                      <a:pt x="216" y="2"/>
                    </a:lnTo>
                    <a:lnTo>
                      <a:pt x="223" y="0"/>
                    </a:lnTo>
                    <a:lnTo>
                      <a:pt x="226" y="0"/>
                    </a:lnTo>
                    <a:lnTo>
                      <a:pt x="229" y="1"/>
                    </a:lnTo>
                    <a:lnTo>
                      <a:pt x="230" y="3"/>
                    </a:lnTo>
                    <a:lnTo>
                      <a:pt x="232" y="3"/>
                    </a:lnTo>
                    <a:lnTo>
                      <a:pt x="232" y="5"/>
                    </a:lnTo>
                    <a:lnTo>
                      <a:pt x="231" y="6"/>
                    </a:lnTo>
                    <a:lnTo>
                      <a:pt x="231" y="7"/>
                    </a:lnTo>
                    <a:lnTo>
                      <a:pt x="229" y="9"/>
                    </a:lnTo>
                    <a:lnTo>
                      <a:pt x="229" y="10"/>
                    </a:lnTo>
                    <a:lnTo>
                      <a:pt x="230" y="11"/>
                    </a:lnTo>
                    <a:lnTo>
                      <a:pt x="230" y="13"/>
                    </a:lnTo>
                    <a:lnTo>
                      <a:pt x="232" y="15"/>
                    </a:lnTo>
                    <a:lnTo>
                      <a:pt x="232" y="17"/>
                    </a:lnTo>
                    <a:lnTo>
                      <a:pt x="234" y="16"/>
                    </a:lnTo>
                    <a:lnTo>
                      <a:pt x="234" y="18"/>
                    </a:lnTo>
                    <a:lnTo>
                      <a:pt x="238" y="19"/>
                    </a:lnTo>
                    <a:lnTo>
                      <a:pt x="237" y="23"/>
                    </a:lnTo>
                    <a:lnTo>
                      <a:pt x="235" y="22"/>
                    </a:lnTo>
                    <a:lnTo>
                      <a:pt x="235" y="24"/>
                    </a:lnTo>
                    <a:lnTo>
                      <a:pt x="235" y="25"/>
                    </a:lnTo>
                    <a:lnTo>
                      <a:pt x="237" y="26"/>
                    </a:lnTo>
                    <a:lnTo>
                      <a:pt x="238" y="28"/>
                    </a:lnTo>
                    <a:lnTo>
                      <a:pt x="239" y="28"/>
                    </a:lnTo>
                    <a:lnTo>
                      <a:pt x="240" y="29"/>
                    </a:lnTo>
                    <a:lnTo>
                      <a:pt x="242" y="31"/>
                    </a:lnTo>
                    <a:lnTo>
                      <a:pt x="242" y="33"/>
                    </a:lnTo>
                    <a:lnTo>
                      <a:pt x="244" y="33"/>
                    </a:lnTo>
                    <a:lnTo>
                      <a:pt x="245" y="35"/>
                    </a:lnTo>
                    <a:lnTo>
                      <a:pt x="246" y="35"/>
                    </a:lnTo>
                    <a:lnTo>
                      <a:pt x="246" y="39"/>
                    </a:lnTo>
                    <a:lnTo>
                      <a:pt x="250" y="41"/>
                    </a:lnTo>
                    <a:lnTo>
                      <a:pt x="252" y="41"/>
                    </a:lnTo>
                    <a:lnTo>
                      <a:pt x="252" y="42"/>
                    </a:lnTo>
                    <a:lnTo>
                      <a:pt x="242" y="41"/>
                    </a:lnTo>
                    <a:lnTo>
                      <a:pt x="235" y="43"/>
                    </a:lnTo>
                    <a:lnTo>
                      <a:pt x="229" y="46"/>
                    </a:lnTo>
                    <a:lnTo>
                      <a:pt x="229" y="53"/>
                    </a:lnTo>
                    <a:lnTo>
                      <a:pt x="224" y="57"/>
                    </a:lnTo>
                    <a:lnTo>
                      <a:pt x="210" y="59"/>
                    </a:lnTo>
                    <a:lnTo>
                      <a:pt x="195" y="61"/>
                    </a:lnTo>
                    <a:lnTo>
                      <a:pt x="189" y="64"/>
                    </a:lnTo>
                    <a:lnTo>
                      <a:pt x="183" y="68"/>
                    </a:lnTo>
                    <a:lnTo>
                      <a:pt x="176" y="70"/>
                    </a:lnTo>
                    <a:lnTo>
                      <a:pt x="171" y="75"/>
                    </a:lnTo>
                    <a:lnTo>
                      <a:pt x="171" y="81"/>
                    </a:lnTo>
                    <a:lnTo>
                      <a:pt x="181" y="91"/>
                    </a:lnTo>
                    <a:lnTo>
                      <a:pt x="184" y="97"/>
                    </a:lnTo>
                    <a:lnTo>
                      <a:pt x="183" y="105"/>
                    </a:lnTo>
                    <a:lnTo>
                      <a:pt x="180" y="111"/>
                    </a:lnTo>
                    <a:lnTo>
                      <a:pt x="175" y="116"/>
                    </a:lnTo>
                    <a:lnTo>
                      <a:pt x="169" y="119"/>
                    </a:lnTo>
                    <a:lnTo>
                      <a:pt x="166" y="125"/>
                    </a:lnTo>
                    <a:lnTo>
                      <a:pt x="160" y="129"/>
                    </a:lnTo>
                    <a:lnTo>
                      <a:pt x="154" y="134"/>
                    </a:lnTo>
                    <a:lnTo>
                      <a:pt x="157" y="140"/>
                    </a:lnTo>
                    <a:lnTo>
                      <a:pt x="157" y="146"/>
                    </a:lnTo>
                    <a:lnTo>
                      <a:pt x="150" y="148"/>
                    </a:lnTo>
                    <a:lnTo>
                      <a:pt x="136" y="143"/>
                    </a:lnTo>
                    <a:lnTo>
                      <a:pt x="130" y="145"/>
                    </a:lnTo>
                    <a:lnTo>
                      <a:pt x="116" y="142"/>
                    </a:lnTo>
                    <a:lnTo>
                      <a:pt x="110" y="138"/>
                    </a:lnTo>
                    <a:lnTo>
                      <a:pt x="105" y="133"/>
                    </a:lnTo>
                    <a:lnTo>
                      <a:pt x="102" y="128"/>
                    </a:lnTo>
                    <a:lnTo>
                      <a:pt x="96" y="123"/>
                    </a:lnTo>
                    <a:lnTo>
                      <a:pt x="90" y="128"/>
                    </a:lnTo>
                    <a:lnTo>
                      <a:pt x="87" y="134"/>
                    </a:lnTo>
                    <a:lnTo>
                      <a:pt x="85" y="140"/>
                    </a:lnTo>
                    <a:lnTo>
                      <a:pt x="81" y="146"/>
                    </a:lnTo>
                    <a:lnTo>
                      <a:pt x="74" y="148"/>
                    </a:lnTo>
                    <a:lnTo>
                      <a:pt x="67" y="147"/>
                    </a:lnTo>
                    <a:lnTo>
                      <a:pt x="59" y="148"/>
                    </a:lnTo>
                    <a:lnTo>
                      <a:pt x="53" y="152"/>
                    </a:lnTo>
                    <a:lnTo>
                      <a:pt x="45" y="152"/>
                    </a:lnTo>
                    <a:lnTo>
                      <a:pt x="39" y="149"/>
                    </a:lnTo>
                    <a:lnTo>
                      <a:pt x="36" y="143"/>
                    </a:lnTo>
                    <a:close/>
                  </a:path>
                </a:pathLst>
              </a:custGeom>
              <a:solidFill>
                <a:srgbClr val="E7E7E4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43" name="Austria">
                <a:extLst>
                  <a:ext uri="{FF2B5EF4-FFF2-40B4-BE49-F238E27FC236}">
                    <a16:creationId xmlns:a16="http://schemas.microsoft.com/office/drawing/2014/main" id="{F0F07423-2641-4AFF-B83E-FE99E7BCD604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673129" y="3684476"/>
                <a:ext cx="670289" cy="355060"/>
              </a:xfrm>
              <a:custGeom>
                <a:avLst/>
                <a:gdLst>
                  <a:gd name="T0" fmla="*/ 533 w 597"/>
                  <a:gd name="T1" fmla="*/ 212 h 278"/>
                  <a:gd name="T2" fmla="*/ 546 w 597"/>
                  <a:gd name="T3" fmla="*/ 206 h 278"/>
                  <a:gd name="T4" fmla="*/ 538 w 597"/>
                  <a:gd name="T5" fmla="*/ 192 h 278"/>
                  <a:gd name="T6" fmla="*/ 543 w 597"/>
                  <a:gd name="T7" fmla="*/ 169 h 278"/>
                  <a:gd name="T8" fmla="*/ 558 w 597"/>
                  <a:gd name="T9" fmla="*/ 153 h 278"/>
                  <a:gd name="T10" fmla="*/ 542 w 597"/>
                  <a:gd name="T11" fmla="*/ 141 h 278"/>
                  <a:gd name="T12" fmla="*/ 570 w 597"/>
                  <a:gd name="T13" fmla="*/ 141 h 278"/>
                  <a:gd name="T14" fmla="*/ 588 w 597"/>
                  <a:gd name="T15" fmla="*/ 125 h 278"/>
                  <a:gd name="T16" fmla="*/ 592 w 597"/>
                  <a:gd name="T17" fmla="*/ 104 h 278"/>
                  <a:gd name="T18" fmla="*/ 583 w 597"/>
                  <a:gd name="T19" fmla="*/ 90 h 278"/>
                  <a:gd name="T20" fmla="*/ 573 w 597"/>
                  <a:gd name="T21" fmla="*/ 66 h 278"/>
                  <a:gd name="T22" fmla="*/ 580 w 597"/>
                  <a:gd name="T23" fmla="*/ 42 h 278"/>
                  <a:gd name="T24" fmla="*/ 558 w 597"/>
                  <a:gd name="T25" fmla="*/ 27 h 278"/>
                  <a:gd name="T26" fmla="*/ 531 w 597"/>
                  <a:gd name="T27" fmla="*/ 30 h 278"/>
                  <a:gd name="T28" fmla="*/ 497 w 597"/>
                  <a:gd name="T29" fmla="*/ 19 h 278"/>
                  <a:gd name="T30" fmla="*/ 475 w 597"/>
                  <a:gd name="T31" fmla="*/ 13 h 278"/>
                  <a:gd name="T32" fmla="*/ 448 w 597"/>
                  <a:gd name="T33" fmla="*/ 7 h 278"/>
                  <a:gd name="T34" fmla="*/ 426 w 597"/>
                  <a:gd name="T35" fmla="*/ 5 h 278"/>
                  <a:gd name="T36" fmla="*/ 413 w 597"/>
                  <a:gd name="T37" fmla="*/ 28 h 278"/>
                  <a:gd name="T38" fmla="*/ 398 w 597"/>
                  <a:gd name="T39" fmla="*/ 44 h 278"/>
                  <a:gd name="T40" fmla="*/ 376 w 597"/>
                  <a:gd name="T41" fmla="*/ 49 h 278"/>
                  <a:gd name="T42" fmla="*/ 351 w 597"/>
                  <a:gd name="T43" fmla="*/ 36 h 278"/>
                  <a:gd name="T44" fmla="*/ 336 w 597"/>
                  <a:gd name="T45" fmla="*/ 40 h 278"/>
                  <a:gd name="T46" fmla="*/ 318 w 597"/>
                  <a:gd name="T47" fmla="*/ 48 h 278"/>
                  <a:gd name="T48" fmla="*/ 304 w 597"/>
                  <a:gd name="T49" fmla="*/ 67 h 278"/>
                  <a:gd name="T50" fmla="*/ 255 w 597"/>
                  <a:gd name="T51" fmla="*/ 92 h 278"/>
                  <a:gd name="T52" fmla="*/ 269 w 597"/>
                  <a:gd name="T53" fmla="*/ 118 h 278"/>
                  <a:gd name="T54" fmla="*/ 279 w 597"/>
                  <a:gd name="T55" fmla="*/ 145 h 278"/>
                  <a:gd name="T56" fmla="*/ 270 w 597"/>
                  <a:gd name="T57" fmla="*/ 162 h 278"/>
                  <a:gd name="T58" fmla="*/ 255 w 597"/>
                  <a:gd name="T59" fmla="*/ 149 h 278"/>
                  <a:gd name="T60" fmla="*/ 233 w 597"/>
                  <a:gd name="T61" fmla="*/ 147 h 278"/>
                  <a:gd name="T62" fmla="*/ 209 w 597"/>
                  <a:gd name="T63" fmla="*/ 148 h 278"/>
                  <a:gd name="T64" fmla="*/ 165 w 597"/>
                  <a:gd name="T65" fmla="*/ 151 h 278"/>
                  <a:gd name="T66" fmla="*/ 138 w 597"/>
                  <a:gd name="T67" fmla="*/ 170 h 278"/>
                  <a:gd name="T68" fmla="*/ 109 w 597"/>
                  <a:gd name="T69" fmla="*/ 163 h 278"/>
                  <a:gd name="T70" fmla="*/ 90 w 597"/>
                  <a:gd name="T71" fmla="*/ 155 h 278"/>
                  <a:gd name="T72" fmla="*/ 70 w 597"/>
                  <a:gd name="T73" fmla="*/ 153 h 278"/>
                  <a:gd name="T74" fmla="*/ 64 w 597"/>
                  <a:gd name="T75" fmla="*/ 178 h 278"/>
                  <a:gd name="T76" fmla="*/ 55 w 597"/>
                  <a:gd name="T77" fmla="*/ 173 h 278"/>
                  <a:gd name="T78" fmla="*/ 37 w 597"/>
                  <a:gd name="T79" fmla="*/ 162 h 278"/>
                  <a:gd name="T80" fmla="*/ 20 w 597"/>
                  <a:gd name="T81" fmla="*/ 151 h 278"/>
                  <a:gd name="T82" fmla="*/ 11 w 597"/>
                  <a:gd name="T83" fmla="*/ 172 h 278"/>
                  <a:gd name="T84" fmla="*/ 3 w 597"/>
                  <a:gd name="T85" fmla="*/ 195 h 278"/>
                  <a:gd name="T86" fmla="*/ 21 w 597"/>
                  <a:gd name="T87" fmla="*/ 209 h 278"/>
                  <a:gd name="T88" fmla="*/ 36 w 597"/>
                  <a:gd name="T89" fmla="*/ 223 h 278"/>
                  <a:gd name="T90" fmla="*/ 56 w 597"/>
                  <a:gd name="T91" fmla="*/ 220 h 278"/>
                  <a:gd name="T92" fmla="*/ 74 w 597"/>
                  <a:gd name="T93" fmla="*/ 227 h 278"/>
                  <a:gd name="T94" fmla="*/ 94 w 597"/>
                  <a:gd name="T95" fmla="*/ 234 h 278"/>
                  <a:gd name="T96" fmla="*/ 122 w 597"/>
                  <a:gd name="T97" fmla="*/ 226 h 278"/>
                  <a:gd name="T98" fmla="*/ 157 w 597"/>
                  <a:gd name="T99" fmla="*/ 214 h 278"/>
                  <a:gd name="T100" fmla="*/ 196 w 597"/>
                  <a:gd name="T101" fmla="*/ 207 h 278"/>
                  <a:gd name="T102" fmla="*/ 204 w 597"/>
                  <a:gd name="T103" fmla="*/ 215 h 278"/>
                  <a:gd name="T104" fmla="*/ 217 w 597"/>
                  <a:gd name="T105" fmla="*/ 230 h 278"/>
                  <a:gd name="T106" fmla="*/ 253 w 597"/>
                  <a:gd name="T107" fmla="*/ 250 h 278"/>
                  <a:gd name="T108" fmla="*/ 310 w 597"/>
                  <a:gd name="T109" fmla="*/ 259 h 278"/>
                  <a:gd name="T110" fmla="*/ 350 w 597"/>
                  <a:gd name="T111" fmla="*/ 268 h 278"/>
                  <a:gd name="T112" fmla="*/ 384 w 597"/>
                  <a:gd name="T113" fmla="*/ 274 h 278"/>
                  <a:gd name="T114" fmla="*/ 404 w 597"/>
                  <a:gd name="T115" fmla="*/ 270 h 278"/>
                  <a:gd name="T116" fmla="*/ 436 w 597"/>
                  <a:gd name="T117" fmla="*/ 250 h 278"/>
                  <a:gd name="T118" fmla="*/ 467 w 597"/>
                  <a:gd name="T119" fmla="*/ 254 h 278"/>
                  <a:gd name="T120" fmla="*/ 490 w 597"/>
                  <a:gd name="T121" fmla="*/ 243 h 278"/>
                  <a:gd name="T122" fmla="*/ 505 w 597"/>
                  <a:gd name="T123" fmla="*/ 234 h 27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97"/>
                  <a:gd name="T187" fmla="*/ 0 h 278"/>
                  <a:gd name="T188" fmla="*/ 597 w 597"/>
                  <a:gd name="T189" fmla="*/ 278 h 27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97" h="278">
                    <a:moveTo>
                      <a:pt x="514" y="227"/>
                    </a:moveTo>
                    <a:lnTo>
                      <a:pt x="517" y="226"/>
                    </a:lnTo>
                    <a:lnTo>
                      <a:pt x="521" y="220"/>
                    </a:lnTo>
                    <a:lnTo>
                      <a:pt x="523" y="220"/>
                    </a:lnTo>
                    <a:lnTo>
                      <a:pt x="525" y="218"/>
                    </a:lnTo>
                    <a:lnTo>
                      <a:pt x="525" y="216"/>
                    </a:lnTo>
                    <a:lnTo>
                      <a:pt x="527" y="216"/>
                    </a:lnTo>
                    <a:lnTo>
                      <a:pt x="527" y="214"/>
                    </a:lnTo>
                    <a:lnTo>
                      <a:pt x="528" y="212"/>
                    </a:lnTo>
                    <a:lnTo>
                      <a:pt x="530" y="213"/>
                    </a:lnTo>
                    <a:lnTo>
                      <a:pt x="533" y="212"/>
                    </a:lnTo>
                    <a:lnTo>
                      <a:pt x="535" y="213"/>
                    </a:lnTo>
                    <a:lnTo>
                      <a:pt x="537" y="212"/>
                    </a:lnTo>
                    <a:lnTo>
                      <a:pt x="539" y="214"/>
                    </a:lnTo>
                    <a:lnTo>
                      <a:pt x="540" y="214"/>
                    </a:lnTo>
                    <a:lnTo>
                      <a:pt x="541" y="213"/>
                    </a:lnTo>
                    <a:lnTo>
                      <a:pt x="543" y="214"/>
                    </a:lnTo>
                    <a:lnTo>
                      <a:pt x="545" y="213"/>
                    </a:lnTo>
                    <a:lnTo>
                      <a:pt x="543" y="210"/>
                    </a:lnTo>
                    <a:lnTo>
                      <a:pt x="540" y="210"/>
                    </a:lnTo>
                    <a:lnTo>
                      <a:pt x="546" y="208"/>
                    </a:lnTo>
                    <a:lnTo>
                      <a:pt x="546" y="206"/>
                    </a:lnTo>
                    <a:lnTo>
                      <a:pt x="543" y="206"/>
                    </a:lnTo>
                    <a:lnTo>
                      <a:pt x="542" y="203"/>
                    </a:lnTo>
                    <a:lnTo>
                      <a:pt x="544" y="202"/>
                    </a:lnTo>
                    <a:lnTo>
                      <a:pt x="547" y="199"/>
                    </a:lnTo>
                    <a:lnTo>
                      <a:pt x="546" y="197"/>
                    </a:lnTo>
                    <a:lnTo>
                      <a:pt x="541" y="198"/>
                    </a:lnTo>
                    <a:lnTo>
                      <a:pt x="542" y="195"/>
                    </a:lnTo>
                    <a:lnTo>
                      <a:pt x="541" y="194"/>
                    </a:lnTo>
                    <a:lnTo>
                      <a:pt x="539" y="193"/>
                    </a:lnTo>
                    <a:lnTo>
                      <a:pt x="538" y="192"/>
                    </a:lnTo>
                    <a:lnTo>
                      <a:pt x="540" y="190"/>
                    </a:lnTo>
                    <a:lnTo>
                      <a:pt x="540" y="187"/>
                    </a:lnTo>
                    <a:lnTo>
                      <a:pt x="543" y="185"/>
                    </a:lnTo>
                    <a:lnTo>
                      <a:pt x="544" y="184"/>
                    </a:lnTo>
                    <a:lnTo>
                      <a:pt x="542" y="178"/>
                    </a:lnTo>
                    <a:lnTo>
                      <a:pt x="540" y="176"/>
                    </a:lnTo>
                    <a:lnTo>
                      <a:pt x="541" y="174"/>
                    </a:lnTo>
                    <a:lnTo>
                      <a:pt x="541" y="169"/>
                    </a:lnTo>
                    <a:lnTo>
                      <a:pt x="543" y="169"/>
                    </a:lnTo>
                    <a:lnTo>
                      <a:pt x="545" y="172"/>
                    </a:lnTo>
                    <a:lnTo>
                      <a:pt x="546" y="169"/>
                    </a:lnTo>
                    <a:lnTo>
                      <a:pt x="551" y="169"/>
                    </a:lnTo>
                    <a:lnTo>
                      <a:pt x="554" y="167"/>
                    </a:lnTo>
                    <a:lnTo>
                      <a:pt x="558" y="164"/>
                    </a:lnTo>
                    <a:lnTo>
                      <a:pt x="557" y="160"/>
                    </a:lnTo>
                    <a:lnTo>
                      <a:pt x="560" y="160"/>
                    </a:lnTo>
                    <a:lnTo>
                      <a:pt x="561" y="158"/>
                    </a:lnTo>
                    <a:lnTo>
                      <a:pt x="561" y="156"/>
                    </a:lnTo>
                    <a:lnTo>
                      <a:pt x="559" y="153"/>
                    </a:lnTo>
                    <a:lnTo>
                      <a:pt x="558" y="153"/>
                    </a:lnTo>
                    <a:lnTo>
                      <a:pt x="558" y="151"/>
                    </a:lnTo>
                    <a:lnTo>
                      <a:pt x="558" y="149"/>
                    </a:lnTo>
                    <a:lnTo>
                      <a:pt x="556" y="147"/>
                    </a:lnTo>
                    <a:lnTo>
                      <a:pt x="554" y="146"/>
                    </a:lnTo>
                    <a:lnTo>
                      <a:pt x="552" y="147"/>
                    </a:lnTo>
                    <a:lnTo>
                      <a:pt x="546" y="145"/>
                    </a:lnTo>
                    <a:lnTo>
                      <a:pt x="544" y="145"/>
                    </a:lnTo>
                    <a:lnTo>
                      <a:pt x="539" y="143"/>
                    </a:lnTo>
                    <a:lnTo>
                      <a:pt x="541" y="140"/>
                    </a:lnTo>
                    <a:lnTo>
                      <a:pt x="542" y="141"/>
                    </a:lnTo>
                    <a:lnTo>
                      <a:pt x="548" y="137"/>
                    </a:lnTo>
                    <a:lnTo>
                      <a:pt x="548" y="135"/>
                    </a:lnTo>
                    <a:lnTo>
                      <a:pt x="549" y="133"/>
                    </a:lnTo>
                    <a:lnTo>
                      <a:pt x="553" y="133"/>
                    </a:lnTo>
                    <a:lnTo>
                      <a:pt x="555" y="133"/>
                    </a:lnTo>
                    <a:lnTo>
                      <a:pt x="557" y="135"/>
                    </a:lnTo>
                    <a:lnTo>
                      <a:pt x="562" y="136"/>
                    </a:lnTo>
                    <a:lnTo>
                      <a:pt x="562" y="137"/>
                    </a:lnTo>
                    <a:lnTo>
                      <a:pt x="563" y="139"/>
                    </a:lnTo>
                    <a:lnTo>
                      <a:pt x="565" y="141"/>
                    </a:lnTo>
                    <a:lnTo>
                      <a:pt x="570" y="141"/>
                    </a:lnTo>
                    <a:lnTo>
                      <a:pt x="574" y="137"/>
                    </a:lnTo>
                    <a:lnTo>
                      <a:pt x="574" y="140"/>
                    </a:lnTo>
                    <a:lnTo>
                      <a:pt x="575" y="141"/>
                    </a:lnTo>
                    <a:lnTo>
                      <a:pt x="591" y="138"/>
                    </a:lnTo>
                    <a:lnTo>
                      <a:pt x="589" y="137"/>
                    </a:lnTo>
                    <a:lnTo>
                      <a:pt x="589" y="134"/>
                    </a:lnTo>
                    <a:lnTo>
                      <a:pt x="589" y="131"/>
                    </a:lnTo>
                    <a:lnTo>
                      <a:pt x="588" y="129"/>
                    </a:lnTo>
                    <a:lnTo>
                      <a:pt x="588" y="128"/>
                    </a:lnTo>
                    <a:lnTo>
                      <a:pt x="589" y="127"/>
                    </a:lnTo>
                    <a:lnTo>
                      <a:pt x="588" y="125"/>
                    </a:lnTo>
                    <a:lnTo>
                      <a:pt x="588" y="124"/>
                    </a:lnTo>
                    <a:lnTo>
                      <a:pt x="585" y="122"/>
                    </a:lnTo>
                    <a:lnTo>
                      <a:pt x="591" y="120"/>
                    </a:lnTo>
                    <a:lnTo>
                      <a:pt x="592" y="116"/>
                    </a:lnTo>
                    <a:lnTo>
                      <a:pt x="591" y="115"/>
                    </a:lnTo>
                    <a:lnTo>
                      <a:pt x="593" y="112"/>
                    </a:lnTo>
                    <a:lnTo>
                      <a:pt x="592" y="111"/>
                    </a:lnTo>
                    <a:lnTo>
                      <a:pt x="596" y="107"/>
                    </a:lnTo>
                    <a:lnTo>
                      <a:pt x="597" y="106"/>
                    </a:lnTo>
                    <a:lnTo>
                      <a:pt x="595" y="105"/>
                    </a:lnTo>
                    <a:lnTo>
                      <a:pt x="592" y="104"/>
                    </a:lnTo>
                    <a:lnTo>
                      <a:pt x="591" y="105"/>
                    </a:lnTo>
                    <a:lnTo>
                      <a:pt x="590" y="104"/>
                    </a:lnTo>
                    <a:lnTo>
                      <a:pt x="591" y="102"/>
                    </a:lnTo>
                    <a:lnTo>
                      <a:pt x="590" y="100"/>
                    </a:lnTo>
                    <a:lnTo>
                      <a:pt x="591" y="100"/>
                    </a:lnTo>
                    <a:lnTo>
                      <a:pt x="590" y="98"/>
                    </a:lnTo>
                    <a:lnTo>
                      <a:pt x="591" y="97"/>
                    </a:lnTo>
                    <a:lnTo>
                      <a:pt x="589" y="95"/>
                    </a:lnTo>
                    <a:lnTo>
                      <a:pt x="589" y="92"/>
                    </a:lnTo>
                    <a:lnTo>
                      <a:pt x="587" y="93"/>
                    </a:lnTo>
                    <a:lnTo>
                      <a:pt x="583" y="90"/>
                    </a:lnTo>
                    <a:lnTo>
                      <a:pt x="582" y="89"/>
                    </a:lnTo>
                    <a:lnTo>
                      <a:pt x="582" y="90"/>
                    </a:lnTo>
                    <a:lnTo>
                      <a:pt x="580" y="79"/>
                    </a:lnTo>
                    <a:lnTo>
                      <a:pt x="578" y="78"/>
                    </a:lnTo>
                    <a:lnTo>
                      <a:pt x="576" y="75"/>
                    </a:lnTo>
                    <a:lnTo>
                      <a:pt x="576" y="74"/>
                    </a:lnTo>
                    <a:lnTo>
                      <a:pt x="576" y="73"/>
                    </a:lnTo>
                    <a:lnTo>
                      <a:pt x="574" y="70"/>
                    </a:lnTo>
                    <a:lnTo>
                      <a:pt x="572" y="70"/>
                    </a:lnTo>
                    <a:lnTo>
                      <a:pt x="571" y="68"/>
                    </a:lnTo>
                    <a:lnTo>
                      <a:pt x="573" y="66"/>
                    </a:lnTo>
                    <a:lnTo>
                      <a:pt x="572" y="61"/>
                    </a:lnTo>
                    <a:lnTo>
                      <a:pt x="573" y="58"/>
                    </a:lnTo>
                    <a:lnTo>
                      <a:pt x="575" y="57"/>
                    </a:lnTo>
                    <a:lnTo>
                      <a:pt x="576" y="54"/>
                    </a:lnTo>
                    <a:lnTo>
                      <a:pt x="578" y="54"/>
                    </a:lnTo>
                    <a:lnTo>
                      <a:pt x="578" y="52"/>
                    </a:lnTo>
                    <a:lnTo>
                      <a:pt x="580" y="52"/>
                    </a:lnTo>
                    <a:lnTo>
                      <a:pt x="580" y="50"/>
                    </a:lnTo>
                    <a:lnTo>
                      <a:pt x="579" y="46"/>
                    </a:lnTo>
                    <a:lnTo>
                      <a:pt x="580" y="43"/>
                    </a:lnTo>
                    <a:lnTo>
                      <a:pt x="580" y="42"/>
                    </a:lnTo>
                    <a:lnTo>
                      <a:pt x="578" y="42"/>
                    </a:lnTo>
                    <a:lnTo>
                      <a:pt x="578" y="40"/>
                    </a:lnTo>
                    <a:lnTo>
                      <a:pt x="577" y="36"/>
                    </a:lnTo>
                    <a:lnTo>
                      <a:pt x="578" y="34"/>
                    </a:lnTo>
                    <a:lnTo>
                      <a:pt x="575" y="31"/>
                    </a:lnTo>
                    <a:lnTo>
                      <a:pt x="570" y="32"/>
                    </a:lnTo>
                    <a:lnTo>
                      <a:pt x="567" y="32"/>
                    </a:lnTo>
                    <a:lnTo>
                      <a:pt x="565" y="30"/>
                    </a:lnTo>
                    <a:lnTo>
                      <a:pt x="562" y="29"/>
                    </a:lnTo>
                    <a:lnTo>
                      <a:pt x="559" y="30"/>
                    </a:lnTo>
                    <a:lnTo>
                      <a:pt x="558" y="27"/>
                    </a:lnTo>
                    <a:lnTo>
                      <a:pt x="557" y="25"/>
                    </a:lnTo>
                    <a:lnTo>
                      <a:pt x="552" y="25"/>
                    </a:lnTo>
                    <a:lnTo>
                      <a:pt x="551" y="24"/>
                    </a:lnTo>
                    <a:lnTo>
                      <a:pt x="547" y="22"/>
                    </a:lnTo>
                    <a:lnTo>
                      <a:pt x="546" y="23"/>
                    </a:lnTo>
                    <a:lnTo>
                      <a:pt x="541" y="22"/>
                    </a:lnTo>
                    <a:lnTo>
                      <a:pt x="539" y="25"/>
                    </a:lnTo>
                    <a:lnTo>
                      <a:pt x="538" y="29"/>
                    </a:lnTo>
                    <a:lnTo>
                      <a:pt x="535" y="30"/>
                    </a:lnTo>
                    <a:lnTo>
                      <a:pt x="533" y="29"/>
                    </a:lnTo>
                    <a:lnTo>
                      <a:pt x="531" y="30"/>
                    </a:lnTo>
                    <a:lnTo>
                      <a:pt x="528" y="30"/>
                    </a:lnTo>
                    <a:lnTo>
                      <a:pt x="524" y="30"/>
                    </a:lnTo>
                    <a:lnTo>
                      <a:pt x="518" y="28"/>
                    </a:lnTo>
                    <a:lnTo>
                      <a:pt x="514" y="29"/>
                    </a:lnTo>
                    <a:lnTo>
                      <a:pt x="510" y="28"/>
                    </a:lnTo>
                    <a:lnTo>
                      <a:pt x="503" y="23"/>
                    </a:lnTo>
                    <a:lnTo>
                      <a:pt x="502" y="22"/>
                    </a:lnTo>
                    <a:lnTo>
                      <a:pt x="502" y="20"/>
                    </a:lnTo>
                    <a:lnTo>
                      <a:pt x="500" y="20"/>
                    </a:lnTo>
                    <a:lnTo>
                      <a:pt x="500" y="19"/>
                    </a:lnTo>
                    <a:lnTo>
                      <a:pt x="497" y="19"/>
                    </a:lnTo>
                    <a:lnTo>
                      <a:pt x="498" y="18"/>
                    </a:lnTo>
                    <a:lnTo>
                      <a:pt x="497" y="18"/>
                    </a:lnTo>
                    <a:lnTo>
                      <a:pt x="496" y="17"/>
                    </a:lnTo>
                    <a:lnTo>
                      <a:pt x="495" y="18"/>
                    </a:lnTo>
                    <a:lnTo>
                      <a:pt x="494" y="17"/>
                    </a:lnTo>
                    <a:lnTo>
                      <a:pt x="493" y="15"/>
                    </a:lnTo>
                    <a:lnTo>
                      <a:pt x="489" y="16"/>
                    </a:lnTo>
                    <a:lnTo>
                      <a:pt x="488" y="17"/>
                    </a:lnTo>
                    <a:lnTo>
                      <a:pt x="486" y="18"/>
                    </a:lnTo>
                    <a:lnTo>
                      <a:pt x="481" y="17"/>
                    </a:lnTo>
                    <a:lnTo>
                      <a:pt x="475" y="13"/>
                    </a:lnTo>
                    <a:lnTo>
                      <a:pt x="473" y="13"/>
                    </a:lnTo>
                    <a:lnTo>
                      <a:pt x="472" y="12"/>
                    </a:lnTo>
                    <a:lnTo>
                      <a:pt x="468" y="11"/>
                    </a:lnTo>
                    <a:lnTo>
                      <a:pt x="465" y="7"/>
                    </a:lnTo>
                    <a:lnTo>
                      <a:pt x="461" y="7"/>
                    </a:lnTo>
                    <a:lnTo>
                      <a:pt x="456" y="4"/>
                    </a:lnTo>
                    <a:lnTo>
                      <a:pt x="452" y="5"/>
                    </a:lnTo>
                    <a:lnTo>
                      <a:pt x="451" y="3"/>
                    </a:lnTo>
                    <a:lnTo>
                      <a:pt x="450" y="4"/>
                    </a:lnTo>
                    <a:lnTo>
                      <a:pt x="449" y="5"/>
                    </a:lnTo>
                    <a:lnTo>
                      <a:pt x="448" y="7"/>
                    </a:lnTo>
                    <a:lnTo>
                      <a:pt x="444" y="7"/>
                    </a:lnTo>
                    <a:lnTo>
                      <a:pt x="442" y="8"/>
                    </a:lnTo>
                    <a:lnTo>
                      <a:pt x="440" y="8"/>
                    </a:lnTo>
                    <a:lnTo>
                      <a:pt x="441" y="5"/>
                    </a:lnTo>
                    <a:lnTo>
                      <a:pt x="440" y="2"/>
                    </a:lnTo>
                    <a:lnTo>
                      <a:pt x="434" y="2"/>
                    </a:lnTo>
                    <a:lnTo>
                      <a:pt x="433" y="1"/>
                    </a:lnTo>
                    <a:lnTo>
                      <a:pt x="430" y="0"/>
                    </a:lnTo>
                    <a:lnTo>
                      <a:pt x="427" y="1"/>
                    </a:lnTo>
                    <a:lnTo>
                      <a:pt x="427" y="3"/>
                    </a:lnTo>
                    <a:lnTo>
                      <a:pt x="426" y="5"/>
                    </a:lnTo>
                    <a:lnTo>
                      <a:pt x="427" y="12"/>
                    </a:lnTo>
                    <a:lnTo>
                      <a:pt x="425" y="16"/>
                    </a:lnTo>
                    <a:lnTo>
                      <a:pt x="425" y="18"/>
                    </a:lnTo>
                    <a:lnTo>
                      <a:pt x="424" y="22"/>
                    </a:lnTo>
                    <a:lnTo>
                      <a:pt x="424" y="24"/>
                    </a:lnTo>
                    <a:lnTo>
                      <a:pt x="425" y="25"/>
                    </a:lnTo>
                    <a:lnTo>
                      <a:pt x="425" y="26"/>
                    </a:lnTo>
                    <a:lnTo>
                      <a:pt x="423" y="27"/>
                    </a:lnTo>
                    <a:lnTo>
                      <a:pt x="418" y="25"/>
                    </a:lnTo>
                    <a:lnTo>
                      <a:pt x="413" y="25"/>
                    </a:lnTo>
                    <a:lnTo>
                      <a:pt x="413" y="28"/>
                    </a:lnTo>
                    <a:lnTo>
                      <a:pt x="412" y="29"/>
                    </a:lnTo>
                    <a:lnTo>
                      <a:pt x="412" y="30"/>
                    </a:lnTo>
                    <a:lnTo>
                      <a:pt x="406" y="35"/>
                    </a:lnTo>
                    <a:lnTo>
                      <a:pt x="405" y="38"/>
                    </a:lnTo>
                    <a:lnTo>
                      <a:pt x="406" y="40"/>
                    </a:lnTo>
                    <a:lnTo>
                      <a:pt x="405" y="42"/>
                    </a:lnTo>
                    <a:lnTo>
                      <a:pt x="406" y="44"/>
                    </a:lnTo>
                    <a:lnTo>
                      <a:pt x="404" y="46"/>
                    </a:lnTo>
                    <a:lnTo>
                      <a:pt x="401" y="46"/>
                    </a:lnTo>
                    <a:lnTo>
                      <a:pt x="400" y="44"/>
                    </a:lnTo>
                    <a:lnTo>
                      <a:pt x="398" y="44"/>
                    </a:lnTo>
                    <a:lnTo>
                      <a:pt x="398" y="42"/>
                    </a:lnTo>
                    <a:lnTo>
                      <a:pt x="397" y="42"/>
                    </a:lnTo>
                    <a:lnTo>
                      <a:pt x="393" y="43"/>
                    </a:lnTo>
                    <a:lnTo>
                      <a:pt x="389" y="42"/>
                    </a:lnTo>
                    <a:lnTo>
                      <a:pt x="386" y="40"/>
                    </a:lnTo>
                    <a:lnTo>
                      <a:pt x="385" y="40"/>
                    </a:lnTo>
                    <a:lnTo>
                      <a:pt x="383" y="45"/>
                    </a:lnTo>
                    <a:lnTo>
                      <a:pt x="380" y="46"/>
                    </a:lnTo>
                    <a:lnTo>
                      <a:pt x="379" y="47"/>
                    </a:lnTo>
                    <a:lnTo>
                      <a:pt x="378" y="47"/>
                    </a:lnTo>
                    <a:lnTo>
                      <a:pt x="376" y="49"/>
                    </a:lnTo>
                    <a:lnTo>
                      <a:pt x="375" y="48"/>
                    </a:lnTo>
                    <a:lnTo>
                      <a:pt x="371" y="46"/>
                    </a:lnTo>
                    <a:lnTo>
                      <a:pt x="365" y="45"/>
                    </a:lnTo>
                    <a:lnTo>
                      <a:pt x="354" y="44"/>
                    </a:lnTo>
                    <a:lnTo>
                      <a:pt x="353" y="43"/>
                    </a:lnTo>
                    <a:lnTo>
                      <a:pt x="353" y="41"/>
                    </a:lnTo>
                    <a:lnTo>
                      <a:pt x="351" y="40"/>
                    </a:lnTo>
                    <a:lnTo>
                      <a:pt x="351" y="38"/>
                    </a:lnTo>
                    <a:lnTo>
                      <a:pt x="353" y="38"/>
                    </a:lnTo>
                    <a:lnTo>
                      <a:pt x="354" y="37"/>
                    </a:lnTo>
                    <a:lnTo>
                      <a:pt x="351" y="36"/>
                    </a:lnTo>
                    <a:lnTo>
                      <a:pt x="350" y="33"/>
                    </a:lnTo>
                    <a:lnTo>
                      <a:pt x="346" y="31"/>
                    </a:lnTo>
                    <a:lnTo>
                      <a:pt x="340" y="28"/>
                    </a:lnTo>
                    <a:lnTo>
                      <a:pt x="336" y="26"/>
                    </a:lnTo>
                    <a:lnTo>
                      <a:pt x="336" y="27"/>
                    </a:lnTo>
                    <a:lnTo>
                      <a:pt x="335" y="30"/>
                    </a:lnTo>
                    <a:lnTo>
                      <a:pt x="333" y="31"/>
                    </a:lnTo>
                    <a:lnTo>
                      <a:pt x="336" y="34"/>
                    </a:lnTo>
                    <a:lnTo>
                      <a:pt x="335" y="35"/>
                    </a:lnTo>
                    <a:lnTo>
                      <a:pt x="336" y="40"/>
                    </a:lnTo>
                    <a:lnTo>
                      <a:pt x="336" y="43"/>
                    </a:lnTo>
                    <a:lnTo>
                      <a:pt x="334" y="44"/>
                    </a:lnTo>
                    <a:lnTo>
                      <a:pt x="334" y="46"/>
                    </a:lnTo>
                    <a:lnTo>
                      <a:pt x="333" y="47"/>
                    </a:lnTo>
                    <a:lnTo>
                      <a:pt x="331" y="49"/>
                    </a:lnTo>
                    <a:lnTo>
                      <a:pt x="329" y="48"/>
                    </a:lnTo>
                    <a:lnTo>
                      <a:pt x="329" y="52"/>
                    </a:lnTo>
                    <a:lnTo>
                      <a:pt x="328" y="53"/>
                    </a:lnTo>
                    <a:lnTo>
                      <a:pt x="325" y="52"/>
                    </a:lnTo>
                    <a:lnTo>
                      <a:pt x="322" y="50"/>
                    </a:lnTo>
                    <a:lnTo>
                      <a:pt x="318" y="48"/>
                    </a:lnTo>
                    <a:lnTo>
                      <a:pt x="315" y="48"/>
                    </a:lnTo>
                    <a:lnTo>
                      <a:pt x="312" y="46"/>
                    </a:lnTo>
                    <a:lnTo>
                      <a:pt x="311" y="46"/>
                    </a:lnTo>
                    <a:lnTo>
                      <a:pt x="311" y="48"/>
                    </a:lnTo>
                    <a:lnTo>
                      <a:pt x="308" y="49"/>
                    </a:lnTo>
                    <a:lnTo>
                      <a:pt x="306" y="48"/>
                    </a:lnTo>
                    <a:lnTo>
                      <a:pt x="305" y="49"/>
                    </a:lnTo>
                    <a:lnTo>
                      <a:pt x="307" y="54"/>
                    </a:lnTo>
                    <a:lnTo>
                      <a:pt x="305" y="59"/>
                    </a:lnTo>
                    <a:lnTo>
                      <a:pt x="305" y="62"/>
                    </a:lnTo>
                    <a:lnTo>
                      <a:pt x="304" y="67"/>
                    </a:lnTo>
                    <a:lnTo>
                      <a:pt x="302" y="69"/>
                    </a:lnTo>
                    <a:lnTo>
                      <a:pt x="294" y="76"/>
                    </a:lnTo>
                    <a:lnTo>
                      <a:pt x="291" y="76"/>
                    </a:lnTo>
                    <a:lnTo>
                      <a:pt x="284" y="76"/>
                    </a:lnTo>
                    <a:lnTo>
                      <a:pt x="281" y="79"/>
                    </a:lnTo>
                    <a:lnTo>
                      <a:pt x="273" y="80"/>
                    </a:lnTo>
                    <a:lnTo>
                      <a:pt x="269" y="85"/>
                    </a:lnTo>
                    <a:lnTo>
                      <a:pt x="266" y="86"/>
                    </a:lnTo>
                    <a:lnTo>
                      <a:pt x="261" y="86"/>
                    </a:lnTo>
                    <a:lnTo>
                      <a:pt x="258" y="91"/>
                    </a:lnTo>
                    <a:lnTo>
                      <a:pt x="255" y="92"/>
                    </a:lnTo>
                    <a:lnTo>
                      <a:pt x="254" y="94"/>
                    </a:lnTo>
                    <a:lnTo>
                      <a:pt x="253" y="94"/>
                    </a:lnTo>
                    <a:lnTo>
                      <a:pt x="252" y="97"/>
                    </a:lnTo>
                    <a:lnTo>
                      <a:pt x="253" y="100"/>
                    </a:lnTo>
                    <a:lnTo>
                      <a:pt x="260" y="106"/>
                    </a:lnTo>
                    <a:lnTo>
                      <a:pt x="261" y="111"/>
                    </a:lnTo>
                    <a:lnTo>
                      <a:pt x="265" y="112"/>
                    </a:lnTo>
                    <a:lnTo>
                      <a:pt x="265" y="114"/>
                    </a:lnTo>
                    <a:lnTo>
                      <a:pt x="266" y="114"/>
                    </a:lnTo>
                    <a:lnTo>
                      <a:pt x="266" y="115"/>
                    </a:lnTo>
                    <a:lnTo>
                      <a:pt x="269" y="118"/>
                    </a:lnTo>
                    <a:lnTo>
                      <a:pt x="270" y="121"/>
                    </a:lnTo>
                    <a:lnTo>
                      <a:pt x="272" y="123"/>
                    </a:lnTo>
                    <a:lnTo>
                      <a:pt x="266" y="131"/>
                    </a:lnTo>
                    <a:lnTo>
                      <a:pt x="267" y="133"/>
                    </a:lnTo>
                    <a:lnTo>
                      <a:pt x="264" y="137"/>
                    </a:lnTo>
                    <a:lnTo>
                      <a:pt x="265" y="138"/>
                    </a:lnTo>
                    <a:lnTo>
                      <a:pt x="270" y="138"/>
                    </a:lnTo>
                    <a:lnTo>
                      <a:pt x="272" y="137"/>
                    </a:lnTo>
                    <a:lnTo>
                      <a:pt x="274" y="137"/>
                    </a:lnTo>
                    <a:lnTo>
                      <a:pt x="278" y="141"/>
                    </a:lnTo>
                    <a:lnTo>
                      <a:pt x="279" y="145"/>
                    </a:lnTo>
                    <a:lnTo>
                      <a:pt x="279" y="147"/>
                    </a:lnTo>
                    <a:lnTo>
                      <a:pt x="277" y="148"/>
                    </a:lnTo>
                    <a:lnTo>
                      <a:pt x="277" y="151"/>
                    </a:lnTo>
                    <a:lnTo>
                      <a:pt x="275" y="152"/>
                    </a:lnTo>
                    <a:lnTo>
                      <a:pt x="276" y="154"/>
                    </a:lnTo>
                    <a:lnTo>
                      <a:pt x="274" y="157"/>
                    </a:lnTo>
                    <a:lnTo>
                      <a:pt x="275" y="159"/>
                    </a:lnTo>
                    <a:lnTo>
                      <a:pt x="275" y="161"/>
                    </a:lnTo>
                    <a:lnTo>
                      <a:pt x="273" y="162"/>
                    </a:lnTo>
                    <a:lnTo>
                      <a:pt x="272" y="164"/>
                    </a:lnTo>
                    <a:lnTo>
                      <a:pt x="270" y="162"/>
                    </a:lnTo>
                    <a:lnTo>
                      <a:pt x="269" y="163"/>
                    </a:lnTo>
                    <a:lnTo>
                      <a:pt x="268" y="163"/>
                    </a:lnTo>
                    <a:lnTo>
                      <a:pt x="263" y="160"/>
                    </a:lnTo>
                    <a:lnTo>
                      <a:pt x="262" y="158"/>
                    </a:lnTo>
                    <a:lnTo>
                      <a:pt x="260" y="157"/>
                    </a:lnTo>
                    <a:lnTo>
                      <a:pt x="259" y="155"/>
                    </a:lnTo>
                    <a:lnTo>
                      <a:pt x="258" y="155"/>
                    </a:lnTo>
                    <a:lnTo>
                      <a:pt x="256" y="155"/>
                    </a:lnTo>
                    <a:lnTo>
                      <a:pt x="254" y="151"/>
                    </a:lnTo>
                    <a:lnTo>
                      <a:pt x="255" y="151"/>
                    </a:lnTo>
                    <a:lnTo>
                      <a:pt x="255" y="149"/>
                    </a:lnTo>
                    <a:lnTo>
                      <a:pt x="258" y="148"/>
                    </a:lnTo>
                    <a:lnTo>
                      <a:pt x="256" y="147"/>
                    </a:lnTo>
                    <a:lnTo>
                      <a:pt x="253" y="145"/>
                    </a:lnTo>
                    <a:lnTo>
                      <a:pt x="254" y="142"/>
                    </a:lnTo>
                    <a:lnTo>
                      <a:pt x="252" y="143"/>
                    </a:lnTo>
                    <a:lnTo>
                      <a:pt x="249" y="141"/>
                    </a:lnTo>
                    <a:lnTo>
                      <a:pt x="245" y="141"/>
                    </a:lnTo>
                    <a:lnTo>
                      <a:pt x="240" y="142"/>
                    </a:lnTo>
                    <a:lnTo>
                      <a:pt x="238" y="145"/>
                    </a:lnTo>
                    <a:lnTo>
                      <a:pt x="236" y="145"/>
                    </a:lnTo>
                    <a:lnTo>
                      <a:pt x="233" y="147"/>
                    </a:lnTo>
                    <a:lnTo>
                      <a:pt x="229" y="143"/>
                    </a:lnTo>
                    <a:lnTo>
                      <a:pt x="227" y="139"/>
                    </a:lnTo>
                    <a:lnTo>
                      <a:pt x="223" y="141"/>
                    </a:lnTo>
                    <a:lnTo>
                      <a:pt x="218" y="139"/>
                    </a:lnTo>
                    <a:lnTo>
                      <a:pt x="213" y="141"/>
                    </a:lnTo>
                    <a:lnTo>
                      <a:pt x="212" y="139"/>
                    </a:lnTo>
                    <a:lnTo>
                      <a:pt x="214" y="136"/>
                    </a:lnTo>
                    <a:lnTo>
                      <a:pt x="213" y="135"/>
                    </a:lnTo>
                    <a:lnTo>
                      <a:pt x="207" y="139"/>
                    </a:lnTo>
                    <a:lnTo>
                      <a:pt x="209" y="147"/>
                    </a:lnTo>
                    <a:lnTo>
                      <a:pt x="209" y="148"/>
                    </a:lnTo>
                    <a:lnTo>
                      <a:pt x="208" y="149"/>
                    </a:lnTo>
                    <a:lnTo>
                      <a:pt x="207" y="148"/>
                    </a:lnTo>
                    <a:lnTo>
                      <a:pt x="204" y="149"/>
                    </a:lnTo>
                    <a:lnTo>
                      <a:pt x="198" y="148"/>
                    </a:lnTo>
                    <a:lnTo>
                      <a:pt x="195" y="149"/>
                    </a:lnTo>
                    <a:lnTo>
                      <a:pt x="193" y="147"/>
                    </a:lnTo>
                    <a:lnTo>
                      <a:pt x="182" y="149"/>
                    </a:lnTo>
                    <a:lnTo>
                      <a:pt x="181" y="152"/>
                    </a:lnTo>
                    <a:lnTo>
                      <a:pt x="175" y="151"/>
                    </a:lnTo>
                    <a:lnTo>
                      <a:pt x="168" y="151"/>
                    </a:lnTo>
                    <a:lnTo>
                      <a:pt x="165" y="151"/>
                    </a:lnTo>
                    <a:lnTo>
                      <a:pt x="164" y="152"/>
                    </a:lnTo>
                    <a:lnTo>
                      <a:pt x="162" y="153"/>
                    </a:lnTo>
                    <a:lnTo>
                      <a:pt x="160" y="159"/>
                    </a:lnTo>
                    <a:lnTo>
                      <a:pt x="154" y="160"/>
                    </a:lnTo>
                    <a:lnTo>
                      <a:pt x="149" y="159"/>
                    </a:lnTo>
                    <a:lnTo>
                      <a:pt x="145" y="163"/>
                    </a:lnTo>
                    <a:lnTo>
                      <a:pt x="147" y="164"/>
                    </a:lnTo>
                    <a:lnTo>
                      <a:pt x="147" y="166"/>
                    </a:lnTo>
                    <a:lnTo>
                      <a:pt x="141" y="166"/>
                    </a:lnTo>
                    <a:lnTo>
                      <a:pt x="138" y="168"/>
                    </a:lnTo>
                    <a:lnTo>
                      <a:pt x="138" y="170"/>
                    </a:lnTo>
                    <a:lnTo>
                      <a:pt x="136" y="171"/>
                    </a:lnTo>
                    <a:lnTo>
                      <a:pt x="132" y="171"/>
                    </a:lnTo>
                    <a:lnTo>
                      <a:pt x="133" y="167"/>
                    </a:lnTo>
                    <a:lnTo>
                      <a:pt x="131" y="167"/>
                    </a:lnTo>
                    <a:lnTo>
                      <a:pt x="128" y="168"/>
                    </a:lnTo>
                    <a:lnTo>
                      <a:pt x="123" y="172"/>
                    </a:lnTo>
                    <a:lnTo>
                      <a:pt x="113" y="172"/>
                    </a:lnTo>
                    <a:lnTo>
                      <a:pt x="113" y="171"/>
                    </a:lnTo>
                    <a:lnTo>
                      <a:pt x="113" y="169"/>
                    </a:lnTo>
                    <a:lnTo>
                      <a:pt x="114" y="168"/>
                    </a:lnTo>
                    <a:lnTo>
                      <a:pt x="109" y="163"/>
                    </a:lnTo>
                    <a:lnTo>
                      <a:pt x="109" y="162"/>
                    </a:lnTo>
                    <a:lnTo>
                      <a:pt x="105" y="161"/>
                    </a:lnTo>
                    <a:lnTo>
                      <a:pt x="105" y="160"/>
                    </a:lnTo>
                    <a:lnTo>
                      <a:pt x="108" y="158"/>
                    </a:lnTo>
                    <a:lnTo>
                      <a:pt x="107" y="158"/>
                    </a:lnTo>
                    <a:lnTo>
                      <a:pt x="106" y="156"/>
                    </a:lnTo>
                    <a:lnTo>
                      <a:pt x="100" y="158"/>
                    </a:lnTo>
                    <a:lnTo>
                      <a:pt x="97" y="158"/>
                    </a:lnTo>
                    <a:lnTo>
                      <a:pt x="95" y="156"/>
                    </a:lnTo>
                    <a:lnTo>
                      <a:pt x="93" y="157"/>
                    </a:lnTo>
                    <a:lnTo>
                      <a:pt x="90" y="155"/>
                    </a:lnTo>
                    <a:lnTo>
                      <a:pt x="86" y="154"/>
                    </a:lnTo>
                    <a:lnTo>
                      <a:pt x="84" y="153"/>
                    </a:lnTo>
                    <a:lnTo>
                      <a:pt x="82" y="154"/>
                    </a:lnTo>
                    <a:lnTo>
                      <a:pt x="81" y="157"/>
                    </a:lnTo>
                    <a:lnTo>
                      <a:pt x="77" y="157"/>
                    </a:lnTo>
                    <a:lnTo>
                      <a:pt x="75" y="156"/>
                    </a:lnTo>
                    <a:lnTo>
                      <a:pt x="73" y="155"/>
                    </a:lnTo>
                    <a:lnTo>
                      <a:pt x="74" y="152"/>
                    </a:lnTo>
                    <a:lnTo>
                      <a:pt x="74" y="151"/>
                    </a:lnTo>
                    <a:lnTo>
                      <a:pt x="70" y="153"/>
                    </a:lnTo>
                    <a:lnTo>
                      <a:pt x="72" y="155"/>
                    </a:lnTo>
                    <a:lnTo>
                      <a:pt x="71" y="157"/>
                    </a:lnTo>
                    <a:lnTo>
                      <a:pt x="71" y="159"/>
                    </a:lnTo>
                    <a:lnTo>
                      <a:pt x="70" y="160"/>
                    </a:lnTo>
                    <a:lnTo>
                      <a:pt x="73" y="162"/>
                    </a:lnTo>
                    <a:lnTo>
                      <a:pt x="74" y="167"/>
                    </a:lnTo>
                    <a:lnTo>
                      <a:pt x="70" y="172"/>
                    </a:lnTo>
                    <a:lnTo>
                      <a:pt x="70" y="173"/>
                    </a:lnTo>
                    <a:lnTo>
                      <a:pt x="67" y="174"/>
                    </a:lnTo>
                    <a:lnTo>
                      <a:pt x="66" y="176"/>
                    </a:lnTo>
                    <a:lnTo>
                      <a:pt x="64" y="178"/>
                    </a:lnTo>
                    <a:lnTo>
                      <a:pt x="63" y="180"/>
                    </a:lnTo>
                    <a:lnTo>
                      <a:pt x="55" y="184"/>
                    </a:lnTo>
                    <a:lnTo>
                      <a:pt x="53" y="184"/>
                    </a:lnTo>
                    <a:lnTo>
                      <a:pt x="50" y="184"/>
                    </a:lnTo>
                    <a:lnTo>
                      <a:pt x="51" y="182"/>
                    </a:lnTo>
                    <a:lnTo>
                      <a:pt x="53" y="181"/>
                    </a:lnTo>
                    <a:lnTo>
                      <a:pt x="53" y="179"/>
                    </a:lnTo>
                    <a:lnTo>
                      <a:pt x="55" y="174"/>
                    </a:lnTo>
                    <a:lnTo>
                      <a:pt x="55" y="173"/>
                    </a:lnTo>
                    <a:lnTo>
                      <a:pt x="50" y="172"/>
                    </a:lnTo>
                    <a:lnTo>
                      <a:pt x="49" y="174"/>
                    </a:lnTo>
                    <a:lnTo>
                      <a:pt x="46" y="173"/>
                    </a:lnTo>
                    <a:lnTo>
                      <a:pt x="45" y="175"/>
                    </a:lnTo>
                    <a:lnTo>
                      <a:pt x="43" y="171"/>
                    </a:lnTo>
                    <a:lnTo>
                      <a:pt x="42" y="170"/>
                    </a:lnTo>
                    <a:lnTo>
                      <a:pt x="45" y="168"/>
                    </a:lnTo>
                    <a:lnTo>
                      <a:pt x="44" y="165"/>
                    </a:lnTo>
                    <a:lnTo>
                      <a:pt x="41" y="163"/>
                    </a:lnTo>
                    <a:lnTo>
                      <a:pt x="40" y="161"/>
                    </a:lnTo>
                    <a:lnTo>
                      <a:pt x="37" y="162"/>
                    </a:lnTo>
                    <a:lnTo>
                      <a:pt x="37" y="160"/>
                    </a:lnTo>
                    <a:lnTo>
                      <a:pt x="34" y="157"/>
                    </a:lnTo>
                    <a:lnTo>
                      <a:pt x="34" y="156"/>
                    </a:lnTo>
                    <a:lnTo>
                      <a:pt x="33" y="157"/>
                    </a:lnTo>
                    <a:lnTo>
                      <a:pt x="30" y="157"/>
                    </a:lnTo>
                    <a:lnTo>
                      <a:pt x="27" y="155"/>
                    </a:lnTo>
                    <a:lnTo>
                      <a:pt x="26" y="157"/>
                    </a:lnTo>
                    <a:lnTo>
                      <a:pt x="22" y="155"/>
                    </a:lnTo>
                    <a:lnTo>
                      <a:pt x="23" y="152"/>
                    </a:lnTo>
                    <a:lnTo>
                      <a:pt x="23" y="151"/>
                    </a:lnTo>
                    <a:lnTo>
                      <a:pt x="20" y="151"/>
                    </a:lnTo>
                    <a:lnTo>
                      <a:pt x="17" y="153"/>
                    </a:lnTo>
                    <a:lnTo>
                      <a:pt x="16" y="157"/>
                    </a:lnTo>
                    <a:lnTo>
                      <a:pt x="15" y="157"/>
                    </a:lnTo>
                    <a:lnTo>
                      <a:pt x="6" y="157"/>
                    </a:lnTo>
                    <a:lnTo>
                      <a:pt x="3" y="156"/>
                    </a:lnTo>
                    <a:lnTo>
                      <a:pt x="3" y="160"/>
                    </a:lnTo>
                    <a:lnTo>
                      <a:pt x="2" y="160"/>
                    </a:lnTo>
                    <a:lnTo>
                      <a:pt x="5" y="164"/>
                    </a:lnTo>
                    <a:lnTo>
                      <a:pt x="9" y="165"/>
                    </a:lnTo>
                    <a:lnTo>
                      <a:pt x="9" y="170"/>
                    </a:lnTo>
                    <a:lnTo>
                      <a:pt x="11" y="172"/>
                    </a:lnTo>
                    <a:lnTo>
                      <a:pt x="9" y="174"/>
                    </a:lnTo>
                    <a:lnTo>
                      <a:pt x="6" y="175"/>
                    </a:lnTo>
                    <a:lnTo>
                      <a:pt x="4" y="179"/>
                    </a:lnTo>
                    <a:lnTo>
                      <a:pt x="1" y="182"/>
                    </a:lnTo>
                    <a:lnTo>
                      <a:pt x="0" y="185"/>
                    </a:lnTo>
                    <a:lnTo>
                      <a:pt x="0" y="184"/>
                    </a:lnTo>
                    <a:lnTo>
                      <a:pt x="3" y="187"/>
                    </a:lnTo>
                    <a:lnTo>
                      <a:pt x="2" y="189"/>
                    </a:lnTo>
                    <a:lnTo>
                      <a:pt x="4" y="192"/>
                    </a:lnTo>
                    <a:lnTo>
                      <a:pt x="3" y="195"/>
                    </a:lnTo>
                    <a:lnTo>
                      <a:pt x="7" y="197"/>
                    </a:lnTo>
                    <a:lnTo>
                      <a:pt x="8" y="200"/>
                    </a:lnTo>
                    <a:lnTo>
                      <a:pt x="7" y="201"/>
                    </a:lnTo>
                    <a:lnTo>
                      <a:pt x="8" y="202"/>
                    </a:lnTo>
                    <a:lnTo>
                      <a:pt x="8" y="204"/>
                    </a:lnTo>
                    <a:lnTo>
                      <a:pt x="6" y="206"/>
                    </a:lnTo>
                    <a:lnTo>
                      <a:pt x="6" y="207"/>
                    </a:lnTo>
                    <a:lnTo>
                      <a:pt x="8" y="208"/>
                    </a:lnTo>
                    <a:lnTo>
                      <a:pt x="12" y="206"/>
                    </a:lnTo>
                    <a:lnTo>
                      <a:pt x="15" y="208"/>
                    </a:lnTo>
                    <a:lnTo>
                      <a:pt x="21" y="209"/>
                    </a:lnTo>
                    <a:lnTo>
                      <a:pt x="23" y="211"/>
                    </a:lnTo>
                    <a:lnTo>
                      <a:pt x="27" y="211"/>
                    </a:lnTo>
                    <a:lnTo>
                      <a:pt x="27" y="212"/>
                    </a:lnTo>
                    <a:lnTo>
                      <a:pt x="28" y="214"/>
                    </a:lnTo>
                    <a:lnTo>
                      <a:pt x="27" y="217"/>
                    </a:lnTo>
                    <a:lnTo>
                      <a:pt x="27" y="218"/>
                    </a:lnTo>
                    <a:lnTo>
                      <a:pt x="27" y="220"/>
                    </a:lnTo>
                    <a:lnTo>
                      <a:pt x="30" y="221"/>
                    </a:lnTo>
                    <a:lnTo>
                      <a:pt x="32" y="222"/>
                    </a:lnTo>
                    <a:lnTo>
                      <a:pt x="35" y="222"/>
                    </a:lnTo>
                    <a:lnTo>
                      <a:pt x="36" y="223"/>
                    </a:lnTo>
                    <a:lnTo>
                      <a:pt x="38" y="224"/>
                    </a:lnTo>
                    <a:lnTo>
                      <a:pt x="41" y="226"/>
                    </a:lnTo>
                    <a:lnTo>
                      <a:pt x="41" y="227"/>
                    </a:lnTo>
                    <a:lnTo>
                      <a:pt x="44" y="228"/>
                    </a:lnTo>
                    <a:lnTo>
                      <a:pt x="45" y="229"/>
                    </a:lnTo>
                    <a:lnTo>
                      <a:pt x="50" y="228"/>
                    </a:lnTo>
                    <a:lnTo>
                      <a:pt x="52" y="227"/>
                    </a:lnTo>
                    <a:lnTo>
                      <a:pt x="54" y="226"/>
                    </a:lnTo>
                    <a:lnTo>
                      <a:pt x="55" y="226"/>
                    </a:lnTo>
                    <a:lnTo>
                      <a:pt x="55" y="224"/>
                    </a:lnTo>
                    <a:lnTo>
                      <a:pt x="56" y="220"/>
                    </a:lnTo>
                    <a:lnTo>
                      <a:pt x="61" y="221"/>
                    </a:lnTo>
                    <a:lnTo>
                      <a:pt x="61" y="219"/>
                    </a:lnTo>
                    <a:lnTo>
                      <a:pt x="62" y="218"/>
                    </a:lnTo>
                    <a:lnTo>
                      <a:pt x="64" y="214"/>
                    </a:lnTo>
                    <a:lnTo>
                      <a:pt x="67" y="213"/>
                    </a:lnTo>
                    <a:lnTo>
                      <a:pt x="68" y="213"/>
                    </a:lnTo>
                    <a:lnTo>
                      <a:pt x="70" y="215"/>
                    </a:lnTo>
                    <a:lnTo>
                      <a:pt x="71" y="218"/>
                    </a:lnTo>
                    <a:lnTo>
                      <a:pt x="75" y="220"/>
                    </a:lnTo>
                    <a:lnTo>
                      <a:pt x="73" y="226"/>
                    </a:lnTo>
                    <a:lnTo>
                      <a:pt x="74" y="227"/>
                    </a:lnTo>
                    <a:lnTo>
                      <a:pt x="76" y="229"/>
                    </a:lnTo>
                    <a:lnTo>
                      <a:pt x="80" y="228"/>
                    </a:lnTo>
                    <a:lnTo>
                      <a:pt x="80" y="229"/>
                    </a:lnTo>
                    <a:lnTo>
                      <a:pt x="81" y="229"/>
                    </a:lnTo>
                    <a:lnTo>
                      <a:pt x="89" y="226"/>
                    </a:lnTo>
                    <a:lnTo>
                      <a:pt x="91" y="227"/>
                    </a:lnTo>
                    <a:lnTo>
                      <a:pt x="91" y="228"/>
                    </a:lnTo>
                    <a:lnTo>
                      <a:pt x="97" y="231"/>
                    </a:lnTo>
                    <a:lnTo>
                      <a:pt x="97" y="232"/>
                    </a:lnTo>
                    <a:lnTo>
                      <a:pt x="94" y="234"/>
                    </a:lnTo>
                    <a:lnTo>
                      <a:pt x="95" y="235"/>
                    </a:lnTo>
                    <a:lnTo>
                      <a:pt x="99" y="234"/>
                    </a:lnTo>
                    <a:lnTo>
                      <a:pt x="100" y="236"/>
                    </a:lnTo>
                    <a:lnTo>
                      <a:pt x="103" y="236"/>
                    </a:lnTo>
                    <a:lnTo>
                      <a:pt x="106" y="238"/>
                    </a:lnTo>
                    <a:lnTo>
                      <a:pt x="111" y="236"/>
                    </a:lnTo>
                    <a:lnTo>
                      <a:pt x="116" y="237"/>
                    </a:lnTo>
                    <a:lnTo>
                      <a:pt x="118" y="234"/>
                    </a:lnTo>
                    <a:lnTo>
                      <a:pt x="120" y="232"/>
                    </a:lnTo>
                    <a:lnTo>
                      <a:pt x="120" y="228"/>
                    </a:lnTo>
                    <a:lnTo>
                      <a:pt x="122" y="226"/>
                    </a:lnTo>
                    <a:lnTo>
                      <a:pt x="122" y="222"/>
                    </a:lnTo>
                    <a:lnTo>
                      <a:pt x="124" y="221"/>
                    </a:lnTo>
                    <a:lnTo>
                      <a:pt x="127" y="219"/>
                    </a:lnTo>
                    <a:lnTo>
                      <a:pt x="128" y="217"/>
                    </a:lnTo>
                    <a:lnTo>
                      <a:pt x="142" y="214"/>
                    </a:lnTo>
                    <a:lnTo>
                      <a:pt x="145" y="216"/>
                    </a:lnTo>
                    <a:lnTo>
                      <a:pt x="147" y="216"/>
                    </a:lnTo>
                    <a:lnTo>
                      <a:pt x="150" y="215"/>
                    </a:lnTo>
                    <a:lnTo>
                      <a:pt x="152" y="212"/>
                    </a:lnTo>
                    <a:lnTo>
                      <a:pt x="155" y="212"/>
                    </a:lnTo>
                    <a:lnTo>
                      <a:pt x="157" y="214"/>
                    </a:lnTo>
                    <a:lnTo>
                      <a:pt x="164" y="212"/>
                    </a:lnTo>
                    <a:lnTo>
                      <a:pt x="166" y="213"/>
                    </a:lnTo>
                    <a:lnTo>
                      <a:pt x="170" y="214"/>
                    </a:lnTo>
                    <a:lnTo>
                      <a:pt x="172" y="216"/>
                    </a:lnTo>
                    <a:lnTo>
                      <a:pt x="174" y="216"/>
                    </a:lnTo>
                    <a:lnTo>
                      <a:pt x="176" y="214"/>
                    </a:lnTo>
                    <a:lnTo>
                      <a:pt x="180" y="214"/>
                    </a:lnTo>
                    <a:lnTo>
                      <a:pt x="187" y="210"/>
                    </a:lnTo>
                    <a:lnTo>
                      <a:pt x="193" y="208"/>
                    </a:lnTo>
                    <a:lnTo>
                      <a:pt x="195" y="208"/>
                    </a:lnTo>
                    <a:lnTo>
                      <a:pt x="196" y="207"/>
                    </a:lnTo>
                    <a:lnTo>
                      <a:pt x="199" y="207"/>
                    </a:lnTo>
                    <a:lnTo>
                      <a:pt x="201" y="205"/>
                    </a:lnTo>
                    <a:lnTo>
                      <a:pt x="203" y="205"/>
                    </a:lnTo>
                    <a:lnTo>
                      <a:pt x="208" y="204"/>
                    </a:lnTo>
                    <a:lnTo>
                      <a:pt x="211" y="204"/>
                    </a:lnTo>
                    <a:lnTo>
                      <a:pt x="211" y="205"/>
                    </a:lnTo>
                    <a:lnTo>
                      <a:pt x="211" y="206"/>
                    </a:lnTo>
                    <a:lnTo>
                      <a:pt x="209" y="210"/>
                    </a:lnTo>
                    <a:lnTo>
                      <a:pt x="203" y="212"/>
                    </a:lnTo>
                    <a:lnTo>
                      <a:pt x="203" y="213"/>
                    </a:lnTo>
                    <a:lnTo>
                      <a:pt x="204" y="215"/>
                    </a:lnTo>
                    <a:lnTo>
                      <a:pt x="204" y="217"/>
                    </a:lnTo>
                    <a:lnTo>
                      <a:pt x="206" y="220"/>
                    </a:lnTo>
                    <a:lnTo>
                      <a:pt x="204" y="222"/>
                    </a:lnTo>
                    <a:lnTo>
                      <a:pt x="208" y="223"/>
                    </a:lnTo>
                    <a:lnTo>
                      <a:pt x="210" y="226"/>
                    </a:lnTo>
                    <a:lnTo>
                      <a:pt x="212" y="225"/>
                    </a:lnTo>
                    <a:lnTo>
                      <a:pt x="213" y="225"/>
                    </a:lnTo>
                    <a:lnTo>
                      <a:pt x="215" y="226"/>
                    </a:lnTo>
                    <a:lnTo>
                      <a:pt x="215" y="227"/>
                    </a:lnTo>
                    <a:lnTo>
                      <a:pt x="216" y="228"/>
                    </a:lnTo>
                    <a:lnTo>
                      <a:pt x="217" y="230"/>
                    </a:lnTo>
                    <a:lnTo>
                      <a:pt x="215" y="233"/>
                    </a:lnTo>
                    <a:lnTo>
                      <a:pt x="216" y="234"/>
                    </a:lnTo>
                    <a:lnTo>
                      <a:pt x="215" y="236"/>
                    </a:lnTo>
                    <a:lnTo>
                      <a:pt x="221" y="237"/>
                    </a:lnTo>
                    <a:lnTo>
                      <a:pt x="223" y="243"/>
                    </a:lnTo>
                    <a:lnTo>
                      <a:pt x="227" y="246"/>
                    </a:lnTo>
                    <a:lnTo>
                      <a:pt x="233" y="247"/>
                    </a:lnTo>
                    <a:lnTo>
                      <a:pt x="237" y="249"/>
                    </a:lnTo>
                    <a:lnTo>
                      <a:pt x="247" y="249"/>
                    </a:lnTo>
                    <a:lnTo>
                      <a:pt x="251" y="251"/>
                    </a:lnTo>
                    <a:lnTo>
                      <a:pt x="253" y="250"/>
                    </a:lnTo>
                    <a:lnTo>
                      <a:pt x="258" y="253"/>
                    </a:lnTo>
                    <a:lnTo>
                      <a:pt x="259" y="254"/>
                    </a:lnTo>
                    <a:lnTo>
                      <a:pt x="282" y="256"/>
                    </a:lnTo>
                    <a:lnTo>
                      <a:pt x="288" y="259"/>
                    </a:lnTo>
                    <a:lnTo>
                      <a:pt x="290" y="260"/>
                    </a:lnTo>
                    <a:lnTo>
                      <a:pt x="296" y="260"/>
                    </a:lnTo>
                    <a:lnTo>
                      <a:pt x="301" y="258"/>
                    </a:lnTo>
                    <a:lnTo>
                      <a:pt x="303" y="258"/>
                    </a:lnTo>
                    <a:lnTo>
                      <a:pt x="304" y="259"/>
                    </a:lnTo>
                    <a:lnTo>
                      <a:pt x="306" y="260"/>
                    </a:lnTo>
                    <a:lnTo>
                      <a:pt x="310" y="259"/>
                    </a:lnTo>
                    <a:lnTo>
                      <a:pt x="311" y="260"/>
                    </a:lnTo>
                    <a:lnTo>
                      <a:pt x="314" y="260"/>
                    </a:lnTo>
                    <a:lnTo>
                      <a:pt x="316" y="262"/>
                    </a:lnTo>
                    <a:lnTo>
                      <a:pt x="319" y="261"/>
                    </a:lnTo>
                    <a:lnTo>
                      <a:pt x="323" y="263"/>
                    </a:lnTo>
                    <a:lnTo>
                      <a:pt x="327" y="263"/>
                    </a:lnTo>
                    <a:lnTo>
                      <a:pt x="328" y="263"/>
                    </a:lnTo>
                    <a:lnTo>
                      <a:pt x="335" y="265"/>
                    </a:lnTo>
                    <a:lnTo>
                      <a:pt x="337" y="264"/>
                    </a:lnTo>
                    <a:lnTo>
                      <a:pt x="343" y="264"/>
                    </a:lnTo>
                    <a:lnTo>
                      <a:pt x="350" y="268"/>
                    </a:lnTo>
                    <a:lnTo>
                      <a:pt x="352" y="266"/>
                    </a:lnTo>
                    <a:lnTo>
                      <a:pt x="356" y="267"/>
                    </a:lnTo>
                    <a:lnTo>
                      <a:pt x="356" y="268"/>
                    </a:lnTo>
                    <a:lnTo>
                      <a:pt x="358" y="268"/>
                    </a:lnTo>
                    <a:lnTo>
                      <a:pt x="362" y="273"/>
                    </a:lnTo>
                    <a:lnTo>
                      <a:pt x="367" y="272"/>
                    </a:lnTo>
                    <a:lnTo>
                      <a:pt x="368" y="273"/>
                    </a:lnTo>
                    <a:lnTo>
                      <a:pt x="371" y="272"/>
                    </a:lnTo>
                    <a:lnTo>
                      <a:pt x="375" y="273"/>
                    </a:lnTo>
                    <a:lnTo>
                      <a:pt x="383" y="272"/>
                    </a:lnTo>
                    <a:lnTo>
                      <a:pt x="384" y="274"/>
                    </a:lnTo>
                    <a:lnTo>
                      <a:pt x="387" y="275"/>
                    </a:lnTo>
                    <a:lnTo>
                      <a:pt x="390" y="274"/>
                    </a:lnTo>
                    <a:lnTo>
                      <a:pt x="392" y="276"/>
                    </a:lnTo>
                    <a:lnTo>
                      <a:pt x="392" y="278"/>
                    </a:lnTo>
                    <a:lnTo>
                      <a:pt x="393" y="278"/>
                    </a:lnTo>
                    <a:lnTo>
                      <a:pt x="394" y="278"/>
                    </a:lnTo>
                    <a:lnTo>
                      <a:pt x="395" y="277"/>
                    </a:lnTo>
                    <a:lnTo>
                      <a:pt x="395" y="273"/>
                    </a:lnTo>
                    <a:lnTo>
                      <a:pt x="402" y="271"/>
                    </a:lnTo>
                    <a:lnTo>
                      <a:pt x="403" y="269"/>
                    </a:lnTo>
                    <a:lnTo>
                      <a:pt x="404" y="270"/>
                    </a:lnTo>
                    <a:lnTo>
                      <a:pt x="406" y="266"/>
                    </a:lnTo>
                    <a:lnTo>
                      <a:pt x="412" y="265"/>
                    </a:lnTo>
                    <a:lnTo>
                      <a:pt x="414" y="259"/>
                    </a:lnTo>
                    <a:lnTo>
                      <a:pt x="417" y="254"/>
                    </a:lnTo>
                    <a:lnTo>
                      <a:pt x="421" y="254"/>
                    </a:lnTo>
                    <a:lnTo>
                      <a:pt x="424" y="252"/>
                    </a:lnTo>
                    <a:lnTo>
                      <a:pt x="426" y="254"/>
                    </a:lnTo>
                    <a:lnTo>
                      <a:pt x="429" y="251"/>
                    </a:lnTo>
                    <a:lnTo>
                      <a:pt x="431" y="250"/>
                    </a:lnTo>
                    <a:lnTo>
                      <a:pt x="434" y="250"/>
                    </a:lnTo>
                    <a:lnTo>
                      <a:pt x="436" y="250"/>
                    </a:lnTo>
                    <a:lnTo>
                      <a:pt x="437" y="250"/>
                    </a:lnTo>
                    <a:lnTo>
                      <a:pt x="438" y="250"/>
                    </a:lnTo>
                    <a:lnTo>
                      <a:pt x="441" y="250"/>
                    </a:lnTo>
                    <a:lnTo>
                      <a:pt x="443" y="250"/>
                    </a:lnTo>
                    <a:lnTo>
                      <a:pt x="448" y="251"/>
                    </a:lnTo>
                    <a:lnTo>
                      <a:pt x="451" y="250"/>
                    </a:lnTo>
                    <a:lnTo>
                      <a:pt x="460" y="250"/>
                    </a:lnTo>
                    <a:lnTo>
                      <a:pt x="462" y="252"/>
                    </a:lnTo>
                    <a:lnTo>
                      <a:pt x="463" y="252"/>
                    </a:lnTo>
                    <a:lnTo>
                      <a:pt x="464" y="253"/>
                    </a:lnTo>
                    <a:lnTo>
                      <a:pt x="467" y="254"/>
                    </a:lnTo>
                    <a:lnTo>
                      <a:pt x="470" y="252"/>
                    </a:lnTo>
                    <a:lnTo>
                      <a:pt x="470" y="248"/>
                    </a:lnTo>
                    <a:lnTo>
                      <a:pt x="475" y="247"/>
                    </a:lnTo>
                    <a:lnTo>
                      <a:pt x="476" y="247"/>
                    </a:lnTo>
                    <a:lnTo>
                      <a:pt x="478" y="246"/>
                    </a:lnTo>
                    <a:lnTo>
                      <a:pt x="478" y="244"/>
                    </a:lnTo>
                    <a:lnTo>
                      <a:pt x="484" y="245"/>
                    </a:lnTo>
                    <a:lnTo>
                      <a:pt x="487" y="245"/>
                    </a:lnTo>
                    <a:lnTo>
                      <a:pt x="490" y="243"/>
                    </a:lnTo>
                    <a:lnTo>
                      <a:pt x="495" y="242"/>
                    </a:lnTo>
                    <a:lnTo>
                      <a:pt x="502" y="246"/>
                    </a:lnTo>
                    <a:lnTo>
                      <a:pt x="505" y="247"/>
                    </a:lnTo>
                    <a:lnTo>
                      <a:pt x="508" y="249"/>
                    </a:lnTo>
                    <a:lnTo>
                      <a:pt x="509" y="249"/>
                    </a:lnTo>
                    <a:lnTo>
                      <a:pt x="509" y="247"/>
                    </a:lnTo>
                    <a:lnTo>
                      <a:pt x="508" y="245"/>
                    </a:lnTo>
                    <a:lnTo>
                      <a:pt x="508" y="243"/>
                    </a:lnTo>
                    <a:lnTo>
                      <a:pt x="506" y="243"/>
                    </a:lnTo>
                    <a:lnTo>
                      <a:pt x="505" y="241"/>
                    </a:lnTo>
                    <a:lnTo>
                      <a:pt x="505" y="234"/>
                    </a:lnTo>
                    <a:lnTo>
                      <a:pt x="505" y="233"/>
                    </a:lnTo>
                    <a:lnTo>
                      <a:pt x="504" y="231"/>
                    </a:lnTo>
                    <a:lnTo>
                      <a:pt x="511" y="230"/>
                    </a:lnTo>
                    <a:lnTo>
                      <a:pt x="511" y="228"/>
                    </a:lnTo>
                    <a:lnTo>
                      <a:pt x="514" y="227"/>
                    </a:lnTo>
                    <a:close/>
                  </a:path>
                </a:pathLst>
              </a:custGeom>
              <a:solidFill>
                <a:srgbClr val="E7E7E4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44" name="Czech Republic">
                <a:extLst>
                  <a:ext uri="{FF2B5EF4-FFF2-40B4-BE49-F238E27FC236}">
                    <a16:creationId xmlns:a16="http://schemas.microsoft.com/office/drawing/2014/main" id="{58F153B0-07B3-443F-870D-49BB116F3A4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898201" y="3412765"/>
                <a:ext cx="593075" cy="336722"/>
              </a:xfrm>
              <a:custGeom>
                <a:avLst/>
                <a:gdLst>
                  <a:gd name="T0" fmla="*/ 441 w 529"/>
                  <a:gd name="T1" fmla="*/ 232 h 263"/>
                  <a:gd name="T2" fmla="*/ 494 w 529"/>
                  <a:gd name="T3" fmla="*/ 180 h 263"/>
                  <a:gd name="T4" fmla="*/ 527 w 529"/>
                  <a:gd name="T5" fmla="*/ 157 h 263"/>
                  <a:gd name="T6" fmla="*/ 511 w 529"/>
                  <a:gd name="T7" fmla="*/ 138 h 263"/>
                  <a:gd name="T8" fmla="*/ 501 w 529"/>
                  <a:gd name="T9" fmla="*/ 122 h 263"/>
                  <a:gd name="T10" fmla="*/ 478 w 529"/>
                  <a:gd name="T11" fmla="*/ 114 h 263"/>
                  <a:gd name="T12" fmla="*/ 462 w 529"/>
                  <a:gd name="T13" fmla="*/ 106 h 263"/>
                  <a:gd name="T14" fmla="*/ 448 w 529"/>
                  <a:gd name="T15" fmla="*/ 110 h 263"/>
                  <a:gd name="T16" fmla="*/ 435 w 529"/>
                  <a:gd name="T17" fmla="*/ 100 h 263"/>
                  <a:gd name="T18" fmla="*/ 441 w 529"/>
                  <a:gd name="T19" fmla="*/ 83 h 263"/>
                  <a:gd name="T20" fmla="*/ 420 w 529"/>
                  <a:gd name="T21" fmla="*/ 83 h 263"/>
                  <a:gd name="T22" fmla="*/ 409 w 529"/>
                  <a:gd name="T23" fmla="*/ 78 h 263"/>
                  <a:gd name="T24" fmla="*/ 383 w 529"/>
                  <a:gd name="T25" fmla="*/ 66 h 263"/>
                  <a:gd name="T26" fmla="*/ 385 w 529"/>
                  <a:gd name="T27" fmla="*/ 81 h 263"/>
                  <a:gd name="T28" fmla="*/ 380 w 529"/>
                  <a:gd name="T29" fmla="*/ 88 h 263"/>
                  <a:gd name="T30" fmla="*/ 355 w 529"/>
                  <a:gd name="T31" fmla="*/ 100 h 263"/>
                  <a:gd name="T32" fmla="*/ 333 w 529"/>
                  <a:gd name="T33" fmla="*/ 71 h 263"/>
                  <a:gd name="T34" fmla="*/ 327 w 529"/>
                  <a:gd name="T35" fmla="*/ 60 h 263"/>
                  <a:gd name="T36" fmla="*/ 340 w 529"/>
                  <a:gd name="T37" fmla="*/ 50 h 263"/>
                  <a:gd name="T38" fmla="*/ 318 w 529"/>
                  <a:gd name="T39" fmla="*/ 42 h 263"/>
                  <a:gd name="T40" fmla="*/ 305 w 529"/>
                  <a:gd name="T41" fmla="*/ 39 h 263"/>
                  <a:gd name="T42" fmla="*/ 281 w 529"/>
                  <a:gd name="T43" fmla="*/ 33 h 263"/>
                  <a:gd name="T44" fmla="*/ 256 w 529"/>
                  <a:gd name="T45" fmla="*/ 27 h 263"/>
                  <a:gd name="T46" fmla="*/ 249 w 529"/>
                  <a:gd name="T47" fmla="*/ 8 h 263"/>
                  <a:gd name="T48" fmla="*/ 232 w 529"/>
                  <a:gd name="T49" fmla="*/ 3 h 263"/>
                  <a:gd name="T50" fmla="*/ 228 w 529"/>
                  <a:gd name="T51" fmla="*/ 11 h 263"/>
                  <a:gd name="T52" fmla="*/ 217 w 529"/>
                  <a:gd name="T53" fmla="*/ 20 h 263"/>
                  <a:gd name="T54" fmla="*/ 200 w 529"/>
                  <a:gd name="T55" fmla="*/ 13 h 263"/>
                  <a:gd name="T56" fmla="*/ 189 w 529"/>
                  <a:gd name="T57" fmla="*/ 1 h 263"/>
                  <a:gd name="T58" fmla="*/ 171 w 529"/>
                  <a:gd name="T59" fmla="*/ 4 h 263"/>
                  <a:gd name="T60" fmla="*/ 180 w 529"/>
                  <a:gd name="T61" fmla="*/ 14 h 263"/>
                  <a:gd name="T62" fmla="*/ 154 w 529"/>
                  <a:gd name="T63" fmla="*/ 25 h 263"/>
                  <a:gd name="T64" fmla="*/ 141 w 529"/>
                  <a:gd name="T65" fmla="*/ 33 h 263"/>
                  <a:gd name="T66" fmla="*/ 114 w 529"/>
                  <a:gd name="T67" fmla="*/ 36 h 263"/>
                  <a:gd name="T68" fmla="*/ 101 w 529"/>
                  <a:gd name="T69" fmla="*/ 44 h 263"/>
                  <a:gd name="T70" fmla="*/ 82 w 529"/>
                  <a:gd name="T71" fmla="*/ 58 h 263"/>
                  <a:gd name="T72" fmla="*/ 56 w 529"/>
                  <a:gd name="T73" fmla="*/ 63 h 263"/>
                  <a:gd name="T74" fmla="*/ 33 w 529"/>
                  <a:gd name="T75" fmla="*/ 70 h 263"/>
                  <a:gd name="T76" fmla="*/ 18 w 529"/>
                  <a:gd name="T77" fmla="*/ 86 h 263"/>
                  <a:gd name="T78" fmla="*/ 8 w 529"/>
                  <a:gd name="T79" fmla="*/ 82 h 263"/>
                  <a:gd name="T80" fmla="*/ 0 w 529"/>
                  <a:gd name="T81" fmla="*/ 85 h 263"/>
                  <a:gd name="T82" fmla="*/ 18 w 529"/>
                  <a:gd name="T83" fmla="*/ 108 h 263"/>
                  <a:gd name="T84" fmla="*/ 35 w 529"/>
                  <a:gd name="T85" fmla="*/ 120 h 263"/>
                  <a:gd name="T86" fmla="*/ 26 w 529"/>
                  <a:gd name="T87" fmla="*/ 140 h 263"/>
                  <a:gd name="T88" fmla="*/ 38 w 529"/>
                  <a:gd name="T89" fmla="*/ 155 h 263"/>
                  <a:gd name="T90" fmla="*/ 48 w 529"/>
                  <a:gd name="T91" fmla="*/ 172 h 263"/>
                  <a:gd name="T92" fmla="*/ 66 w 529"/>
                  <a:gd name="T93" fmla="*/ 181 h 263"/>
                  <a:gd name="T94" fmla="*/ 87 w 529"/>
                  <a:gd name="T95" fmla="*/ 204 h 263"/>
                  <a:gd name="T96" fmla="*/ 109 w 529"/>
                  <a:gd name="T97" fmla="*/ 222 h 263"/>
                  <a:gd name="T98" fmla="*/ 128 w 529"/>
                  <a:gd name="T99" fmla="*/ 229 h 263"/>
                  <a:gd name="T100" fmla="*/ 150 w 529"/>
                  <a:gd name="T101" fmla="*/ 247 h 263"/>
                  <a:gd name="T102" fmla="*/ 170 w 529"/>
                  <a:gd name="T103" fmla="*/ 260 h 263"/>
                  <a:gd name="T104" fmla="*/ 193 w 529"/>
                  <a:gd name="T105" fmla="*/ 257 h 263"/>
                  <a:gd name="T106" fmla="*/ 205 w 529"/>
                  <a:gd name="T107" fmla="*/ 252 h 263"/>
                  <a:gd name="T108" fmla="*/ 224 w 529"/>
                  <a:gd name="T109" fmla="*/ 238 h 263"/>
                  <a:gd name="T110" fmla="*/ 233 w 529"/>
                  <a:gd name="T111" fmla="*/ 216 h 263"/>
                  <a:gd name="T112" fmla="*/ 251 w 529"/>
                  <a:gd name="T113" fmla="*/ 219 h 263"/>
                  <a:gd name="T114" fmla="*/ 287 w 529"/>
                  <a:gd name="T115" fmla="*/ 231 h 263"/>
                  <a:gd name="T116" fmla="*/ 299 w 529"/>
                  <a:gd name="T117" fmla="*/ 234 h 263"/>
                  <a:gd name="T118" fmla="*/ 332 w 529"/>
                  <a:gd name="T119" fmla="*/ 243 h 263"/>
                  <a:gd name="T120" fmla="*/ 358 w 529"/>
                  <a:gd name="T121" fmla="*/ 241 h 263"/>
                  <a:gd name="T122" fmla="*/ 377 w 529"/>
                  <a:gd name="T123" fmla="*/ 256 h 263"/>
                  <a:gd name="T124" fmla="*/ 396 w 529"/>
                  <a:gd name="T125" fmla="*/ 232 h 263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529"/>
                  <a:gd name="T190" fmla="*/ 0 h 263"/>
                  <a:gd name="T191" fmla="*/ 529 w 529"/>
                  <a:gd name="T192" fmla="*/ 263 h 263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529" h="263">
                    <a:moveTo>
                      <a:pt x="396" y="232"/>
                    </a:moveTo>
                    <a:lnTo>
                      <a:pt x="400" y="230"/>
                    </a:lnTo>
                    <a:lnTo>
                      <a:pt x="403" y="232"/>
                    </a:lnTo>
                    <a:lnTo>
                      <a:pt x="407" y="233"/>
                    </a:lnTo>
                    <a:lnTo>
                      <a:pt x="407" y="237"/>
                    </a:lnTo>
                    <a:lnTo>
                      <a:pt x="410" y="239"/>
                    </a:lnTo>
                    <a:lnTo>
                      <a:pt x="417" y="242"/>
                    </a:lnTo>
                    <a:lnTo>
                      <a:pt x="424" y="243"/>
                    </a:lnTo>
                    <a:lnTo>
                      <a:pt x="431" y="240"/>
                    </a:lnTo>
                    <a:lnTo>
                      <a:pt x="441" y="232"/>
                    </a:lnTo>
                    <a:lnTo>
                      <a:pt x="450" y="222"/>
                    </a:lnTo>
                    <a:lnTo>
                      <a:pt x="455" y="218"/>
                    </a:lnTo>
                    <a:lnTo>
                      <a:pt x="462" y="216"/>
                    </a:lnTo>
                    <a:lnTo>
                      <a:pt x="469" y="215"/>
                    </a:lnTo>
                    <a:lnTo>
                      <a:pt x="476" y="213"/>
                    </a:lnTo>
                    <a:lnTo>
                      <a:pt x="479" y="207"/>
                    </a:lnTo>
                    <a:lnTo>
                      <a:pt x="480" y="201"/>
                    </a:lnTo>
                    <a:lnTo>
                      <a:pt x="484" y="188"/>
                    </a:lnTo>
                    <a:lnTo>
                      <a:pt x="488" y="183"/>
                    </a:lnTo>
                    <a:lnTo>
                      <a:pt x="494" y="180"/>
                    </a:lnTo>
                    <a:lnTo>
                      <a:pt x="501" y="179"/>
                    </a:lnTo>
                    <a:lnTo>
                      <a:pt x="506" y="174"/>
                    </a:lnTo>
                    <a:lnTo>
                      <a:pt x="508" y="168"/>
                    </a:lnTo>
                    <a:lnTo>
                      <a:pt x="512" y="163"/>
                    </a:lnTo>
                    <a:lnTo>
                      <a:pt x="518" y="161"/>
                    </a:lnTo>
                    <a:lnTo>
                      <a:pt x="528" y="161"/>
                    </a:lnTo>
                    <a:lnTo>
                      <a:pt x="528" y="162"/>
                    </a:lnTo>
                    <a:lnTo>
                      <a:pt x="528" y="161"/>
                    </a:lnTo>
                    <a:lnTo>
                      <a:pt x="529" y="159"/>
                    </a:lnTo>
                    <a:lnTo>
                      <a:pt x="527" y="157"/>
                    </a:lnTo>
                    <a:lnTo>
                      <a:pt x="527" y="154"/>
                    </a:lnTo>
                    <a:lnTo>
                      <a:pt x="524" y="148"/>
                    </a:lnTo>
                    <a:lnTo>
                      <a:pt x="525" y="145"/>
                    </a:lnTo>
                    <a:lnTo>
                      <a:pt x="522" y="145"/>
                    </a:lnTo>
                    <a:lnTo>
                      <a:pt x="519" y="145"/>
                    </a:lnTo>
                    <a:lnTo>
                      <a:pt x="518" y="145"/>
                    </a:lnTo>
                    <a:lnTo>
                      <a:pt x="517" y="143"/>
                    </a:lnTo>
                    <a:lnTo>
                      <a:pt x="512" y="142"/>
                    </a:lnTo>
                    <a:lnTo>
                      <a:pt x="511" y="140"/>
                    </a:lnTo>
                    <a:lnTo>
                      <a:pt x="511" y="138"/>
                    </a:lnTo>
                    <a:lnTo>
                      <a:pt x="506" y="129"/>
                    </a:lnTo>
                    <a:lnTo>
                      <a:pt x="507" y="128"/>
                    </a:lnTo>
                    <a:lnTo>
                      <a:pt x="507" y="127"/>
                    </a:lnTo>
                    <a:lnTo>
                      <a:pt x="509" y="126"/>
                    </a:lnTo>
                    <a:lnTo>
                      <a:pt x="507" y="125"/>
                    </a:lnTo>
                    <a:lnTo>
                      <a:pt x="507" y="120"/>
                    </a:lnTo>
                    <a:lnTo>
                      <a:pt x="504" y="119"/>
                    </a:lnTo>
                    <a:lnTo>
                      <a:pt x="504" y="121"/>
                    </a:lnTo>
                    <a:lnTo>
                      <a:pt x="501" y="122"/>
                    </a:lnTo>
                    <a:lnTo>
                      <a:pt x="496" y="119"/>
                    </a:lnTo>
                    <a:lnTo>
                      <a:pt x="496" y="118"/>
                    </a:lnTo>
                    <a:lnTo>
                      <a:pt x="491" y="119"/>
                    </a:lnTo>
                    <a:lnTo>
                      <a:pt x="489" y="117"/>
                    </a:lnTo>
                    <a:lnTo>
                      <a:pt x="488" y="119"/>
                    </a:lnTo>
                    <a:lnTo>
                      <a:pt x="486" y="120"/>
                    </a:lnTo>
                    <a:lnTo>
                      <a:pt x="484" y="119"/>
                    </a:lnTo>
                    <a:lnTo>
                      <a:pt x="483" y="115"/>
                    </a:lnTo>
                    <a:lnTo>
                      <a:pt x="478" y="114"/>
                    </a:lnTo>
                    <a:lnTo>
                      <a:pt x="477" y="112"/>
                    </a:lnTo>
                    <a:lnTo>
                      <a:pt x="472" y="112"/>
                    </a:lnTo>
                    <a:lnTo>
                      <a:pt x="470" y="111"/>
                    </a:lnTo>
                    <a:lnTo>
                      <a:pt x="469" y="110"/>
                    </a:lnTo>
                    <a:lnTo>
                      <a:pt x="470" y="108"/>
                    </a:lnTo>
                    <a:lnTo>
                      <a:pt x="468" y="108"/>
                    </a:lnTo>
                    <a:lnTo>
                      <a:pt x="469" y="107"/>
                    </a:lnTo>
                    <a:lnTo>
                      <a:pt x="467" y="106"/>
                    </a:lnTo>
                    <a:lnTo>
                      <a:pt x="465" y="104"/>
                    </a:lnTo>
                    <a:lnTo>
                      <a:pt x="462" y="106"/>
                    </a:lnTo>
                    <a:lnTo>
                      <a:pt x="463" y="108"/>
                    </a:lnTo>
                    <a:lnTo>
                      <a:pt x="465" y="108"/>
                    </a:lnTo>
                    <a:lnTo>
                      <a:pt x="465" y="110"/>
                    </a:lnTo>
                    <a:lnTo>
                      <a:pt x="462" y="110"/>
                    </a:lnTo>
                    <a:lnTo>
                      <a:pt x="461" y="110"/>
                    </a:lnTo>
                    <a:lnTo>
                      <a:pt x="459" y="110"/>
                    </a:lnTo>
                    <a:lnTo>
                      <a:pt x="456" y="113"/>
                    </a:lnTo>
                    <a:lnTo>
                      <a:pt x="454" y="114"/>
                    </a:lnTo>
                    <a:lnTo>
                      <a:pt x="449" y="112"/>
                    </a:lnTo>
                    <a:lnTo>
                      <a:pt x="448" y="110"/>
                    </a:lnTo>
                    <a:lnTo>
                      <a:pt x="446" y="110"/>
                    </a:lnTo>
                    <a:lnTo>
                      <a:pt x="444" y="107"/>
                    </a:lnTo>
                    <a:lnTo>
                      <a:pt x="443" y="103"/>
                    </a:lnTo>
                    <a:lnTo>
                      <a:pt x="441" y="102"/>
                    </a:lnTo>
                    <a:lnTo>
                      <a:pt x="441" y="101"/>
                    </a:lnTo>
                    <a:lnTo>
                      <a:pt x="442" y="100"/>
                    </a:lnTo>
                    <a:lnTo>
                      <a:pt x="440" y="100"/>
                    </a:lnTo>
                    <a:lnTo>
                      <a:pt x="437" y="98"/>
                    </a:lnTo>
                    <a:lnTo>
                      <a:pt x="437" y="100"/>
                    </a:lnTo>
                    <a:lnTo>
                      <a:pt x="435" y="100"/>
                    </a:lnTo>
                    <a:lnTo>
                      <a:pt x="433" y="97"/>
                    </a:lnTo>
                    <a:lnTo>
                      <a:pt x="432" y="96"/>
                    </a:lnTo>
                    <a:lnTo>
                      <a:pt x="430" y="94"/>
                    </a:lnTo>
                    <a:lnTo>
                      <a:pt x="431" y="93"/>
                    </a:lnTo>
                    <a:lnTo>
                      <a:pt x="437" y="92"/>
                    </a:lnTo>
                    <a:lnTo>
                      <a:pt x="440" y="91"/>
                    </a:lnTo>
                    <a:lnTo>
                      <a:pt x="440" y="90"/>
                    </a:lnTo>
                    <a:lnTo>
                      <a:pt x="443" y="89"/>
                    </a:lnTo>
                    <a:lnTo>
                      <a:pt x="443" y="86"/>
                    </a:lnTo>
                    <a:lnTo>
                      <a:pt x="441" y="83"/>
                    </a:lnTo>
                    <a:lnTo>
                      <a:pt x="442" y="80"/>
                    </a:lnTo>
                    <a:lnTo>
                      <a:pt x="441" y="79"/>
                    </a:lnTo>
                    <a:lnTo>
                      <a:pt x="440" y="77"/>
                    </a:lnTo>
                    <a:lnTo>
                      <a:pt x="438" y="77"/>
                    </a:lnTo>
                    <a:lnTo>
                      <a:pt x="438" y="80"/>
                    </a:lnTo>
                    <a:lnTo>
                      <a:pt x="435" y="82"/>
                    </a:lnTo>
                    <a:lnTo>
                      <a:pt x="432" y="83"/>
                    </a:lnTo>
                    <a:lnTo>
                      <a:pt x="430" y="82"/>
                    </a:lnTo>
                    <a:lnTo>
                      <a:pt x="421" y="82"/>
                    </a:lnTo>
                    <a:lnTo>
                      <a:pt x="420" y="83"/>
                    </a:lnTo>
                    <a:lnTo>
                      <a:pt x="419" y="85"/>
                    </a:lnTo>
                    <a:lnTo>
                      <a:pt x="417" y="84"/>
                    </a:lnTo>
                    <a:lnTo>
                      <a:pt x="417" y="82"/>
                    </a:lnTo>
                    <a:lnTo>
                      <a:pt x="415" y="82"/>
                    </a:lnTo>
                    <a:lnTo>
                      <a:pt x="413" y="82"/>
                    </a:lnTo>
                    <a:lnTo>
                      <a:pt x="412" y="83"/>
                    </a:lnTo>
                    <a:lnTo>
                      <a:pt x="411" y="83"/>
                    </a:lnTo>
                    <a:lnTo>
                      <a:pt x="411" y="81"/>
                    </a:lnTo>
                    <a:lnTo>
                      <a:pt x="411" y="79"/>
                    </a:lnTo>
                    <a:lnTo>
                      <a:pt x="409" y="78"/>
                    </a:lnTo>
                    <a:lnTo>
                      <a:pt x="411" y="77"/>
                    </a:lnTo>
                    <a:lnTo>
                      <a:pt x="405" y="77"/>
                    </a:lnTo>
                    <a:lnTo>
                      <a:pt x="399" y="73"/>
                    </a:lnTo>
                    <a:lnTo>
                      <a:pt x="399" y="72"/>
                    </a:lnTo>
                    <a:lnTo>
                      <a:pt x="399" y="70"/>
                    </a:lnTo>
                    <a:lnTo>
                      <a:pt x="396" y="71"/>
                    </a:lnTo>
                    <a:lnTo>
                      <a:pt x="393" y="69"/>
                    </a:lnTo>
                    <a:lnTo>
                      <a:pt x="392" y="68"/>
                    </a:lnTo>
                    <a:lnTo>
                      <a:pt x="387" y="68"/>
                    </a:lnTo>
                    <a:lnTo>
                      <a:pt x="383" y="66"/>
                    </a:lnTo>
                    <a:lnTo>
                      <a:pt x="381" y="67"/>
                    </a:lnTo>
                    <a:lnTo>
                      <a:pt x="377" y="64"/>
                    </a:lnTo>
                    <a:lnTo>
                      <a:pt x="375" y="65"/>
                    </a:lnTo>
                    <a:lnTo>
                      <a:pt x="373" y="68"/>
                    </a:lnTo>
                    <a:lnTo>
                      <a:pt x="377" y="71"/>
                    </a:lnTo>
                    <a:lnTo>
                      <a:pt x="377" y="74"/>
                    </a:lnTo>
                    <a:lnTo>
                      <a:pt x="379" y="75"/>
                    </a:lnTo>
                    <a:lnTo>
                      <a:pt x="379" y="77"/>
                    </a:lnTo>
                    <a:lnTo>
                      <a:pt x="381" y="78"/>
                    </a:lnTo>
                    <a:lnTo>
                      <a:pt x="385" y="81"/>
                    </a:lnTo>
                    <a:lnTo>
                      <a:pt x="385" y="83"/>
                    </a:lnTo>
                    <a:lnTo>
                      <a:pt x="384" y="84"/>
                    </a:lnTo>
                    <a:lnTo>
                      <a:pt x="385" y="86"/>
                    </a:lnTo>
                    <a:lnTo>
                      <a:pt x="385" y="88"/>
                    </a:lnTo>
                    <a:lnTo>
                      <a:pt x="383" y="88"/>
                    </a:lnTo>
                    <a:lnTo>
                      <a:pt x="383" y="86"/>
                    </a:lnTo>
                    <a:lnTo>
                      <a:pt x="382" y="86"/>
                    </a:lnTo>
                    <a:lnTo>
                      <a:pt x="380" y="86"/>
                    </a:lnTo>
                    <a:lnTo>
                      <a:pt x="381" y="87"/>
                    </a:lnTo>
                    <a:lnTo>
                      <a:pt x="380" y="88"/>
                    </a:lnTo>
                    <a:lnTo>
                      <a:pt x="376" y="88"/>
                    </a:lnTo>
                    <a:lnTo>
                      <a:pt x="374" y="90"/>
                    </a:lnTo>
                    <a:lnTo>
                      <a:pt x="372" y="90"/>
                    </a:lnTo>
                    <a:lnTo>
                      <a:pt x="371" y="91"/>
                    </a:lnTo>
                    <a:lnTo>
                      <a:pt x="369" y="92"/>
                    </a:lnTo>
                    <a:lnTo>
                      <a:pt x="366" y="95"/>
                    </a:lnTo>
                    <a:lnTo>
                      <a:pt x="367" y="96"/>
                    </a:lnTo>
                    <a:lnTo>
                      <a:pt x="364" y="97"/>
                    </a:lnTo>
                    <a:lnTo>
                      <a:pt x="362" y="100"/>
                    </a:lnTo>
                    <a:lnTo>
                      <a:pt x="355" y="100"/>
                    </a:lnTo>
                    <a:lnTo>
                      <a:pt x="353" y="98"/>
                    </a:lnTo>
                    <a:lnTo>
                      <a:pt x="349" y="94"/>
                    </a:lnTo>
                    <a:lnTo>
                      <a:pt x="349" y="90"/>
                    </a:lnTo>
                    <a:lnTo>
                      <a:pt x="348" y="87"/>
                    </a:lnTo>
                    <a:lnTo>
                      <a:pt x="346" y="86"/>
                    </a:lnTo>
                    <a:lnTo>
                      <a:pt x="339" y="77"/>
                    </a:lnTo>
                    <a:lnTo>
                      <a:pt x="335" y="77"/>
                    </a:lnTo>
                    <a:lnTo>
                      <a:pt x="334" y="75"/>
                    </a:lnTo>
                    <a:lnTo>
                      <a:pt x="334" y="73"/>
                    </a:lnTo>
                    <a:lnTo>
                      <a:pt x="333" y="71"/>
                    </a:lnTo>
                    <a:lnTo>
                      <a:pt x="330" y="71"/>
                    </a:lnTo>
                    <a:lnTo>
                      <a:pt x="327" y="72"/>
                    </a:lnTo>
                    <a:lnTo>
                      <a:pt x="326" y="71"/>
                    </a:lnTo>
                    <a:lnTo>
                      <a:pt x="325" y="68"/>
                    </a:lnTo>
                    <a:lnTo>
                      <a:pt x="322" y="68"/>
                    </a:lnTo>
                    <a:lnTo>
                      <a:pt x="321" y="66"/>
                    </a:lnTo>
                    <a:lnTo>
                      <a:pt x="322" y="64"/>
                    </a:lnTo>
                    <a:lnTo>
                      <a:pt x="324" y="64"/>
                    </a:lnTo>
                    <a:lnTo>
                      <a:pt x="323" y="63"/>
                    </a:lnTo>
                    <a:lnTo>
                      <a:pt x="327" y="60"/>
                    </a:lnTo>
                    <a:lnTo>
                      <a:pt x="328" y="60"/>
                    </a:lnTo>
                    <a:lnTo>
                      <a:pt x="330" y="57"/>
                    </a:lnTo>
                    <a:lnTo>
                      <a:pt x="333" y="59"/>
                    </a:lnTo>
                    <a:lnTo>
                      <a:pt x="334" y="58"/>
                    </a:lnTo>
                    <a:lnTo>
                      <a:pt x="337" y="56"/>
                    </a:lnTo>
                    <a:lnTo>
                      <a:pt x="336" y="54"/>
                    </a:lnTo>
                    <a:lnTo>
                      <a:pt x="338" y="52"/>
                    </a:lnTo>
                    <a:lnTo>
                      <a:pt x="338" y="51"/>
                    </a:lnTo>
                    <a:lnTo>
                      <a:pt x="340" y="51"/>
                    </a:lnTo>
                    <a:lnTo>
                      <a:pt x="340" y="50"/>
                    </a:lnTo>
                    <a:lnTo>
                      <a:pt x="338" y="47"/>
                    </a:lnTo>
                    <a:lnTo>
                      <a:pt x="335" y="45"/>
                    </a:lnTo>
                    <a:lnTo>
                      <a:pt x="332" y="41"/>
                    </a:lnTo>
                    <a:lnTo>
                      <a:pt x="330" y="41"/>
                    </a:lnTo>
                    <a:lnTo>
                      <a:pt x="327" y="41"/>
                    </a:lnTo>
                    <a:lnTo>
                      <a:pt x="324" y="40"/>
                    </a:lnTo>
                    <a:lnTo>
                      <a:pt x="322" y="44"/>
                    </a:lnTo>
                    <a:lnTo>
                      <a:pt x="319" y="45"/>
                    </a:lnTo>
                    <a:lnTo>
                      <a:pt x="319" y="44"/>
                    </a:lnTo>
                    <a:lnTo>
                      <a:pt x="318" y="42"/>
                    </a:lnTo>
                    <a:lnTo>
                      <a:pt x="314" y="41"/>
                    </a:lnTo>
                    <a:lnTo>
                      <a:pt x="311" y="44"/>
                    </a:lnTo>
                    <a:lnTo>
                      <a:pt x="310" y="47"/>
                    </a:lnTo>
                    <a:lnTo>
                      <a:pt x="306" y="47"/>
                    </a:lnTo>
                    <a:lnTo>
                      <a:pt x="305" y="47"/>
                    </a:lnTo>
                    <a:lnTo>
                      <a:pt x="305" y="46"/>
                    </a:lnTo>
                    <a:lnTo>
                      <a:pt x="307" y="45"/>
                    </a:lnTo>
                    <a:lnTo>
                      <a:pt x="306" y="43"/>
                    </a:lnTo>
                    <a:lnTo>
                      <a:pt x="306" y="41"/>
                    </a:lnTo>
                    <a:lnTo>
                      <a:pt x="305" y="39"/>
                    </a:lnTo>
                    <a:lnTo>
                      <a:pt x="302" y="38"/>
                    </a:lnTo>
                    <a:lnTo>
                      <a:pt x="295" y="40"/>
                    </a:lnTo>
                    <a:lnTo>
                      <a:pt x="294" y="36"/>
                    </a:lnTo>
                    <a:lnTo>
                      <a:pt x="291" y="35"/>
                    </a:lnTo>
                    <a:lnTo>
                      <a:pt x="291" y="32"/>
                    </a:lnTo>
                    <a:lnTo>
                      <a:pt x="290" y="32"/>
                    </a:lnTo>
                    <a:lnTo>
                      <a:pt x="288" y="33"/>
                    </a:lnTo>
                    <a:lnTo>
                      <a:pt x="285" y="33"/>
                    </a:lnTo>
                    <a:lnTo>
                      <a:pt x="281" y="33"/>
                    </a:lnTo>
                    <a:lnTo>
                      <a:pt x="280" y="32"/>
                    </a:lnTo>
                    <a:lnTo>
                      <a:pt x="278" y="31"/>
                    </a:lnTo>
                    <a:lnTo>
                      <a:pt x="277" y="31"/>
                    </a:lnTo>
                    <a:lnTo>
                      <a:pt x="275" y="29"/>
                    </a:lnTo>
                    <a:lnTo>
                      <a:pt x="267" y="29"/>
                    </a:lnTo>
                    <a:lnTo>
                      <a:pt x="263" y="27"/>
                    </a:lnTo>
                    <a:lnTo>
                      <a:pt x="261" y="25"/>
                    </a:lnTo>
                    <a:lnTo>
                      <a:pt x="258" y="29"/>
                    </a:lnTo>
                    <a:lnTo>
                      <a:pt x="257" y="29"/>
                    </a:lnTo>
                    <a:lnTo>
                      <a:pt x="256" y="27"/>
                    </a:lnTo>
                    <a:lnTo>
                      <a:pt x="256" y="24"/>
                    </a:lnTo>
                    <a:lnTo>
                      <a:pt x="256" y="22"/>
                    </a:lnTo>
                    <a:lnTo>
                      <a:pt x="251" y="21"/>
                    </a:lnTo>
                    <a:lnTo>
                      <a:pt x="249" y="17"/>
                    </a:lnTo>
                    <a:lnTo>
                      <a:pt x="248" y="14"/>
                    </a:lnTo>
                    <a:lnTo>
                      <a:pt x="248" y="13"/>
                    </a:lnTo>
                    <a:lnTo>
                      <a:pt x="250" y="11"/>
                    </a:lnTo>
                    <a:lnTo>
                      <a:pt x="250" y="10"/>
                    </a:lnTo>
                    <a:lnTo>
                      <a:pt x="249" y="9"/>
                    </a:lnTo>
                    <a:lnTo>
                      <a:pt x="249" y="8"/>
                    </a:lnTo>
                    <a:lnTo>
                      <a:pt x="246" y="8"/>
                    </a:lnTo>
                    <a:lnTo>
                      <a:pt x="246" y="6"/>
                    </a:lnTo>
                    <a:lnTo>
                      <a:pt x="241" y="7"/>
                    </a:lnTo>
                    <a:lnTo>
                      <a:pt x="240" y="3"/>
                    </a:lnTo>
                    <a:lnTo>
                      <a:pt x="238" y="4"/>
                    </a:lnTo>
                    <a:lnTo>
                      <a:pt x="238" y="7"/>
                    </a:lnTo>
                    <a:lnTo>
                      <a:pt x="237" y="7"/>
                    </a:lnTo>
                    <a:lnTo>
                      <a:pt x="235" y="6"/>
                    </a:lnTo>
                    <a:lnTo>
                      <a:pt x="235" y="5"/>
                    </a:lnTo>
                    <a:lnTo>
                      <a:pt x="232" y="3"/>
                    </a:lnTo>
                    <a:lnTo>
                      <a:pt x="231" y="5"/>
                    </a:lnTo>
                    <a:lnTo>
                      <a:pt x="230" y="4"/>
                    </a:lnTo>
                    <a:lnTo>
                      <a:pt x="229" y="3"/>
                    </a:lnTo>
                    <a:lnTo>
                      <a:pt x="228" y="4"/>
                    </a:lnTo>
                    <a:lnTo>
                      <a:pt x="226" y="5"/>
                    </a:lnTo>
                    <a:lnTo>
                      <a:pt x="225" y="6"/>
                    </a:lnTo>
                    <a:lnTo>
                      <a:pt x="226" y="7"/>
                    </a:lnTo>
                    <a:lnTo>
                      <a:pt x="228" y="7"/>
                    </a:lnTo>
                    <a:lnTo>
                      <a:pt x="228" y="9"/>
                    </a:lnTo>
                    <a:lnTo>
                      <a:pt x="228" y="11"/>
                    </a:lnTo>
                    <a:lnTo>
                      <a:pt x="228" y="13"/>
                    </a:lnTo>
                    <a:lnTo>
                      <a:pt x="226" y="15"/>
                    </a:lnTo>
                    <a:lnTo>
                      <a:pt x="227" y="15"/>
                    </a:lnTo>
                    <a:lnTo>
                      <a:pt x="227" y="17"/>
                    </a:lnTo>
                    <a:lnTo>
                      <a:pt x="227" y="19"/>
                    </a:lnTo>
                    <a:lnTo>
                      <a:pt x="223" y="20"/>
                    </a:lnTo>
                    <a:lnTo>
                      <a:pt x="220" y="19"/>
                    </a:lnTo>
                    <a:lnTo>
                      <a:pt x="219" y="19"/>
                    </a:lnTo>
                    <a:lnTo>
                      <a:pt x="217" y="19"/>
                    </a:lnTo>
                    <a:lnTo>
                      <a:pt x="217" y="20"/>
                    </a:lnTo>
                    <a:lnTo>
                      <a:pt x="214" y="19"/>
                    </a:lnTo>
                    <a:lnTo>
                      <a:pt x="211" y="24"/>
                    </a:lnTo>
                    <a:lnTo>
                      <a:pt x="209" y="25"/>
                    </a:lnTo>
                    <a:lnTo>
                      <a:pt x="205" y="24"/>
                    </a:lnTo>
                    <a:lnTo>
                      <a:pt x="205" y="23"/>
                    </a:lnTo>
                    <a:lnTo>
                      <a:pt x="198" y="21"/>
                    </a:lnTo>
                    <a:lnTo>
                      <a:pt x="197" y="20"/>
                    </a:lnTo>
                    <a:lnTo>
                      <a:pt x="199" y="16"/>
                    </a:lnTo>
                    <a:lnTo>
                      <a:pt x="200" y="15"/>
                    </a:lnTo>
                    <a:lnTo>
                      <a:pt x="200" y="13"/>
                    </a:lnTo>
                    <a:lnTo>
                      <a:pt x="195" y="15"/>
                    </a:lnTo>
                    <a:lnTo>
                      <a:pt x="193" y="14"/>
                    </a:lnTo>
                    <a:lnTo>
                      <a:pt x="195" y="10"/>
                    </a:lnTo>
                    <a:lnTo>
                      <a:pt x="196" y="7"/>
                    </a:lnTo>
                    <a:lnTo>
                      <a:pt x="194" y="7"/>
                    </a:lnTo>
                    <a:lnTo>
                      <a:pt x="193" y="5"/>
                    </a:lnTo>
                    <a:lnTo>
                      <a:pt x="191" y="5"/>
                    </a:lnTo>
                    <a:lnTo>
                      <a:pt x="191" y="4"/>
                    </a:lnTo>
                    <a:lnTo>
                      <a:pt x="188" y="3"/>
                    </a:lnTo>
                    <a:lnTo>
                      <a:pt x="189" y="1"/>
                    </a:lnTo>
                    <a:lnTo>
                      <a:pt x="187" y="1"/>
                    </a:lnTo>
                    <a:lnTo>
                      <a:pt x="187" y="3"/>
                    </a:lnTo>
                    <a:lnTo>
                      <a:pt x="184" y="2"/>
                    </a:lnTo>
                    <a:lnTo>
                      <a:pt x="181" y="3"/>
                    </a:lnTo>
                    <a:lnTo>
                      <a:pt x="179" y="3"/>
                    </a:lnTo>
                    <a:lnTo>
                      <a:pt x="178" y="1"/>
                    </a:lnTo>
                    <a:lnTo>
                      <a:pt x="176" y="1"/>
                    </a:lnTo>
                    <a:lnTo>
                      <a:pt x="173" y="0"/>
                    </a:lnTo>
                    <a:lnTo>
                      <a:pt x="171" y="1"/>
                    </a:lnTo>
                    <a:lnTo>
                      <a:pt x="171" y="4"/>
                    </a:lnTo>
                    <a:lnTo>
                      <a:pt x="169" y="5"/>
                    </a:lnTo>
                    <a:lnTo>
                      <a:pt x="170" y="5"/>
                    </a:lnTo>
                    <a:lnTo>
                      <a:pt x="169" y="7"/>
                    </a:lnTo>
                    <a:lnTo>
                      <a:pt x="171" y="8"/>
                    </a:lnTo>
                    <a:lnTo>
                      <a:pt x="174" y="7"/>
                    </a:lnTo>
                    <a:lnTo>
                      <a:pt x="174" y="9"/>
                    </a:lnTo>
                    <a:lnTo>
                      <a:pt x="173" y="9"/>
                    </a:lnTo>
                    <a:lnTo>
                      <a:pt x="174" y="11"/>
                    </a:lnTo>
                    <a:lnTo>
                      <a:pt x="180" y="13"/>
                    </a:lnTo>
                    <a:lnTo>
                      <a:pt x="180" y="14"/>
                    </a:lnTo>
                    <a:lnTo>
                      <a:pt x="179" y="17"/>
                    </a:lnTo>
                    <a:lnTo>
                      <a:pt x="177" y="17"/>
                    </a:lnTo>
                    <a:lnTo>
                      <a:pt x="173" y="18"/>
                    </a:lnTo>
                    <a:lnTo>
                      <a:pt x="170" y="17"/>
                    </a:lnTo>
                    <a:lnTo>
                      <a:pt x="168" y="17"/>
                    </a:lnTo>
                    <a:lnTo>
                      <a:pt x="167" y="19"/>
                    </a:lnTo>
                    <a:lnTo>
                      <a:pt x="164" y="21"/>
                    </a:lnTo>
                    <a:lnTo>
                      <a:pt x="161" y="22"/>
                    </a:lnTo>
                    <a:lnTo>
                      <a:pt x="156" y="25"/>
                    </a:lnTo>
                    <a:lnTo>
                      <a:pt x="154" y="25"/>
                    </a:lnTo>
                    <a:lnTo>
                      <a:pt x="151" y="26"/>
                    </a:lnTo>
                    <a:lnTo>
                      <a:pt x="151" y="25"/>
                    </a:lnTo>
                    <a:lnTo>
                      <a:pt x="150" y="26"/>
                    </a:lnTo>
                    <a:lnTo>
                      <a:pt x="148" y="25"/>
                    </a:lnTo>
                    <a:lnTo>
                      <a:pt x="146" y="26"/>
                    </a:lnTo>
                    <a:lnTo>
                      <a:pt x="145" y="28"/>
                    </a:lnTo>
                    <a:lnTo>
                      <a:pt x="142" y="27"/>
                    </a:lnTo>
                    <a:lnTo>
                      <a:pt x="140" y="30"/>
                    </a:lnTo>
                    <a:lnTo>
                      <a:pt x="141" y="32"/>
                    </a:lnTo>
                    <a:lnTo>
                      <a:pt x="141" y="33"/>
                    </a:lnTo>
                    <a:lnTo>
                      <a:pt x="139" y="33"/>
                    </a:lnTo>
                    <a:lnTo>
                      <a:pt x="138" y="35"/>
                    </a:lnTo>
                    <a:lnTo>
                      <a:pt x="131" y="33"/>
                    </a:lnTo>
                    <a:lnTo>
                      <a:pt x="129" y="34"/>
                    </a:lnTo>
                    <a:lnTo>
                      <a:pt x="128" y="34"/>
                    </a:lnTo>
                    <a:lnTo>
                      <a:pt x="126" y="35"/>
                    </a:lnTo>
                    <a:lnTo>
                      <a:pt x="122" y="34"/>
                    </a:lnTo>
                    <a:lnTo>
                      <a:pt x="120" y="35"/>
                    </a:lnTo>
                    <a:lnTo>
                      <a:pt x="119" y="36"/>
                    </a:lnTo>
                    <a:lnTo>
                      <a:pt x="114" y="36"/>
                    </a:lnTo>
                    <a:lnTo>
                      <a:pt x="112" y="38"/>
                    </a:lnTo>
                    <a:lnTo>
                      <a:pt x="113" y="39"/>
                    </a:lnTo>
                    <a:lnTo>
                      <a:pt x="113" y="40"/>
                    </a:lnTo>
                    <a:lnTo>
                      <a:pt x="110" y="42"/>
                    </a:lnTo>
                    <a:lnTo>
                      <a:pt x="111" y="43"/>
                    </a:lnTo>
                    <a:lnTo>
                      <a:pt x="111" y="44"/>
                    </a:lnTo>
                    <a:lnTo>
                      <a:pt x="107" y="47"/>
                    </a:lnTo>
                    <a:lnTo>
                      <a:pt x="103" y="46"/>
                    </a:lnTo>
                    <a:lnTo>
                      <a:pt x="102" y="44"/>
                    </a:lnTo>
                    <a:lnTo>
                      <a:pt x="101" y="44"/>
                    </a:lnTo>
                    <a:lnTo>
                      <a:pt x="99" y="45"/>
                    </a:lnTo>
                    <a:lnTo>
                      <a:pt x="96" y="47"/>
                    </a:lnTo>
                    <a:lnTo>
                      <a:pt x="96" y="50"/>
                    </a:lnTo>
                    <a:lnTo>
                      <a:pt x="93" y="50"/>
                    </a:lnTo>
                    <a:lnTo>
                      <a:pt x="92" y="49"/>
                    </a:lnTo>
                    <a:lnTo>
                      <a:pt x="90" y="49"/>
                    </a:lnTo>
                    <a:lnTo>
                      <a:pt x="88" y="51"/>
                    </a:lnTo>
                    <a:lnTo>
                      <a:pt x="88" y="53"/>
                    </a:lnTo>
                    <a:lnTo>
                      <a:pt x="86" y="57"/>
                    </a:lnTo>
                    <a:lnTo>
                      <a:pt x="82" y="58"/>
                    </a:lnTo>
                    <a:lnTo>
                      <a:pt x="81" y="57"/>
                    </a:lnTo>
                    <a:lnTo>
                      <a:pt x="78" y="58"/>
                    </a:lnTo>
                    <a:lnTo>
                      <a:pt x="76" y="58"/>
                    </a:lnTo>
                    <a:lnTo>
                      <a:pt x="75" y="57"/>
                    </a:lnTo>
                    <a:lnTo>
                      <a:pt x="73" y="58"/>
                    </a:lnTo>
                    <a:lnTo>
                      <a:pt x="72" y="62"/>
                    </a:lnTo>
                    <a:lnTo>
                      <a:pt x="72" y="64"/>
                    </a:lnTo>
                    <a:lnTo>
                      <a:pt x="70" y="67"/>
                    </a:lnTo>
                    <a:lnTo>
                      <a:pt x="66" y="68"/>
                    </a:lnTo>
                    <a:lnTo>
                      <a:pt x="56" y="63"/>
                    </a:lnTo>
                    <a:lnTo>
                      <a:pt x="56" y="64"/>
                    </a:lnTo>
                    <a:lnTo>
                      <a:pt x="56" y="65"/>
                    </a:lnTo>
                    <a:lnTo>
                      <a:pt x="53" y="64"/>
                    </a:lnTo>
                    <a:lnTo>
                      <a:pt x="51" y="65"/>
                    </a:lnTo>
                    <a:lnTo>
                      <a:pt x="47" y="69"/>
                    </a:lnTo>
                    <a:lnTo>
                      <a:pt x="45" y="68"/>
                    </a:lnTo>
                    <a:lnTo>
                      <a:pt x="42" y="68"/>
                    </a:lnTo>
                    <a:lnTo>
                      <a:pt x="41" y="68"/>
                    </a:lnTo>
                    <a:lnTo>
                      <a:pt x="37" y="69"/>
                    </a:lnTo>
                    <a:lnTo>
                      <a:pt x="33" y="70"/>
                    </a:lnTo>
                    <a:lnTo>
                      <a:pt x="31" y="71"/>
                    </a:lnTo>
                    <a:lnTo>
                      <a:pt x="31" y="74"/>
                    </a:lnTo>
                    <a:lnTo>
                      <a:pt x="28" y="75"/>
                    </a:lnTo>
                    <a:lnTo>
                      <a:pt x="26" y="77"/>
                    </a:lnTo>
                    <a:lnTo>
                      <a:pt x="24" y="77"/>
                    </a:lnTo>
                    <a:lnTo>
                      <a:pt x="24" y="79"/>
                    </a:lnTo>
                    <a:lnTo>
                      <a:pt x="24" y="80"/>
                    </a:lnTo>
                    <a:lnTo>
                      <a:pt x="21" y="82"/>
                    </a:lnTo>
                    <a:lnTo>
                      <a:pt x="20" y="86"/>
                    </a:lnTo>
                    <a:lnTo>
                      <a:pt x="18" y="86"/>
                    </a:lnTo>
                    <a:lnTo>
                      <a:pt x="18" y="90"/>
                    </a:lnTo>
                    <a:lnTo>
                      <a:pt x="19" y="92"/>
                    </a:lnTo>
                    <a:lnTo>
                      <a:pt x="18" y="93"/>
                    </a:lnTo>
                    <a:lnTo>
                      <a:pt x="16" y="92"/>
                    </a:lnTo>
                    <a:lnTo>
                      <a:pt x="14" y="91"/>
                    </a:lnTo>
                    <a:lnTo>
                      <a:pt x="15" y="88"/>
                    </a:lnTo>
                    <a:lnTo>
                      <a:pt x="12" y="85"/>
                    </a:lnTo>
                    <a:lnTo>
                      <a:pt x="13" y="84"/>
                    </a:lnTo>
                    <a:lnTo>
                      <a:pt x="13" y="83"/>
                    </a:lnTo>
                    <a:lnTo>
                      <a:pt x="8" y="82"/>
                    </a:lnTo>
                    <a:lnTo>
                      <a:pt x="8" y="79"/>
                    </a:lnTo>
                    <a:lnTo>
                      <a:pt x="7" y="77"/>
                    </a:lnTo>
                    <a:lnTo>
                      <a:pt x="0" y="77"/>
                    </a:lnTo>
                    <a:lnTo>
                      <a:pt x="2" y="78"/>
                    </a:lnTo>
                    <a:lnTo>
                      <a:pt x="2" y="80"/>
                    </a:lnTo>
                    <a:lnTo>
                      <a:pt x="3" y="82"/>
                    </a:lnTo>
                    <a:lnTo>
                      <a:pt x="0" y="83"/>
                    </a:lnTo>
                    <a:lnTo>
                      <a:pt x="0" y="85"/>
                    </a:lnTo>
                    <a:lnTo>
                      <a:pt x="4" y="87"/>
                    </a:lnTo>
                    <a:lnTo>
                      <a:pt x="7" y="91"/>
                    </a:lnTo>
                    <a:lnTo>
                      <a:pt x="9" y="94"/>
                    </a:lnTo>
                    <a:lnTo>
                      <a:pt x="8" y="97"/>
                    </a:lnTo>
                    <a:lnTo>
                      <a:pt x="9" y="100"/>
                    </a:lnTo>
                    <a:lnTo>
                      <a:pt x="12" y="102"/>
                    </a:lnTo>
                    <a:lnTo>
                      <a:pt x="13" y="103"/>
                    </a:lnTo>
                    <a:lnTo>
                      <a:pt x="13" y="105"/>
                    </a:lnTo>
                    <a:lnTo>
                      <a:pt x="17" y="106"/>
                    </a:lnTo>
                    <a:lnTo>
                      <a:pt x="18" y="108"/>
                    </a:lnTo>
                    <a:lnTo>
                      <a:pt x="20" y="108"/>
                    </a:lnTo>
                    <a:lnTo>
                      <a:pt x="22" y="110"/>
                    </a:lnTo>
                    <a:lnTo>
                      <a:pt x="26" y="111"/>
                    </a:lnTo>
                    <a:lnTo>
                      <a:pt x="26" y="112"/>
                    </a:lnTo>
                    <a:lnTo>
                      <a:pt x="29" y="112"/>
                    </a:lnTo>
                    <a:lnTo>
                      <a:pt x="31" y="113"/>
                    </a:lnTo>
                    <a:lnTo>
                      <a:pt x="31" y="114"/>
                    </a:lnTo>
                    <a:lnTo>
                      <a:pt x="31" y="115"/>
                    </a:lnTo>
                    <a:lnTo>
                      <a:pt x="29" y="117"/>
                    </a:lnTo>
                    <a:lnTo>
                      <a:pt x="35" y="120"/>
                    </a:lnTo>
                    <a:lnTo>
                      <a:pt x="35" y="122"/>
                    </a:lnTo>
                    <a:lnTo>
                      <a:pt x="34" y="123"/>
                    </a:lnTo>
                    <a:lnTo>
                      <a:pt x="32" y="128"/>
                    </a:lnTo>
                    <a:lnTo>
                      <a:pt x="30" y="128"/>
                    </a:lnTo>
                    <a:lnTo>
                      <a:pt x="29" y="128"/>
                    </a:lnTo>
                    <a:lnTo>
                      <a:pt x="29" y="134"/>
                    </a:lnTo>
                    <a:lnTo>
                      <a:pt x="24" y="136"/>
                    </a:lnTo>
                    <a:lnTo>
                      <a:pt x="24" y="138"/>
                    </a:lnTo>
                    <a:lnTo>
                      <a:pt x="24" y="139"/>
                    </a:lnTo>
                    <a:lnTo>
                      <a:pt x="26" y="140"/>
                    </a:lnTo>
                    <a:lnTo>
                      <a:pt x="28" y="143"/>
                    </a:lnTo>
                    <a:lnTo>
                      <a:pt x="33" y="145"/>
                    </a:lnTo>
                    <a:lnTo>
                      <a:pt x="34" y="146"/>
                    </a:lnTo>
                    <a:lnTo>
                      <a:pt x="32" y="149"/>
                    </a:lnTo>
                    <a:lnTo>
                      <a:pt x="34" y="149"/>
                    </a:lnTo>
                    <a:lnTo>
                      <a:pt x="33" y="151"/>
                    </a:lnTo>
                    <a:lnTo>
                      <a:pt x="34" y="151"/>
                    </a:lnTo>
                    <a:lnTo>
                      <a:pt x="37" y="152"/>
                    </a:lnTo>
                    <a:lnTo>
                      <a:pt x="37" y="153"/>
                    </a:lnTo>
                    <a:lnTo>
                      <a:pt x="38" y="155"/>
                    </a:lnTo>
                    <a:lnTo>
                      <a:pt x="38" y="157"/>
                    </a:lnTo>
                    <a:lnTo>
                      <a:pt x="39" y="160"/>
                    </a:lnTo>
                    <a:lnTo>
                      <a:pt x="40" y="161"/>
                    </a:lnTo>
                    <a:lnTo>
                      <a:pt x="41" y="161"/>
                    </a:lnTo>
                    <a:lnTo>
                      <a:pt x="43" y="161"/>
                    </a:lnTo>
                    <a:lnTo>
                      <a:pt x="43" y="165"/>
                    </a:lnTo>
                    <a:lnTo>
                      <a:pt x="43" y="167"/>
                    </a:lnTo>
                    <a:lnTo>
                      <a:pt x="44" y="169"/>
                    </a:lnTo>
                    <a:lnTo>
                      <a:pt x="44" y="171"/>
                    </a:lnTo>
                    <a:lnTo>
                      <a:pt x="48" y="172"/>
                    </a:lnTo>
                    <a:lnTo>
                      <a:pt x="52" y="175"/>
                    </a:lnTo>
                    <a:lnTo>
                      <a:pt x="52" y="177"/>
                    </a:lnTo>
                    <a:lnTo>
                      <a:pt x="53" y="179"/>
                    </a:lnTo>
                    <a:lnTo>
                      <a:pt x="54" y="180"/>
                    </a:lnTo>
                    <a:lnTo>
                      <a:pt x="55" y="181"/>
                    </a:lnTo>
                    <a:lnTo>
                      <a:pt x="58" y="181"/>
                    </a:lnTo>
                    <a:lnTo>
                      <a:pt x="62" y="182"/>
                    </a:lnTo>
                    <a:lnTo>
                      <a:pt x="62" y="181"/>
                    </a:lnTo>
                    <a:lnTo>
                      <a:pt x="62" y="180"/>
                    </a:lnTo>
                    <a:lnTo>
                      <a:pt x="66" y="181"/>
                    </a:lnTo>
                    <a:lnTo>
                      <a:pt x="71" y="185"/>
                    </a:lnTo>
                    <a:lnTo>
                      <a:pt x="73" y="185"/>
                    </a:lnTo>
                    <a:lnTo>
                      <a:pt x="73" y="189"/>
                    </a:lnTo>
                    <a:lnTo>
                      <a:pt x="77" y="191"/>
                    </a:lnTo>
                    <a:lnTo>
                      <a:pt x="78" y="193"/>
                    </a:lnTo>
                    <a:lnTo>
                      <a:pt x="79" y="194"/>
                    </a:lnTo>
                    <a:lnTo>
                      <a:pt x="80" y="195"/>
                    </a:lnTo>
                    <a:lnTo>
                      <a:pt x="85" y="199"/>
                    </a:lnTo>
                    <a:lnTo>
                      <a:pt x="85" y="202"/>
                    </a:lnTo>
                    <a:lnTo>
                      <a:pt x="87" y="204"/>
                    </a:lnTo>
                    <a:lnTo>
                      <a:pt x="93" y="204"/>
                    </a:lnTo>
                    <a:lnTo>
                      <a:pt x="96" y="206"/>
                    </a:lnTo>
                    <a:lnTo>
                      <a:pt x="98" y="209"/>
                    </a:lnTo>
                    <a:lnTo>
                      <a:pt x="102" y="212"/>
                    </a:lnTo>
                    <a:lnTo>
                      <a:pt x="101" y="212"/>
                    </a:lnTo>
                    <a:lnTo>
                      <a:pt x="102" y="213"/>
                    </a:lnTo>
                    <a:lnTo>
                      <a:pt x="102" y="215"/>
                    </a:lnTo>
                    <a:lnTo>
                      <a:pt x="102" y="217"/>
                    </a:lnTo>
                    <a:lnTo>
                      <a:pt x="102" y="218"/>
                    </a:lnTo>
                    <a:lnTo>
                      <a:pt x="109" y="222"/>
                    </a:lnTo>
                    <a:lnTo>
                      <a:pt x="110" y="222"/>
                    </a:lnTo>
                    <a:lnTo>
                      <a:pt x="111" y="219"/>
                    </a:lnTo>
                    <a:lnTo>
                      <a:pt x="116" y="219"/>
                    </a:lnTo>
                    <a:lnTo>
                      <a:pt x="117" y="221"/>
                    </a:lnTo>
                    <a:lnTo>
                      <a:pt x="120" y="221"/>
                    </a:lnTo>
                    <a:lnTo>
                      <a:pt x="121" y="225"/>
                    </a:lnTo>
                    <a:lnTo>
                      <a:pt x="124" y="229"/>
                    </a:lnTo>
                    <a:lnTo>
                      <a:pt x="125" y="230"/>
                    </a:lnTo>
                    <a:lnTo>
                      <a:pt x="128" y="229"/>
                    </a:lnTo>
                    <a:lnTo>
                      <a:pt x="130" y="233"/>
                    </a:lnTo>
                    <a:lnTo>
                      <a:pt x="132" y="234"/>
                    </a:lnTo>
                    <a:lnTo>
                      <a:pt x="134" y="238"/>
                    </a:lnTo>
                    <a:lnTo>
                      <a:pt x="134" y="239"/>
                    </a:lnTo>
                    <a:lnTo>
                      <a:pt x="136" y="240"/>
                    </a:lnTo>
                    <a:lnTo>
                      <a:pt x="136" y="241"/>
                    </a:lnTo>
                    <a:lnTo>
                      <a:pt x="136" y="240"/>
                    </a:lnTo>
                    <a:lnTo>
                      <a:pt x="140" y="242"/>
                    </a:lnTo>
                    <a:lnTo>
                      <a:pt x="145" y="245"/>
                    </a:lnTo>
                    <a:lnTo>
                      <a:pt x="150" y="247"/>
                    </a:lnTo>
                    <a:lnTo>
                      <a:pt x="151" y="250"/>
                    </a:lnTo>
                    <a:lnTo>
                      <a:pt x="153" y="251"/>
                    </a:lnTo>
                    <a:lnTo>
                      <a:pt x="153" y="252"/>
                    </a:lnTo>
                    <a:lnTo>
                      <a:pt x="151" y="252"/>
                    </a:lnTo>
                    <a:lnTo>
                      <a:pt x="150" y="254"/>
                    </a:lnTo>
                    <a:lnTo>
                      <a:pt x="152" y="255"/>
                    </a:lnTo>
                    <a:lnTo>
                      <a:pt x="152" y="257"/>
                    </a:lnTo>
                    <a:lnTo>
                      <a:pt x="154" y="258"/>
                    </a:lnTo>
                    <a:lnTo>
                      <a:pt x="164" y="259"/>
                    </a:lnTo>
                    <a:lnTo>
                      <a:pt x="170" y="260"/>
                    </a:lnTo>
                    <a:lnTo>
                      <a:pt x="175" y="262"/>
                    </a:lnTo>
                    <a:lnTo>
                      <a:pt x="175" y="263"/>
                    </a:lnTo>
                    <a:lnTo>
                      <a:pt x="177" y="261"/>
                    </a:lnTo>
                    <a:lnTo>
                      <a:pt x="179" y="261"/>
                    </a:lnTo>
                    <a:lnTo>
                      <a:pt x="179" y="260"/>
                    </a:lnTo>
                    <a:lnTo>
                      <a:pt x="182" y="259"/>
                    </a:lnTo>
                    <a:lnTo>
                      <a:pt x="184" y="254"/>
                    </a:lnTo>
                    <a:lnTo>
                      <a:pt x="186" y="254"/>
                    </a:lnTo>
                    <a:lnTo>
                      <a:pt x="188" y="256"/>
                    </a:lnTo>
                    <a:lnTo>
                      <a:pt x="193" y="257"/>
                    </a:lnTo>
                    <a:lnTo>
                      <a:pt x="197" y="256"/>
                    </a:lnTo>
                    <a:lnTo>
                      <a:pt x="198" y="258"/>
                    </a:lnTo>
                    <a:lnTo>
                      <a:pt x="200" y="258"/>
                    </a:lnTo>
                    <a:lnTo>
                      <a:pt x="201" y="260"/>
                    </a:lnTo>
                    <a:lnTo>
                      <a:pt x="203" y="260"/>
                    </a:lnTo>
                    <a:lnTo>
                      <a:pt x="205" y="258"/>
                    </a:lnTo>
                    <a:lnTo>
                      <a:pt x="205" y="256"/>
                    </a:lnTo>
                    <a:lnTo>
                      <a:pt x="205" y="254"/>
                    </a:lnTo>
                    <a:lnTo>
                      <a:pt x="205" y="252"/>
                    </a:lnTo>
                    <a:lnTo>
                      <a:pt x="206" y="249"/>
                    </a:lnTo>
                    <a:lnTo>
                      <a:pt x="211" y="244"/>
                    </a:lnTo>
                    <a:lnTo>
                      <a:pt x="211" y="243"/>
                    </a:lnTo>
                    <a:lnTo>
                      <a:pt x="212" y="242"/>
                    </a:lnTo>
                    <a:lnTo>
                      <a:pt x="212" y="239"/>
                    </a:lnTo>
                    <a:lnTo>
                      <a:pt x="218" y="239"/>
                    </a:lnTo>
                    <a:lnTo>
                      <a:pt x="223" y="241"/>
                    </a:lnTo>
                    <a:lnTo>
                      <a:pt x="225" y="240"/>
                    </a:lnTo>
                    <a:lnTo>
                      <a:pt x="225" y="239"/>
                    </a:lnTo>
                    <a:lnTo>
                      <a:pt x="224" y="238"/>
                    </a:lnTo>
                    <a:lnTo>
                      <a:pt x="223" y="236"/>
                    </a:lnTo>
                    <a:lnTo>
                      <a:pt x="225" y="232"/>
                    </a:lnTo>
                    <a:lnTo>
                      <a:pt x="225" y="230"/>
                    </a:lnTo>
                    <a:lnTo>
                      <a:pt x="226" y="226"/>
                    </a:lnTo>
                    <a:lnTo>
                      <a:pt x="225" y="219"/>
                    </a:lnTo>
                    <a:lnTo>
                      <a:pt x="226" y="217"/>
                    </a:lnTo>
                    <a:lnTo>
                      <a:pt x="226" y="215"/>
                    </a:lnTo>
                    <a:lnTo>
                      <a:pt x="229" y="214"/>
                    </a:lnTo>
                    <a:lnTo>
                      <a:pt x="232" y="215"/>
                    </a:lnTo>
                    <a:lnTo>
                      <a:pt x="233" y="216"/>
                    </a:lnTo>
                    <a:lnTo>
                      <a:pt x="239" y="216"/>
                    </a:lnTo>
                    <a:lnTo>
                      <a:pt x="240" y="219"/>
                    </a:lnTo>
                    <a:lnTo>
                      <a:pt x="239" y="222"/>
                    </a:lnTo>
                    <a:lnTo>
                      <a:pt x="242" y="222"/>
                    </a:lnTo>
                    <a:lnTo>
                      <a:pt x="244" y="221"/>
                    </a:lnTo>
                    <a:lnTo>
                      <a:pt x="248" y="221"/>
                    </a:lnTo>
                    <a:lnTo>
                      <a:pt x="249" y="219"/>
                    </a:lnTo>
                    <a:lnTo>
                      <a:pt x="249" y="218"/>
                    </a:lnTo>
                    <a:lnTo>
                      <a:pt x="250" y="217"/>
                    </a:lnTo>
                    <a:lnTo>
                      <a:pt x="251" y="219"/>
                    </a:lnTo>
                    <a:lnTo>
                      <a:pt x="256" y="218"/>
                    </a:lnTo>
                    <a:lnTo>
                      <a:pt x="261" y="221"/>
                    </a:lnTo>
                    <a:lnTo>
                      <a:pt x="264" y="221"/>
                    </a:lnTo>
                    <a:lnTo>
                      <a:pt x="267" y="225"/>
                    </a:lnTo>
                    <a:lnTo>
                      <a:pt x="271" y="226"/>
                    </a:lnTo>
                    <a:lnTo>
                      <a:pt x="272" y="227"/>
                    </a:lnTo>
                    <a:lnTo>
                      <a:pt x="275" y="227"/>
                    </a:lnTo>
                    <a:lnTo>
                      <a:pt x="281" y="231"/>
                    </a:lnTo>
                    <a:lnTo>
                      <a:pt x="286" y="232"/>
                    </a:lnTo>
                    <a:lnTo>
                      <a:pt x="287" y="231"/>
                    </a:lnTo>
                    <a:lnTo>
                      <a:pt x="288" y="230"/>
                    </a:lnTo>
                    <a:lnTo>
                      <a:pt x="293" y="229"/>
                    </a:lnTo>
                    <a:lnTo>
                      <a:pt x="293" y="231"/>
                    </a:lnTo>
                    <a:lnTo>
                      <a:pt x="295" y="232"/>
                    </a:lnTo>
                    <a:lnTo>
                      <a:pt x="295" y="231"/>
                    </a:lnTo>
                    <a:lnTo>
                      <a:pt x="296" y="232"/>
                    </a:lnTo>
                    <a:lnTo>
                      <a:pt x="297" y="232"/>
                    </a:lnTo>
                    <a:lnTo>
                      <a:pt x="297" y="233"/>
                    </a:lnTo>
                    <a:lnTo>
                      <a:pt x="299" y="233"/>
                    </a:lnTo>
                    <a:lnTo>
                      <a:pt x="299" y="234"/>
                    </a:lnTo>
                    <a:lnTo>
                      <a:pt x="302" y="234"/>
                    </a:lnTo>
                    <a:lnTo>
                      <a:pt x="301" y="236"/>
                    </a:lnTo>
                    <a:lnTo>
                      <a:pt x="302" y="237"/>
                    </a:lnTo>
                    <a:lnTo>
                      <a:pt x="310" y="242"/>
                    </a:lnTo>
                    <a:lnTo>
                      <a:pt x="313" y="243"/>
                    </a:lnTo>
                    <a:lnTo>
                      <a:pt x="318" y="242"/>
                    </a:lnTo>
                    <a:lnTo>
                      <a:pt x="323" y="244"/>
                    </a:lnTo>
                    <a:lnTo>
                      <a:pt x="327" y="244"/>
                    </a:lnTo>
                    <a:lnTo>
                      <a:pt x="331" y="244"/>
                    </a:lnTo>
                    <a:lnTo>
                      <a:pt x="332" y="243"/>
                    </a:lnTo>
                    <a:lnTo>
                      <a:pt x="335" y="244"/>
                    </a:lnTo>
                    <a:lnTo>
                      <a:pt x="338" y="243"/>
                    </a:lnTo>
                    <a:lnTo>
                      <a:pt x="339" y="239"/>
                    </a:lnTo>
                    <a:lnTo>
                      <a:pt x="341" y="236"/>
                    </a:lnTo>
                    <a:lnTo>
                      <a:pt x="345" y="237"/>
                    </a:lnTo>
                    <a:lnTo>
                      <a:pt x="347" y="236"/>
                    </a:lnTo>
                    <a:lnTo>
                      <a:pt x="350" y="238"/>
                    </a:lnTo>
                    <a:lnTo>
                      <a:pt x="352" y="239"/>
                    </a:lnTo>
                    <a:lnTo>
                      <a:pt x="356" y="239"/>
                    </a:lnTo>
                    <a:lnTo>
                      <a:pt x="358" y="241"/>
                    </a:lnTo>
                    <a:lnTo>
                      <a:pt x="359" y="244"/>
                    </a:lnTo>
                    <a:lnTo>
                      <a:pt x="361" y="243"/>
                    </a:lnTo>
                    <a:lnTo>
                      <a:pt x="364" y="244"/>
                    </a:lnTo>
                    <a:lnTo>
                      <a:pt x="367" y="246"/>
                    </a:lnTo>
                    <a:lnTo>
                      <a:pt x="370" y="246"/>
                    </a:lnTo>
                    <a:lnTo>
                      <a:pt x="374" y="245"/>
                    </a:lnTo>
                    <a:lnTo>
                      <a:pt x="377" y="248"/>
                    </a:lnTo>
                    <a:lnTo>
                      <a:pt x="377" y="250"/>
                    </a:lnTo>
                    <a:lnTo>
                      <a:pt x="377" y="254"/>
                    </a:lnTo>
                    <a:lnTo>
                      <a:pt x="377" y="256"/>
                    </a:lnTo>
                    <a:lnTo>
                      <a:pt x="379" y="256"/>
                    </a:lnTo>
                    <a:lnTo>
                      <a:pt x="379" y="257"/>
                    </a:lnTo>
                    <a:lnTo>
                      <a:pt x="382" y="254"/>
                    </a:lnTo>
                    <a:lnTo>
                      <a:pt x="383" y="250"/>
                    </a:lnTo>
                    <a:lnTo>
                      <a:pt x="383" y="248"/>
                    </a:lnTo>
                    <a:lnTo>
                      <a:pt x="383" y="247"/>
                    </a:lnTo>
                    <a:lnTo>
                      <a:pt x="386" y="241"/>
                    </a:lnTo>
                    <a:lnTo>
                      <a:pt x="391" y="238"/>
                    </a:lnTo>
                    <a:lnTo>
                      <a:pt x="392" y="234"/>
                    </a:lnTo>
                    <a:lnTo>
                      <a:pt x="396" y="232"/>
                    </a:lnTo>
                    <a:close/>
                  </a:path>
                </a:pathLst>
              </a:custGeom>
              <a:solidFill>
                <a:srgbClr val="E7E7E4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45" name="Latvia">
                <a:extLst>
                  <a:ext uri="{FF2B5EF4-FFF2-40B4-BE49-F238E27FC236}">
                    <a16:creationId xmlns:a16="http://schemas.microsoft.com/office/drawing/2014/main" id="{81496C51-2788-447A-B5D8-9BB85A180798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675275" y="2467607"/>
                <a:ext cx="637431" cy="325055"/>
              </a:xfrm>
              <a:custGeom>
                <a:avLst/>
                <a:gdLst>
                  <a:gd name="T0" fmla="*/ 514 w 568"/>
                  <a:gd name="T1" fmla="*/ 64 h 255"/>
                  <a:gd name="T2" fmla="*/ 533 w 568"/>
                  <a:gd name="T3" fmla="*/ 79 h 255"/>
                  <a:gd name="T4" fmla="*/ 527 w 568"/>
                  <a:gd name="T5" fmla="*/ 104 h 255"/>
                  <a:gd name="T6" fmla="*/ 529 w 568"/>
                  <a:gd name="T7" fmla="*/ 116 h 255"/>
                  <a:gd name="T8" fmla="*/ 526 w 568"/>
                  <a:gd name="T9" fmla="*/ 130 h 255"/>
                  <a:gd name="T10" fmla="*/ 545 w 568"/>
                  <a:gd name="T11" fmla="*/ 135 h 255"/>
                  <a:gd name="T12" fmla="*/ 549 w 568"/>
                  <a:gd name="T13" fmla="*/ 149 h 255"/>
                  <a:gd name="T14" fmla="*/ 558 w 568"/>
                  <a:gd name="T15" fmla="*/ 165 h 255"/>
                  <a:gd name="T16" fmla="*/ 564 w 568"/>
                  <a:gd name="T17" fmla="*/ 195 h 255"/>
                  <a:gd name="T18" fmla="*/ 556 w 568"/>
                  <a:gd name="T19" fmla="*/ 205 h 255"/>
                  <a:gd name="T20" fmla="*/ 534 w 568"/>
                  <a:gd name="T21" fmla="*/ 216 h 255"/>
                  <a:gd name="T22" fmla="*/ 522 w 568"/>
                  <a:gd name="T23" fmla="*/ 229 h 255"/>
                  <a:gd name="T24" fmla="*/ 500 w 568"/>
                  <a:gd name="T25" fmla="*/ 239 h 255"/>
                  <a:gd name="T26" fmla="*/ 472 w 568"/>
                  <a:gd name="T27" fmla="*/ 237 h 255"/>
                  <a:gd name="T28" fmla="*/ 441 w 568"/>
                  <a:gd name="T29" fmla="*/ 254 h 255"/>
                  <a:gd name="T30" fmla="*/ 412 w 568"/>
                  <a:gd name="T31" fmla="*/ 242 h 255"/>
                  <a:gd name="T32" fmla="*/ 381 w 568"/>
                  <a:gd name="T33" fmla="*/ 217 h 255"/>
                  <a:gd name="T34" fmla="*/ 359 w 568"/>
                  <a:gd name="T35" fmla="*/ 204 h 255"/>
                  <a:gd name="T36" fmla="*/ 349 w 568"/>
                  <a:gd name="T37" fmla="*/ 203 h 255"/>
                  <a:gd name="T38" fmla="*/ 322 w 568"/>
                  <a:gd name="T39" fmla="*/ 200 h 255"/>
                  <a:gd name="T40" fmla="*/ 307 w 568"/>
                  <a:gd name="T41" fmla="*/ 176 h 255"/>
                  <a:gd name="T42" fmla="*/ 300 w 568"/>
                  <a:gd name="T43" fmla="*/ 176 h 255"/>
                  <a:gd name="T44" fmla="*/ 281 w 568"/>
                  <a:gd name="T45" fmla="*/ 189 h 255"/>
                  <a:gd name="T46" fmla="*/ 247 w 568"/>
                  <a:gd name="T47" fmla="*/ 192 h 255"/>
                  <a:gd name="T48" fmla="*/ 225 w 568"/>
                  <a:gd name="T49" fmla="*/ 184 h 255"/>
                  <a:gd name="T50" fmla="*/ 202 w 568"/>
                  <a:gd name="T51" fmla="*/ 184 h 255"/>
                  <a:gd name="T52" fmla="*/ 165 w 568"/>
                  <a:gd name="T53" fmla="*/ 187 h 255"/>
                  <a:gd name="T54" fmla="*/ 152 w 568"/>
                  <a:gd name="T55" fmla="*/ 177 h 255"/>
                  <a:gd name="T56" fmla="*/ 129 w 568"/>
                  <a:gd name="T57" fmla="*/ 180 h 255"/>
                  <a:gd name="T58" fmla="*/ 105 w 568"/>
                  <a:gd name="T59" fmla="*/ 177 h 255"/>
                  <a:gd name="T60" fmla="*/ 72 w 568"/>
                  <a:gd name="T61" fmla="*/ 181 h 255"/>
                  <a:gd name="T62" fmla="*/ 40 w 568"/>
                  <a:gd name="T63" fmla="*/ 189 h 255"/>
                  <a:gd name="T64" fmla="*/ 19 w 568"/>
                  <a:gd name="T65" fmla="*/ 204 h 255"/>
                  <a:gd name="T66" fmla="*/ 6 w 568"/>
                  <a:gd name="T67" fmla="*/ 208 h 255"/>
                  <a:gd name="T68" fmla="*/ 0 w 568"/>
                  <a:gd name="T69" fmla="*/ 186 h 255"/>
                  <a:gd name="T70" fmla="*/ 5 w 568"/>
                  <a:gd name="T71" fmla="*/ 166 h 255"/>
                  <a:gd name="T72" fmla="*/ 9 w 568"/>
                  <a:gd name="T73" fmla="*/ 177 h 255"/>
                  <a:gd name="T74" fmla="*/ 2 w 568"/>
                  <a:gd name="T75" fmla="*/ 160 h 255"/>
                  <a:gd name="T76" fmla="*/ 10 w 568"/>
                  <a:gd name="T77" fmla="*/ 130 h 255"/>
                  <a:gd name="T78" fmla="*/ 34 w 568"/>
                  <a:gd name="T79" fmla="*/ 107 h 255"/>
                  <a:gd name="T80" fmla="*/ 46 w 568"/>
                  <a:gd name="T81" fmla="*/ 71 h 255"/>
                  <a:gd name="T82" fmla="*/ 88 w 568"/>
                  <a:gd name="T83" fmla="*/ 47 h 255"/>
                  <a:gd name="T84" fmla="*/ 127 w 568"/>
                  <a:gd name="T85" fmla="*/ 36 h 255"/>
                  <a:gd name="T86" fmla="*/ 139 w 568"/>
                  <a:gd name="T87" fmla="*/ 57 h 255"/>
                  <a:gd name="T88" fmla="*/ 172 w 568"/>
                  <a:gd name="T89" fmla="*/ 84 h 255"/>
                  <a:gd name="T90" fmla="*/ 185 w 568"/>
                  <a:gd name="T91" fmla="*/ 108 h 255"/>
                  <a:gd name="T92" fmla="*/ 237 w 568"/>
                  <a:gd name="T93" fmla="*/ 111 h 255"/>
                  <a:gd name="T94" fmla="*/ 259 w 568"/>
                  <a:gd name="T95" fmla="*/ 96 h 255"/>
                  <a:gd name="T96" fmla="*/ 266 w 568"/>
                  <a:gd name="T97" fmla="*/ 64 h 255"/>
                  <a:gd name="T98" fmla="*/ 260 w 568"/>
                  <a:gd name="T99" fmla="*/ 36 h 255"/>
                  <a:gd name="T100" fmla="*/ 272 w 568"/>
                  <a:gd name="T101" fmla="*/ 21 h 255"/>
                  <a:gd name="T102" fmla="*/ 292 w 568"/>
                  <a:gd name="T103" fmla="*/ 12 h 255"/>
                  <a:gd name="T104" fmla="*/ 316 w 568"/>
                  <a:gd name="T105" fmla="*/ 7 h 255"/>
                  <a:gd name="T106" fmla="*/ 331 w 568"/>
                  <a:gd name="T107" fmla="*/ 5 h 255"/>
                  <a:gd name="T108" fmla="*/ 335 w 568"/>
                  <a:gd name="T109" fmla="*/ 2 h 255"/>
                  <a:gd name="T110" fmla="*/ 355 w 568"/>
                  <a:gd name="T111" fmla="*/ 12 h 255"/>
                  <a:gd name="T112" fmla="*/ 371 w 568"/>
                  <a:gd name="T113" fmla="*/ 17 h 255"/>
                  <a:gd name="T114" fmla="*/ 394 w 568"/>
                  <a:gd name="T115" fmla="*/ 24 h 255"/>
                  <a:gd name="T116" fmla="*/ 408 w 568"/>
                  <a:gd name="T117" fmla="*/ 39 h 255"/>
                  <a:gd name="T118" fmla="*/ 430 w 568"/>
                  <a:gd name="T119" fmla="*/ 54 h 255"/>
                  <a:gd name="T120" fmla="*/ 442 w 568"/>
                  <a:gd name="T121" fmla="*/ 57 h 255"/>
                  <a:gd name="T122" fmla="*/ 467 w 568"/>
                  <a:gd name="T123" fmla="*/ 49 h 25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68"/>
                  <a:gd name="T187" fmla="*/ 0 h 255"/>
                  <a:gd name="T188" fmla="*/ 568 w 568"/>
                  <a:gd name="T189" fmla="*/ 255 h 25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68" h="255">
                    <a:moveTo>
                      <a:pt x="496" y="56"/>
                    </a:moveTo>
                    <a:lnTo>
                      <a:pt x="502" y="59"/>
                    </a:lnTo>
                    <a:lnTo>
                      <a:pt x="514" y="57"/>
                    </a:lnTo>
                    <a:lnTo>
                      <a:pt x="514" y="59"/>
                    </a:lnTo>
                    <a:lnTo>
                      <a:pt x="515" y="60"/>
                    </a:lnTo>
                    <a:lnTo>
                      <a:pt x="515" y="61"/>
                    </a:lnTo>
                    <a:lnTo>
                      <a:pt x="514" y="64"/>
                    </a:lnTo>
                    <a:lnTo>
                      <a:pt x="511" y="65"/>
                    </a:lnTo>
                    <a:lnTo>
                      <a:pt x="511" y="67"/>
                    </a:lnTo>
                    <a:lnTo>
                      <a:pt x="512" y="67"/>
                    </a:lnTo>
                    <a:lnTo>
                      <a:pt x="521" y="71"/>
                    </a:lnTo>
                    <a:lnTo>
                      <a:pt x="524" y="74"/>
                    </a:lnTo>
                    <a:lnTo>
                      <a:pt x="531" y="77"/>
                    </a:lnTo>
                    <a:lnTo>
                      <a:pt x="533" y="79"/>
                    </a:lnTo>
                    <a:lnTo>
                      <a:pt x="537" y="81"/>
                    </a:lnTo>
                    <a:lnTo>
                      <a:pt x="538" y="82"/>
                    </a:lnTo>
                    <a:lnTo>
                      <a:pt x="539" y="86"/>
                    </a:lnTo>
                    <a:lnTo>
                      <a:pt x="539" y="89"/>
                    </a:lnTo>
                    <a:lnTo>
                      <a:pt x="535" y="97"/>
                    </a:lnTo>
                    <a:lnTo>
                      <a:pt x="530" y="101"/>
                    </a:lnTo>
                    <a:lnTo>
                      <a:pt x="527" y="104"/>
                    </a:lnTo>
                    <a:lnTo>
                      <a:pt x="530" y="105"/>
                    </a:lnTo>
                    <a:lnTo>
                      <a:pt x="529" y="110"/>
                    </a:lnTo>
                    <a:lnTo>
                      <a:pt x="528" y="110"/>
                    </a:lnTo>
                    <a:lnTo>
                      <a:pt x="527" y="113"/>
                    </a:lnTo>
                    <a:lnTo>
                      <a:pt x="527" y="114"/>
                    </a:lnTo>
                    <a:lnTo>
                      <a:pt x="528" y="115"/>
                    </a:lnTo>
                    <a:lnTo>
                      <a:pt x="529" y="116"/>
                    </a:lnTo>
                    <a:lnTo>
                      <a:pt x="527" y="122"/>
                    </a:lnTo>
                    <a:lnTo>
                      <a:pt x="523" y="123"/>
                    </a:lnTo>
                    <a:lnTo>
                      <a:pt x="523" y="125"/>
                    </a:lnTo>
                    <a:lnTo>
                      <a:pt x="524" y="128"/>
                    </a:lnTo>
                    <a:lnTo>
                      <a:pt x="523" y="131"/>
                    </a:lnTo>
                    <a:lnTo>
                      <a:pt x="525" y="131"/>
                    </a:lnTo>
                    <a:lnTo>
                      <a:pt x="526" y="130"/>
                    </a:lnTo>
                    <a:lnTo>
                      <a:pt x="533" y="128"/>
                    </a:lnTo>
                    <a:lnTo>
                      <a:pt x="534" y="127"/>
                    </a:lnTo>
                    <a:lnTo>
                      <a:pt x="537" y="127"/>
                    </a:lnTo>
                    <a:lnTo>
                      <a:pt x="541" y="132"/>
                    </a:lnTo>
                    <a:lnTo>
                      <a:pt x="547" y="133"/>
                    </a:lnTo>
                    <a:lnTo>
                      <a:pt x="547" y="134"/>
                    </a:lnTo>
                    <a:lnTo>
                      <a:pt x="545" y="135"/>
                    </a:lnTo>
                    <a:lnTo>
                      <a:pt x="545" y="138"/>
                    </a:lnTo>
                    <a:lnTo>
                      <a:pt x="543" y="139"/>
                    </a:lnTo>
                    <a:lnTo>
                      <a:pt x="542" y="141"/>
                    </a:lnTo>
                    <a:lnTo>
                      <a:pt x="543" y="142"/>
                    </a:lnTo>
                    <a:lnTo>
                      <a:pt x="547" y="145"/>
                    </a:lnTo>
                    <a:lnTo>
                      <a:pt x="547" y="147"/>
                    </a:lnTo>
                    <a:lnTo>
                      <a:pt x="549" y="149"/>
                    </a:lnTo>
                    <a:lnTo>
                      <a:pt x="550" y="152"/>
                    </a:lnTo>
                    <a:lnTo>
                      <a:pt x="552" y="157"/>
                    </a:lnTo>
                    <a:lnTo>
                      <a:pt x="560" y="159"/>
                    </a:lnTo>
                    <a:lnTo>
                      <a:pt x="560" y="162"/>
                    </a:lnTo>
                    <a:lnTo>
                      <a:pt x="557" y="163"/>
                    </a:lnTo>
                    <a:lnTo>
                      <a:pt x="557" y="165"/>
                    </a:lnTo>
                    <a:lnTo>
                      <a:pt x="558" y="165"/>
                    </a:lnTo>
                    <a:lnTo>
                      <a:pt x="559" y="166"/>
                    </a:lnTo>
                    <a:lnTo>
                      <a:pt x="558" y="168"/>
                    </a:lnTo>
                    <a:lnTo>
                      <a:pt x="563" y="173"/>
                    </a:lnTo>
                    <a:lnTo>
                      <a:pt x="564" y="177"/>
                    </a:lnTo>
                    <a:lnTo>
                      <a:pt x="562" y="179"/>
                    </a:lnTo>
                    <a:lnTo>
                      <a:pt x="568" y="190"/>
                    </a:lnTo>
                    <a:lnTo>
                      <a:pt x="564" y="195"/>
                    </a:lnTo>
                    <a:lnTo>
                      <a:pt x="564" y="196"/>
                    </a:lnTo>
                    <a:lnTo>
                      <a:pt x="565" y="197"/>
                    </a:lnTo>
                    <a:lnTo>
                      <a:pt x="563" y="198"/>
                    </a:lnTo>
                    <a:lnTo>
                      <a:pt x="563" y="201"/>
                    </a:lnTo>
                    <a:lnTo>
                      <a:pt x="561" y="202"/>
                    </a:lnTo>
                    <a:lnTo>
                      <a:pt x="558" y="203"/>
                    </a:lnTo>
                    <a:lnTo>
                      <a:pt x="556" y="205"/>
                    </a:lnTo>
                    <a:lnTo>
                      <a:pt x="553" y="206"/>
                    </a:lnTo>
                    <a:lnTo>
                      <a:pt x="552" y="207"/>
                    </a:lnTo>
                    <a:lnTo>
                      <a:pt x="549" y="206"/>
                    </a:lnTo>
                    <a:lnTo>
                      <a:pt x="547" y="207"/>
                    </a:lnTo>
                    <a:lnTo>
                      <a:pt x="544" y="213"/>
                    </a:lnTo>
                    <a:lnTo>
                      <a:pt x="538" y="215"/>
                    </a:lnTo>
                    <a:lnTo>
                      <a:pt x="534" y="216"/>
                    </a:lnTo>
                    <a:lnTo>
                      <a:pt x="535" y="217"/>
                    </a:lnTo>
                    <a:lnTo>
                      <a:pt x="534" y="219"/>
                    </a:lnTo>
                    <a:lnTo>
                      <a:pt x="535" y="219"/>
                    </a:lnTo>
                    <a:lnTo>
                      <a:pt x="534" y="221"/>
                    </a:lnTo>
                    <a:lnTo>
                      <a:pt x="530" y="222"/>
                    </a:lnTo>
                    <a:lnTo>
                      <a:pt x="523" y="227"/>
                    </a:lnTo>
                    <a:lnTo>
                      <a:pt x="522" y="229"/>
                    </a:lnTo>
                    <a:lnTo>
                      <a:pt x="520" y="231"/>
                    </a:lnTo>
                    <a:lnTo>
                      <a:pt x="520" y="237"/>
                    </a:lnTo>
                    <a:lnTo>
                      <a:pt x="519" y="241"/>
                    </a:lnTo>
                    <a:lnTo>
                      <a:pt x="509" y="241"/>
                    </a:lnTo>
                    <a:lnTo>
                      <a:pt x="503" y="240"/>
                    </a:lnTo>
                    <a:lnTo>
                      <a:pt x="500" y="239"/>
                    </a:lnTo>
                    <a:lnTo>
                      <a:pt x="499" y="240"/>
                    </a:lnTo>
                    <a:lnTo>
                      <a:pt x="494" y="241"/>
                    </a:lnTo>
                    <a:lnTo>
                      <a:pt x="491" y="240"/>
                    </a:lnTo>
                    <a:lnTo>
                      <a:pt x="485" y="235"/>
                    </a:lnTo>
                    <a:lnTo>
                      <a:pt x="481" y="235"/>
                    </a:lnTo>
                    <a:lnTo>
                      <a:pt x="478" y="237"/>
                    </a:lnTo>
                    <a:lnTo>
                      <a:pt x="472" y="237"/>
                    </a:lnTo>
                    <a:lnTo>
                      <a:pt x="465" y="243"/>
                    </a:lnTo>
                    <a:lnTo>
                      <a:pt x="461" y="249"/>
                    </a:lnTo>
                    <a:lnTo>
                      <a:pt x="460" y="251"/>
                    </a:lnTo>
                    <a:lnTo>
                      <a:pt x="454" y="253"/>
                    </a:lnTo>
                    <a:lnTo>
                      <a:pt x="445" y="251"/>
                    </a:lnTo>
                    <a:lnTo>
                      <a:pt x="443" y="252"/>
                    </a:lnTo>
                    <a:lnTo>
                      <a:pt x="441" y="254"/>
                    </a:lnTo>
                    <a:lnTo>
                      <a:pt x="435" y="255"/>
                    </a:lnTo>
                    <a:lnTo>
                      <a:pt x="429" y="252"/>
                    </a:lnTo>
                    <a:lnTo>
                      <a:pt x="422" y="251"/>
                    </a:lnTo>
                    <a:lnTo>
                      <a:pt x="420" y="247"/>
                    </a:lnTo>
                    <a:lnTo>
                      <a:pt x="416" y="246"/>
                    </a:lnTo>
                    <a:lnTo>
                      <a:pt x="415" y="245"/>
                    </a:lnTo>
                    <a:lnTo>
                      <a:pt x="412" y="242"/>
                    </a:lnTo>
                    <a:lnTo>
                      <a:pt x="410" y="237"/>
                    </a:lnTo>
                    <a:lnTo>
                      <a:pt x="408" y="235"/>
                    </a:lnTo>
                    <a:lnTo>
                      <a:pt x="401" y="230"/>
                    </a:lnTo>
                    <a:lnTo>
                      <a:pt x="394" y="223"/>
                    </a:lnTo>
                    <a:lnTo>
                      <a:pt x="386" y="219"/>
                    </a:lnTo>
                    <a:lnTo>
                      <a:pt x="382" y="219"/>
                    </a:lnTo>
                    <a:lnTo>
                      <a:pt x="381" y="217"/>
                    </a:lnTo>
                    <a:lnTo>
                      <a:pt x="379" y="214"/>
                    </a:lnTo>
                    <a:lnTo>
                      <a:pt x="369" y="210"/>
                    </a:lnTo>
                    <a:lnTo>
                      <a:pt x="369" y="207"/>
                    </a:lnTo>
                    <a:lnTo>
                      <a:pt x="368" y="206"/>
                    </a:lnTo>
                    <a:lnTo>
                      <a:pt x="368" y="204"/>
                    </a:lnTo>
                    <a:lnTo>
                      <a:pt x="364" y="205"/>
                    </a:lnTo>
                    <a:lnTo>
                      <a:pt x="359" y="204"/>
                    </a:lnTo>
                    <a:lnTo>
                      <a:pt x="358" y="203"/>
                    </a:lnTo>
                    <a:lnTo>
                      <a:pt x="356" y="202"/>
                    </a:lnTo>
                    <a:lnTo>
                      <a:pt x="354" y="203"/>
                    </a:lnTo>
                    <a:lnTo>
                      <a:pt x="354" y="204"/>
                    </a:lnTo>
                    <a:lnTo>
                      <a:pt x="351" y="204"/>
                    </a:lnTo>
                    <a:lnTo>
                      <a:pt x="349" y="203"/>
                    </a:lnTo>
                    <a:lnTo>
                      <a:pt x="347" y="204"/>
                    </a:lnTo>
                    <a:lnTo>
                      <a:pt x="346" y="203"/>
                    </a:lnTo>
                    <a:lnTo>
                      <a:pt x="341" y="203"/>
                    </a:lnTo>
                    <a:lnTo>
                      <a:pt x="340" y="204"/>
                    </a:lnTo>
                    <a:lnTo>
                      <a:pt x="333" y="200"/>
                    </a:lnTo>
                    <a:lnTo>
                      <a:pt x="328" y="201"/>
                    </a:lnTo>
                    <a:lnTo>
                      <a:pt x="322" y="200"/>
                    </a:lnTo>
                    <a:lnTo>
                      <a:pt x="320" y="196"/>
                    </a:lnTo>
                    <a:lnTo>
                      <a:pt x="320" y="192"/>
                    </a:lnTo>
                    <a:lnTo>
                      <a:pt x="314" y="188"/>
                    </a:lnTo>
                    <a:lnTo>
                      <a:pt x="312" y="187"/>
                    </a:lnTo>
                    <a:lnTo>
                      <a:pt x="312" y="186"/>
                    </a:lnTo>
                    <a:lnTo>
                      <a:pt x="312" y="182"/>
                    </a:lnTo>
                    <a:lnTo>
                      <a:pt x="307" y="176"/>
                    </a:lnTo>
                    <a:lnTo>
                      <a:pt x="307" y="173"/>
                    </a:lnTo>
                    <a:lnTo>
                      <a:pt x="306" y="172"/>
                    </a:lnTo>
                    <a:lnTo>
                      <a:pt x="304" y="173"/>
                    </a:lnTo>
                    <a:lnTo>
                      <a:pt x="304" y="176"/>
                    </a:lnTo>
                    <a:lnTo>
                      <a:pt x="303" y="177"/>
                    </a:lnTo>
                    <a:lnTo>
                      <a:pt x="301" y="177"/>
                    </a:lnTo>
                    <a:lnTo>
                      <a:pt x="300" y="176"/>
                    </a:lnTo>
                    <a:lnTo>
                      <a:pt x="298" y="177"/>
                    </a:lnTo>
                    <a:lnTo>
                      <a:pt x="292" y="178"/>
                    </a:lnTo>
                    <a:lnTo>
                      <a:pt x="291" y="180"/>
                    </a:lnTo>
                    <a:lnTo>
                      <a:pt x="288" y="180"/>
                    </a:lnTo>
                    <a:lnTo>
                      <a:pt x="281" y="186"/>
                    </a:lnTo>
                    <a:lnTo>
                      <a:pt x="282" y="189"/>
                    </a:lnTo>
                    <a:lnTo>
                      <a:pt x="281" y="189"/>
                    </a:lnTo>
                    <a:lnTo>
                      <a:pt x="271" y="192"/>
                    </a:lnTo>
                    <a:lnTo>
                      <a:pt x="270" y="192"/>
                    </a:lnTo>
                    <a:lnTo>
                      <a:pt x="267" y="191"/>
                    </a:lnTo>
                    <a:lnTo>
                      <a:pt x="262" y="188"/>
                    </a:lnTo>
                    <a:lnTo>
                      <a:pt x="259" y="189"/>
                    </a:lnTo>
                    <a:lnTo>
                      <a:pt x="252" y="192"/>
                    </a:lnTo>
                    <a:lnTo>
                      <a:pt x="247" y="192"/>
                    </a:lnTo>
                    <a:lnTo>
                      <a:pt x="244" y="191"/>
                    </a:lnTo>
                    <a:lnTo>
                      <a:pt x="241" y="190"/>
                    </a:lnTo>
                    <a:lnTo>
                      <a:pt x="241" y="189"/>
                    </a:lnTo>
                    <a:lnTo>
                      <a:pt x="237" y="184"/>
                    </a:lnTo>
                    <a:lnTo>
                      <a:pt x="231" y="184"/>
                    </a:lnTo>
                    <a:lnTo>
                      <a:pt x="229" y="184"/>
                    </a:lnTo>
                    <a:lnTo>
                      <a:pt x="225" y="184"/>
                    </a:lnTo>
                    <a:lnTo>
                      <a:pt x="222" y="183"/>
                    </a:lnTo>
                    <a:lnTo>
                      <a:pt x="218" y="185"/>
                    </a:lnTo>
                    <a:lnTo>
                      <a:pt x="217" y="184"/>
                    </a:lnTo>
                    <a:lnTo>
                      <a:pt x="219" y="181"/>
                    </a:lnTo>
                    <a:lnTo>
                      <a:pt x="217" y="180"/>
                    </a:lnTo>
                    <a:lnTo>
                      <a:pt x="208" y="181"/>
                    </a:lnTo>
                    <a:lnTo>
                      <a:pt x="202" y="184"/>
                    </a:lnTo>
                    <a:lnTo>
                      <a:pt x="200" y="184"/>
                    </a:lnTo>
                    <a:lnTo>
                      <a:pt x="187" y="179"/>
                    </a:lnTo>
                    <a:lnTo>
                      <a:pt x="182" y="179"/>
                    </a:lnTo>
                    <a:lnTo>
                      <a:pt x="172" y="181"/>
                    </a:lnTo>
                    <a:lnTo>
                      <a:pt x="172" y="183"/>
                    </a:lnTo>
                    <a:lnTo>
                      <a:pt x="170" y="184"/>
                    </a:lnTo>
                    <a:lnTo>
                      <a:pt x="165" y="187"/>
                    </a:lnTo>
                    <a:lnTo>
                      <a:pt x="164" y="186"/>
                    </a:lnTo>
                    <a:lnTo>
                      <a:pt x="161" y="186"/>
                    </a:lnTo>
                    <a:lnTo>
                      <a:pt x="159" y="181"/>
                    </a:lnTo>
                    <a:lnTo>
                      <a:pt x="159" y="178"/>
                    </a:lnTo>
                    <a:lnTo>
                      <a:pt x="158" y="177"/>
                    </a:lnTo>
                    <a:lnTo>
                      <a:pt x="155" y="176"/>
                    </a:lnTo>
                    <a:lnTo>
                      <a:pt x="152" y="177"/>
                    </a:lnTo>
                    <a:lnTo>
                      <a:pt x="152" y="179"/>
                    </a:lnTo>
                    <a:lnTo>
                      <a:pt x="151" y="180"/>
                    </a:lnTo>
                    <a:lnTo>
                      <a:pt x="143" y="180"/>
                    </a:lnTo>
                    <a:lnTo>
                      <a:pt x="137" y="180"/>
                    </a:lnTo>
                    <a:lnTo>
                      <a:pt x="133" y="182"/>
                    </a:lnTo>
                    <a:lnTo>
                      <a:pt x="129" y="181"/>
                    </a:lnTo>
                    <a:lnTo>
                      <a:pt x="129" y="180"/>
                    </a:lnTo>
                    <a:lnTo>
                      <a:pt x="125" y="178"/>
                    </a:lnTo>
                    <a:lnTo>
                      <a:pt x="121" y="178"/>
                    </a:lnTo>
                    <a:lnTo>
                      <a:pt x="116" y="177"/>
                    </a:lnTo>
                    <a:lnTo>
                      <a:pt x="111" y="177"/>
                    </a:lnTo>
                    <a:lnTo>
                      <a:pt x="108" y="177"/>
                    </a:lnTo>
                    <a:lnTo>
                      <a:pt x="106" y="178"/>
                    </a:lnTo>
                    <a:lnTo>
                      <a:pt x="105" y="177"/>
                    </a:lnTo>
                    <a:lnTo>
                      <a:pt x="99" y="177"/>
                    </a:lnTo>
                    <a:lnTo>
                      <a:pt x="95" y="175"/>
                    </a:lnTo>
                    <a:lnTo>
                      <a:pt x="91" y="174"/>
                    </a:lnTo>
                    <a:lnTo>
                      <a:pt x="79" y="176"/>
                    </a:lnTo>
                    <a:lnTo>
                      <a:pt x="79" y="177"/>
                    </a:lnTo>
                    <a:lnTo>
                      <a:pt x="77" y="180"/>
                    </a:lnTo>
                    <a:lnTo>
                      <a:pt x="72" y="181"/>
                    </a:lnTo>
                    <a:lnTo>
                      <a:pt x="68" y="180"/>
                    </a:lnTo>
                    <a:lnTo>
                      <a:pt x="64" y="183"/>
                    </a:lnTo>
                    <a:lnTo>
                      <a:pt x="58" y="186"/>
                    </a:lnTo>
                    <a:lnTo>
                      <a:pt x="55" y="186"/>
                    </a:lnTo>
                    <a:lnTo>
                      <a:pt x="48" y="186"/>
                    </a:lnTo>
                    <a:lnTo>
                      <a:pt x="43" y="189"/>
                    </a:lnTo>
                    <a:lnTo>
                      <a:pt x="40" y="189"/>
                    </a:lnTo>
                    <a:lnTo>
                      <a:pt x="39" y="189"/>
                    </a:lnTo>
                    <a:lnTo>
                      <a:pt x="37" y="193"/>
                    </a:lnTo>
                    <a:lnTo>
                      <a:pt x="34" y="194"/>
                    </a:lnTo>
                    <a:lnTo>
                      <a:pt x="29" y="196"/>
                    </a:lnTo>
                    <a:lnTo>
                      <a:pt x="22" y="203"/>
                    </a:lnTo>
                    <a:lnTo>
                      <a:pt x="19" y="203"/>
                    </a:lnTo>
                    <a:lnTo>
                      <a:pt x="19" y="204"/>
                    </a:lnTo>
                    <a:lnTo>
                      <a:pt x="20" y="207"/>
                    </a:lnTo>
                    <a:lnTo>
                      <a:pt x="18" y="210"/>
                    </a:lnTo>
                    <a:lnTo>
                      <a:pt x="16" y="211"/>
                    </a:lnTo>
                    <a:lnTo>
                      <a:pt x="13" y="211"/>
                    </a:lnTo>
                    <a:lnTo>
                      <a:pt x="11" y="211"/>
                    </a:lnTo>
                    <a:lnTo>
                      <a:pt x="7" y="213"/>
                    </a:lnTo>
                    <a:lnTo>
                      <a:pt x="6" y="208"/>
                    </a:lnTo>
                    <a:lnTo>
                      <a:pt x="4" y="203"/>
                    </a:lnTo>
                    <a:lnTo>
                      <a:pt x="1" y="199"/>
                    </a:lnTo>
                    <a:lnTo>
                      <a:pt x="1" y="197"/>
                    </a:lnTo>
                    <a:lnTo>
                      <a:pt x="0" y="195"/>
                    </a:lnTo>
                    <a:lnTo>
                      <a:pt x="0" y="193"/>
                    </a:lnTo>
                    <a:lnTo>
                      <a:pt x="1" y="188"/>
                    </a:lnTo>
                    <a:lnTo>
                      <a:pt x="0" y="186"/>
                    </a:lnTo>
                    <a:lnTo>
                      <a:pt x="0" y="180"/>
                    </a:lnTo>
                    <a:lnTo>
                      <a:pt x="1" y="177"/>
                    </a:lnTo>
                    <a:lnTo>
                      <a:pt x="3" y="174"/>
                    </a:lnTo>
                    <a:lnTo>
                      <a:pt x="3" y="169"/>
                    </a:lnTo>
                    <a:lnTo>
                      <a:pt x="2" y="166"/>
                    </a:lnTo>
                    <a:lnTo>
                      <a:pt x="5" y="166"/>
                    </a:lnTo>
                    <a:lnTo>
                      <a:pt x="4" y="168"/>
                    </a:lnTo>
                    <a:lnTo>
                      <a:pt x="6" y="171"/>
                    </a:lnTo>
                    <a:lnTo>
                      <a:pt x="5" y="172"/>
                    </a:lnTo>
                    <a:lnTo>
                      <a:pt x="5" y="173"/>
                    </a:lnTo>
                    <a:lnTo>
                      <a:pt x="5" y="177"/>
                    </a:lnTo>
                    <a:lnTo>
                      <a:pt x="7" y="179"/>
                    </a:lnTo>
                    <a:lnTo>
                      <a:pt x="9" y="177"/>
                    </a:lnTo>
                    <a:lnTo>
                      <a:pt x="8" y="175"/>
                    </a:lnTo>
                    <a:lnTo>
                      <a:pt x="7" y="172"/>
                    </a:lnTo>
                    <a:lnTo>
                      <a:pt x="8" y="171"/>
                    </a:lnTo>
                    <a:lnTo>
                      <a:pt x="7" y="166"/>
                    </a:lnTo>
                    <a:lnTo>
                      <a:pt x="3" y="165"/>
                    </a:lnTo>
                    <a:lnTo>
                      <a:pt x="1" y="162"/>
                    </a:lnTo>
                    <a:lnTo>
                      <a:pt x="2" y="160"/>
                    </a:lnTo>
                    <a:lnTo>
                      <a:pt x="2" y="158"/>
                    </a:lnTo>
                    <a:lnTo>
                      <a:pt x="4" y="156"/>
                    </a:lnTo>
                    <a:lnTo>
                      <a:pt x="7" y="147"/>
                    </a:lnTo>
                    <a:lnTo>
                      <a:pt x="7" y="140"/>
                    </a:lnTo>
                    <a:lnTo>
                      <a:pt x="6" y="132"/>
                    </a:lnTo>
                    <a:lnTo>
                      <a:pt x="8" y="130"/>
                    </a:lnTo>
                    <a:lnTo>
                      <a:pt x="10" y="130"/>
                    </a:lnTo>
                    <a:lnTo>
                      <a:pt x="12" y="128"/>
                    </a:lnTo>
                    <a:lnTo>
                      <a:pt x="23" y="122"/>
                    </a:lnTo>
                    <a:lnTo>
                      <a:pt x="25" y="118"/>
                    </a:lnTo>
                    <a:lnTo>
                      <a:pt x="30" y="116"/>
                    </a:lnTo>
                    <a:lnTo>
                      <a:pt x="32" y="113"/>
                    </a:lnTo>
                    <a:lnTo>
                      <a:pt x="34" y="109"/>
                    </a:lnTo>
                    <a:lnTo>
                      <a:pt x="34" y="107"/>
                    </a:lnTo>
                    <a:lnTo>
                      <a:pt x="34" y="97"/>
                    </a:lnTo>
                    <a:lnTo>
                      <a:pt x="34" y="95"/>
                    </a:lnTo>
                    <a:lnTo>
                      <a:pt x="34" y="90"/>
                    </a:lnTo>
                    <a:lnTo>
                      <a:pt x="35" y="83"/>
                    </a:lnTo>
                    <a:lnTo>
                      <a:pt x="40" y="79"/>
                    </a:lnTo>
                    <a:lnTo>
                      <a:pt x="44" y="72"/>
                    </a:lnTo>
                    <a:lnTo>
                      <a:pt x="46" y="71"/>
                    </a:lnTo>
                    <a:lnTo>
                      <a:pt x="53" y="63"/>
                    </a:lnTo>
                    <a:lnTo>
                      <a:pt x="56" y="57"/>
                    </a:lnTo>
                    <a:lnTo>
                      <a:pt x="59" y="53"/>
                    </a:lnTo>
                    <a:lnTo>
                      <a:pt x="70" y="51"/>
                    </a:lnTo>
                    <a:lnTo>
                      <a:pt x="75" y="52"/>
                    </a:lnTo>
                    <a:lnTo>
                      <a:pt x="80" y="51"/>
                    </a:lnTo>
                    <a:lnTo>
                      <a:pt x="88" y="47"/>
                    </a:lnTo>
                    <a:lnTo>
                      <a:pt x="92" y="47"/>
                    </a:lnTo>
                    <a:lnTo>
                      <a:pt x="103" y="42"/>
                    </a:lnTo>
                    <a:lnTo>
                      <a:pt x="110" y="40"/>
                    </a:lnTo>
                    <a:lnTo>
                      <a:pt x="118" y="36"/>
                    </a:lnTo>
                    <a:lnTo>
                      <a:pt x="128" y="34"/>
                    </a:lnTo>
                    <a:lnTo>
                      <a:pt x="128" y="35"/>
                    </a:lnTo>
                    <a:lnTo>
                      <a:pt x="127" y="36"/>
                    </a:lnTo>
                    <a:lnTo>
                      <a:pt x="127" y="38"/>
                    </a:lnTo>
                    <a:lnTo>
                      <a:pt x="126" y="41"/>
                    </a:lnTo>
                    <a:lnTo>
                      <a:pt x="126" y="42"/>
                    </a:lnTo>
                    <a:lnTo>
                      <a:pt x="127" y="47"/>
                    </a:lnTo>
                    <a:lnTo>
                      <a:pt x="130" y="51"/>
                    </a:lnTo>
                    <a:lnTo>
                      <a:pt x="130" y="52"/>
                    </a:lnTo>
                    <a:lnTo>
                      <a:pt x="139" y="57"/>
                    </a:lnTo>
                    <a:lnTo>
                      <a:pt x="146" y="61"/>
                    </a:lnTo>
                    <a:lnTo>
                      <a:pt x="155" y="69"/>
                    </a:lnTo>
                    <a:lnTo>
                      <a:pt x="163" y="73"/>
                    </a:lnTo>
                    <a:lnTo>
                      <a:pt x="169" y="75"/>
                    </a:lnTo>
                    <a:lnTo>
                      <a:pt x="170" y="78"/>
                    </a:lnTo>
                    <a:lnTo>
                      <a:pt x="172" y="81"/>
                    </a:lnTo>
                    <a:lnTo>
                      <a:pt x="172" y="84"/>
                    </a:lnTo>
                    <a:lnTo>
                      <a:pt x="173" y="85"/>
                    </a:lnTo>
                    <a:lnTo>
                      <a:pt x="173" y="89"/>
                    </a:lnTo>
                    <a:lnTo>
                      <a:pt x="176" y="91"/>
                    </a:lnTo>
                    <a:lnTo>
                      <a:pt x="178" y="97"/>
                    </a:lnTo>
                    <a:lnTo>
                      <a:pt x="178" y="99"/>
                    </a:lnTo>
                    <a:lnTo>
                      <a:pt x="179" y="103"/>
                    </a:lnTo>
                    <a:lnTo>
                      <a:pt x="185" y="108"/>
                    </a:lnTo>
                    <a:lnTo>
                      <a:pt x="189" y="110"/>
                    </a:lnTo>
                    <a:lnTo>
                      <a:pt x="198" y="111"/>
                    </a:lnTo>
                    <a:lnTo>
                      <a:pt x="204" y="116"/>
                    </a:lnTo>
                    <a:lnTo>
                      <a:pt x="212" y="117"/>
                    </a:lnTo>
                    <a:lnTo>
                      <a:pt x="220" y="117"/>
                    </a:lnTo>
                    <a:lnTo>
                      <a:pt x="234" y="113"/>
                    </a:lnTo>
                    <a:lnTo>
                      <a:pt x="237" y="111"/>
                    </a:lnTo>
                    <a:lnTo>
                      <a:pt x="240" y="107"/>
                    </a:lnTo>
                    <a:lnTo>
                      <a:pt x="248" y="104"/>
                    </a:lnTo>
                    <a:lnTo>
                      <a:pt x="250" y="102"/>
                    </a:lnTo>
                    <a:lnTo>
                      <a:pt x="254" y="102"/>
                    </a:lnTo>
                    <a:lnTo>
                      <a:pt x="256" y="98"/>
                    </a:lnTo>
                    <a:lnTo>
                      <a:pt x="259" y="97"/>
                    </a:lnTo>
                    <a:lnTo>
                      <a:pt x="259" y="96"/>
                    </a:lnTo>
                    <a:lnTo>
                      <a:pt x="262" y="94"/>
                    </a:lnTo>
                    <a:lnTo>
                      <a:pt x="264" y="91"/>
                    </a:lnTo>
                    <a:lnTo>
                      <a:pt x="265" y="91"/>
                    </a:lnTo>
                    <a:lnTo>
                      <a:pt x="269" y="87"/>
                    </a:lnTo>
                    <a:lnTo>
                      <a:pt x="269" y="77"/>
                    </a:lnTo>
                    <a:lnTo>
                      <a:pt x="267" y="68"/>
                    </a:lnTo>
                    <a:lnTo>
                      <a:pt x="266" y="64"/>
                    </a:lnTo>
                    <a:lnTo>
                      <a:pt x="267" y="61"/>
                    </a:lnTo>
                    <a:lnTo>
                      <a:pt x="265" y="57"/>
                    </a:lnTo>
                    <a:lnTo>
                      <a:pt x="266" y="49"/>
                    </a:lnTo>
                    <a:lnTo>
                      <a:pt x="265" y="47"/>
                    </a:lnTo>
                    <a:lnTo>
                      <a:pt x="265" y="42"/>
                    </a:lnTo>
                    <a:lnTo>
                      <a:pt x="262" y="40"/>
                    </a:lnTo>
                    <a:lnTo>
                      <a:pt x="260" y="36"/>
                    </a:lnTo>
                    <a:lnTo>
                      <a:pt x="259" y="26"/>
                    </a:lnTo>
                    <a:lnTo>
                      <a:pt x="262" y="20"/>
                    </a:lnTo>
                    <a:lnTo>
                      <a:pt x="262" y="21"/>
                    </a:lnTo>
                    <a:lnTo>
                      <a:pt x="268" y="23"/>
                    </a:lnTo>
                    <a:lnTo>
                      <a:pt x="272" y="21"/>
                    </a:lnTo>
                    <a:lnTo>
                      <a:pt x="272" y="17"/>
                    </a:lnTo>
                    <a:lnTo>
                      <a:pt x="279" y="14"/>
                    </a:lnTo>
                    <a:lnTo>
                      <a:pt x="282" y="13"/>
                    </a:lnTo>
                    <a:lnTo>
                      <a:pt x="285" y="14"/>
                    </a:lnTo>
                    <a:lnTo>
                      <a:pt x="289" y="12"/>
                    </a:lnTo>
                    <a:lnTo>
                      <a:pt x="291" y="14"/>
                    </a:lnTo>
                    <a:lnTo>
                      <a:pt x="292" y="12"/>
                    </a:lnTo>
                    <a:lnTo>
                      <a:pt x="294" y="12"/>
                    </a:lnTo>
                    <a:lnTo>
                      <a:pt x="295" y="11"/>
                    </a:lnTo>
                    <a:lnTo>
                      <a:pt x="296" y="10"/>
                    </a:lnTo>
                    <a:lnTo>
                      <a:pt x="303" y="10"/>
                    </a:lnTo>
                    <a:lnTo>
                      <a:pt x="309" y="8"/>
                    </a:lnTo>
                    <a:lnTo>
                      <a:pt x="314" y="8"/>
                    </a:lnTo>
                    <a:lnTo>
                      <a:pt x="316" y="7"/>
                    </a:lnTo>
                    <a:lnTo>
                      <a:pt x="320" y="2"/>
                    </a:lnTo>
                    <a:lnTo>
                      <a:pt x="322" y="2"/>
                    </a:lnTo>
                    <a:lnTo>
                      <a:pt x="325" y="0"/>
                    </a:lnTo>
                    <a:lnTo>
                      <a:pt x="327" y="1"/>
                    </a:lnTo>
                    <a:lnTo>
                      <a:pt x="330" y="0"/>
                    </a:lnTo>
                    <a:lnTo>
                      <a:pt x="332" y="2"/>
                    </a:lnTo>
                    <a:lnTo>
                      <a:pt x="331" y="5"/>
                    </a:lnTo>
                    <a:lnTo>
                      <a:pt x="332" y="6"/>
                    </a:lnTo>
                    <a:lnTo>
                      <a:pt x="333" y="6"/>
                    </a:lnTo>
                    <a:lnTo>
                      <a:pt x="335" y="9"/>
                    </a:lnTo>
                    <a:lnTo>
                      <a:pt x="338" y="9"/>
                    </a:lnTo>
                    <a:lnTo>
                      <a:pt x="338" y="8"/>
                    </a:lnTo>
                    <a:lnTo>
                      <a:pt x="338" y="4"/>
                    </a:lnTo>
                    <a:lnTo>
                      <a:pt x="335" y="2"/>
                    </a:lnTo>
                    <a:lnTo>
                      <a:pt x="338" y="0"/>
                    </a:lnTo>
                    <a:lnTo>
                      <a:pt x="343" y="5"/>
                    </a:lnTo>
                    <a:lnTo>
                      <a:pt x="349" y="7"/>
                    </a:lnTo>
                    <a:lnTo>
                      <a:pt x="350" y="10"/>
                    </a:lnTo>
                    <a:lnTo>
                      <a:pt x="352" y="11"/>
                    </a:lnTo>
                    <a:lnTo>
                      <a:pt x="355" y="10"/>
                    </a:lnTo>
                    <a:lnTo>
                      <a:pt x="355" y="12"/>
                    </a:lnTo>
                    <a:lnTo>
                      <a:pt x="359" y="12"/>
                    </a:lnTo>
                    <a:lnTo>
                      <a:pt x="360" y="12"/>
                    </a:lnTo>
                    <a:lnTo>
                      <a:pt x="360" y="14"/>
                    </a:lnTo>
                    <a:lnTo>
                      <a:pt x="362" y="14"/>
                    </a:lnTo>
                    <a:lnTo>
                      <a:pt x="366" y="18"/>
                    </a:lnTo>
                    <a:lnTo>
                      <a:pt x="370" y="18"/>
                    </a:lnTo>
                    <a:lnTo>
                      <a:pt x="371" y="17"/>
                    </a:lnTo>
                    <a:lnTo>
                      <a:pt x="373" y="17"/>
                    </a:lnTo>
                    <a:lnTo>
                      <a:pt x="378" y="21"/>
                    </a:lnTo>
                    <a:lnTo>
                      <a:pt x="382" y="23"/>
                    </a:lnTo>
                    <a:lnTo>
                      <a:pt x="388" y="24"/>
                    </a:lnTo>
                    <a:lnTo>
                      <a:pt x="390" y="24"/>
                    </a:lnTo>
                    <a:lnTo>
                      <a:pt x="393" y="23"/>
                    </a:lnTo>
                    <a:lnTo>
                      <a:pt x="394" y="24"/>
                    </a:lnTo>
                    <a:lnTo>
                      <a:pt x="396" y="24"/>
                    </a:lnTo>
                    <a:lnTo>
                      <a:pt x="396" y="26"/>
                    </a:lnTo>
                    <a:lnTo>
                      <a:pt x="396" y="27"/>
                    </a:lnTo>
                    <a:lnTo>
                      <a:pt x="394" y="32"/>
                    </a:lnTo>
                    <a:lnTo>
                      <a:pt x="400" y="35"/>
                    </a:lnTo>
                    <a:lnTo>
                      <a:pt x="407" y="37"/>
                    </a:lnTo>
                    <a:lnTo>
                      <a:pt x="408" y="39"/>
                    </a:lnTo>
                    <a:lnTo>
                      <a:pt x="407" y="41"/>
                    </a:lnTo>
                    <a:lnTo>
                      <a:pt x="411" y="45"/>
                    </a:lnTo>
                    <a:lnTo>
                      <a:pt x="411" y="47"/>
                    </a:lnTo>
                    <a:lnTo>
                      <a:pt x="414" y="51"/>
                    </a:lnTo>
                    <a:lnTo>
                      <a:pt x="423" y="53"/>
                    </a:lnTo>
                    <a:lnTo>
                      <a:pt x="428" y="53"/>
                    </a:lnTo>
                    <a:lnTo>
                      <a:pt x="430" y="54"/>
                    </a:lnTo>
                    <a:lnTo>
                      <a:pt x="431" y="59"/>
                    </a:lnTo>
                    <a:lnTo>
                      <a:pt x="432" y="59"/>
                    </a:lnTo>
                    <a:lnTo>
                      <a:pt x="433" y="59"/>
                    </a:lnTo>
                    <a:lnTo>
                      <a:pt x="437" y="58"/>
                    </a:lnTo>
                    <a:lnTo>
                      <a:pt x="440" y="59"/>
                    </a:lnTo>
                    <a:lnTo>
                      <a:pt x="441" y="59"/>
                    </a:lnTo>
                    <a:lnTo>
                      <a:pt x="442" y="57"/>
                    </a:lnTo>
                    <a:lnTo>
                      <a:pt x="446" y="55"/>
                    </a:lnTo>
                    <a:lnTo>
                      <a:pt x="451" y="54"/>
                    </a:lnTo>
                    <a:lnTo>
                      <a:pt x="454" y="52"/>
                    </a:lnTo>
                    <a:lnTo>
                      <a:pt x="457" y="51"/>
                    </a:lnTo>
                    <a:lnTo>
                      <a:pt x="463" y="47"/>
                    </a:lnTo>
                    <a:lnTo>
                      <a:pt x="464" y="47"/>
                    </a:lnTo>
                    <a:lnTo>
                      <a:pt x="467" y="49"/>
                    </a:lnTo>
                    <a:lnTo>
                      <a:pt x="471" y="49"/>
                    </a:lnTo>
                    <a:lnTo>
                      <a:pt x="478" y="54"/>
                    </a:lnTo>
                    <a:lnTo>
                      <a:pt x="483" y="56"/>
                    </a:lnTo>
                    <a:lnTo>
                      <a:pt x="487" y="57"/>
                    </a:lnTo>
                    <a:lnTo>
                      <a:pt x="496" y="56"/>
                    </a:lnTo>
                    <a:close/>
                  </a:path>
                </a:pathLst>
              </a:custGeom>
              <a:solidFill>
                <a:srgbClr val="E7E7E4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46" name="Moldova">
                <a:extLst>
                  <a:ext uri="{FF2B5EF4-FFF2-40B4-BE49-F238E27FC236}">
                    <a16:creationId xmlns:a16="http://schemas.microsoft.com/office/drawing/2014/main" id="{131A2E32-0606-48BE-8725-988B63C54641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169777" y="3757821"/>
                <a:ext cx="310502" cy="408402"/>
              </a:xfrm>
              <a:custGeom>
                <a:avLst/>
                <a:gdLst>
                  <a:gd name="T0" fmla="*/ 258 w 277"/>
                  <a:gd name="T1" fmla="*/ 206 h 318"/>
                  <a:gd name="T2" fmla="*/ 270 w 277"/>
                  <a:gd name="T3" fmla="*/ 216 h 318"/>
                  <a:gd name="T4" fmla="*/ 271 w 277"/>
                  <a:gd name="T5" fmla="*/ 220 h 318"/>
                  <a:gd name="T6" fmla="*/ 249 w 277"/>
                  <a:gd name="T7" fmla="*/ 216 h 318"/>
                  <a:gd name="T8" fmla="*/ 241 w 277"/>
                  <a:gd name="T9" fmla="*/ 223 h 318"/>
                  <a:gd name="T10" fmla="*/ 225 w 277"/>
                  <a:gd name="T11" fmla="*/ 212 h 318"/>
                  <a:gd name="T12" fmla="*/ 212 w 277"/>
                  <a:gd name="T13" fmla="*/ 209 h 318"/>
                  <a:gd name="T14" fmla="*/ 210 w 277"/>
                  <a:gd name="T15" fmla="*/ 218 h 318"/>
                  <a:gd name="T16" fmla="*/ 207 w 277"/>
                  <a:gd name="T17" fmla="*/ 211 h 318"/>
                  <a:gd name="T18" fmla="*/ 200 w 277"/>
                  <a:gd name="T19" fmla="*/ 208 h 318"/>
                  <a:gd name="T20" fmla="*/ 191 w 277"/>
                  <a:gd name="T21" fmla="*/ 241 h 318"/>
                  <a:gd name="T22" fmla="*/ 169 w 277"/>
                  <a:gd name="T23" fmla="*/ 267 h 318"/>
                  <a:gd name="T24" fmla="*/ 156 w 277"/>
                  <a:gd name="T25" fmla="*/ 290 h 318"/>
                  <a:gd name="T26" fmla="*/ 148 w 277"/>
                  <a:gd name="T27" fmla="*/ 307 h 318"/>
                  <a:gd name="T28" fmla="*/ 133 w 277"/>
                  <a:gd name="T29" fmla="*/ 310 h 318"/>
                  <a:gd name="T30" fmla="*/ 121 w 277"/>
                  <a:gd name="T31" fmla="*/ 309 h 318"/>
                  <a:gd name="T32" fmla="*/ 122 w 277"/>
                  <a:gd name="T33" fmla="*/ 299 h 318"/>
                  <a:gd name="T34" fmla="*/ 120 w 277"/>
                  <a:gd name="T35" fmla="*/ 276 h 318"/>
                  <a:gd name="T36" fmla="*/ 117 w 277"/>
                  <a:gd name="T37" fmla="*/ 257 h 318"/>
                  <a:gd name="T38" fmla="*/ 120 w 277"/>
                  <a:gd name="T39" fmla="*/ 236 h 318"/>
                  <a:gd name="T40" fmla="*/ 127 w 277"/>
                  <a:gd name="T41" fmla="*/ 221 h 318"/>
                  <a:gd name="T42" fmla="*/ 127 w 277"/>
                  <a:gd name="T43" fmla="*/ 204 h 318"/>
                  <a:gd name="T44" fmla="*/ 122 w 277"/>
                  <a:gd name="T45" fmla="*/ 180 h 318"/>
                  <a:gd name="T46" fmla="*/ 117 w 277"/>
                  <a:gd name="T47" fmla="*/ 163 h 318"/>
                  <a:gd name="T48" fmla="*/ 103 w 277"/>
                  <a:gd name="T49" fmla="*/ 150 h 318"/>
                  <a:gd name="T50" fmla="*/ 93 w 277"/>
                  <a:gd name="T51" fmla="*/ 138 h 318"/>
                  <a:gd name="T52" fmla="*/ 78 w 277"/>
                  <a:gd name="T53" fmla="*/ 121 h 318"/>
                  <a:gd name="T54" fmla="*/ 72 w 277"/>
                  <a:gd name="T55" fmla="*/ 107 h 318"/>
                  <a:gd name="T56" fmla="*/ 54 w 277"/>
                  <a:gd name="T57" fmla="*/ 87 h 318"/>
                  <a:gd name="T58" fmla="*/ 50 w 277"/>
                  <a:gd name="T59" fmla="*/ 72 h 318"/>
                  <a:gd name="T60" fmla="*/ 43 w 277"/>
                  <a:gd name="T61" fmla="*/ 61 h 318"/>
                  <a:gd name="T62" fmla="*/ 42 w 277"/>
                  <a:gd name="T63" fmla="*/ 50 h 318"/>
                  <a:gd name="T64" fmla="*/ 34 w 277"/>
                  <a:gd name="T65" fmla="*/ 42 h 318"/>
                  <a:gd name="T66" fmla="*/ 31 w 277"/>
                  <a:gd name="T67" fmla="*/ 35 h 318"/>
                  <a:gd name="T68" fmla="*/ 24 w 277"/>
                  <a:gd name="T69" fmla="*/ 30 h 318"/>
                  <a:gd name="T70" fmla="*/ 9 w 277"/>
                  <a:gd name="T71" fmla="*/ 25 h 318"/>
                  <a:gd name="T72" fmla="*/ 1 w 277"/>
                  <a:gd name="T73" fmla="*/ 25 h 318"/>
                  <a:gd name="T74" fmla="*/ 9 w 277"/>
                  <a:gd name="T75" fmla="*/ 17 h 318"/>
                  <a:gd name="T76" fmla="*/ 14 w 277"/>
                  <a:gd name="T77" fmla="*/ 14 h 318"/>
                  <a:gd name="T78" fmla="*/ 29 w 277"/>
                  <a:gd name="T79" fmla="*/ 13 h 318"/>
                  <a:gd name="T80" fmla="*/ 40 w 277"/>
                  <a:gd name="T81" fmla="*/ 11 h 318"/>
                  <a:gd name="T82" fmla="*/ 59 w 277"/>
                  <a:gd name="T83" fmla="*/ 5 h 318"/>
                  <a:gd name="T84" fmla="*/ 72 w 277"/>
                  <a:gd name="T85" fmla="*/ 3 h 318"/>
                  <a:gd name="T86" fmla="*/ 95 w 277"/>
                  <a:gd name="T87" fmla="*/ 7 h 318"/>
                  <a:gd name="T88" fmla="*/ 120 w 277"/>
                  <a:gd name="T89" fmla="*/ 27 h 318"/>
                  <a:gd name="T90" fmla="*/ 136 w 277"/>
                  <a:gd name="T91" fmla="*/ 26 h 318"/>
                  <a:gd name="T92" fmla="*/ 136 w 277"/>
                  <a:gd name="T93" fmla="*/ 38 h 318"/>
                  <a:gd name="T94" fmla="*/ 149 w 277"/>
                  <a:gd name="T95" fmla="*/ 45 h 318"/>
                  <a:gd name="T96" fmla="*/ 154 w 277"/>
                  <a:gd name="T97" fmla="*/ 35 h 318"/>
                  <a:gd name="T98" fmla="*/ 170 w 277"/>
                  <a:gd name="T99" fmla="*/ 39 h 318"/>
                  <a:gd name="T100" fmla="*/ 178 w 277"/>
                  <a:gd name="T101" fmla="*/ 51 h 318"/>
                  <a:gd name="T102" fmla="*/ 195 w 277"/>
                  <a:gd name="T103" fmla="*/ 56 h 318"/>
                  <a:gd name="T104" fmla="*/ 204 w 277"/>
                  <a:gd name="T105" fmla="*/ 63 h 318"/>
                  <a:gd name="T106" fmla="*/ 208 w 277"/>
                  <a:gd name="T107" fmla="*/ 77 h 318"/>
                  <a:gd name="T108" fmla="*/ 203 w 277"/>
                  <a:gd name="T109" fmla="*/ 94 h 318"/>
                  <a:gd name="T110" fmla="*/ 200 w 277"/>
                  <a:gd name="T111" fmla="*/ 108 h 318"/>
                  <a:gd name="T112" fmla="*/ 212 w 277"/>
                  <a:gd name="T113" fmla="*/ 109 h 318"/>
                  <a:gd name="T114" fmla="*/ 219 w 277"/>
                  <a:gd name="T115" fmla="*/ 124 h 318"/>
                  <a:gd name="T116" fmla="*/ 233 w 277"/>
                  <a:gd name="T117" fmla="*/ 118 h 318"/>
                  <a:gd name="T118" fmla="*/ 233 w 277"/>
                  <a:gd name="T119" fmla="*/ 146 h 318"/>
                  <a:gd name="T120" fmla="*/ 236 w 277"/>
                  <a:gd name="T121" fmla="*/ 162 h 318"/>
                  <a:gd name="T122" fmla="*/ 256 w 277"/>
                  <a:gd name="T123" fmla="*/ 169 h 318"/>
                  <a:gd name="T124" fmla="*/ 264 w 277"/>
                  <a:gd name="T125" fmla="*/ 181 h 31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277"/>
                  <a:gd name="T190" fmla="*/ 0 h 318"/>
                  <a:gd name="T191" fmla="*/ 277 w 277"/>
                  <a:gd name="T192" fmla="*/ 318 h 31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277" h="318">
                    <a:moveTo>
                      <a:pt x="263" y="189"/>
                    </a:moveTo>
                    <a:lnTo>
                      <a:pt x="261" y="194"/>
                    </a:lnTo>
                    <a:lnTo>
                      <a:pt x="262" y="200"/>
                    </a:lnTo>
                    <a:lnTo>
                      <a:pt x="261" y="200"/>
                    </a:lnTo>
                    <a:lnTo>
                      <a:pt x="261" y="203"/>
                    </a:lnTo>
                    <a:lnTo>
                      <a:pt x="258" y="203"/>
                    </a:lnTo>
                    <a:lnTo>
                      <a:pt x="258" y="204"/>
                    </a:lnTo>
                    <a:lnTo>
                      <a:pt x="258" y="206"/>
                    </a:lnTo>
                    <a:lnTo>
                      <a:pt x="260" y="209"/>
                    </a:lnTo>
                    <a:lnTo>
                      <a:pt x="262" y="209"/>
                    </a:lnTo>
                    <a:lnTo>
                      <a:pt x="264" y="211"/>
                    </a:lnTo>
                    <a:lnTo>
                      <a:pt x="265" y="210"/>
                    </a:lnTo>
                    <a:lnTo>
                      <a:pt x="267" y="212"/>
                    </a:lnTo>
                    <a:lnTo>
                      <a:pt x="266" y="213"/>
                    </a:lnTo>
                    <a:lnTo>
                      <a:pt x="267" y="214"/>
                    </a:lnTo>
                    <a:lnTo>
                      <a:pt x="270" y="216"/>
                    </a:lnTo>
                    <a:lnTo>
                      <a:pt x="272" y="218"/>
                    </a:lnTo>
                    <a:lnTo>
                      <a:pt x="273" y="216"/>
                    </a:lnTo>
                    <a:lnTo>
                      <a:pt x="275" y="217"/>
                    </a:lnTo>
                    <a:lnTo>
                      <a:pt x="276" y="218"/>
                    </a:lnTo>
                    <a:lnTo>
                      <a:pt x="277" y="218"/>
                    </a:lnTo>
                    <a:lnTo>
                      <a:pt x="277" y="219"/>
                    </a:lnTo>
                    <a:lnTo>
                      <a:pt x="273" y="221"/>
                    </a:lnTo>
                    <a:lnTo>
                      <a:pt x="271" y="220"/>
                    </a:lnTo>
                    <a:lnTo>
                      <a:pt x="266" y="222"/>
                    </a:lnTo>
                    <a:lnTo>
                      <a:pt x="265" y="222"/>
                    </a:lnTo>
                    <a:lnTo>
                      <a:pt x="261" y="220"/>
                    </a:lnTo>
                    <a:lnTo>
                      <a:pt x="258" y="222"/>
                    </a:lnTo>
                    <a:lnTo>
                      <a:pt x="256" y="224"/>
                    </a:lnTo>
                    <a:lnTo>
                      <a:pt x="251" y="222"/>
                    </a:lnTo>
                    <a:lnTo>
                      <a:pt x="251" y="218"/>
                    </a:lnTo>
                    <a:lnTo>
                      <a:pt x="249" y="216"/>
                    </a:lnTo>
                    <a:lnTo>
                      <a:pt x="249" y="214"/>
                    </a:lnTo>
                    <a:lnTo>
                      <a:pt x="245" y="212"/>
                    </a:lnTo>
                    <a:lnTo>
                      <a:pt x="244" y="216"/>
                    </a:lnTo>
                    <a:lnTo>
                      <a:pt x="241" y="216"/>
                    </a:lnTo>
                    <a:lnTo>
                      <a:pt x="240" y="215"/>
                    </a:lnTo>
                    <a:lnTo>
                      <a:pt x="239" y="215"/>
                    </a:lnTo>
                    <a:lnTo>
                      <a:pt x="239" y="221"/>
                    </a:lnTo>
                    <a:lnTo>
                      <a:pt x="241" y="223"/>
                    </a:lnTo>
                    <a:lnTo>
                      <a:pt x="240" y="224"/>
                    </a:lnTo>
                    <a:lnTo>
                      <a:pt x="234" y="224"/>
                    </a:lnTo>
                    <a:lnTo>
                      <a:pt x="233" y="224"/>
                    </a:lnTo>
                    <a:lnTo>
                      <a:pt x="230" y="219"/>
                    </a:lnTo>
                    <a:lnTo>
                      <a:pt x="228" y="218"/>
                    </a:lnTo>
                    <a:lnTo>
                      <a:pt x="225" y="216"/>
                    </a:lnTo>
                    <a:lnTo>
                      <a:pt x="227" y="213"/>
                    </a:lnTo>
                    <a:lnTo>
                      <a:pt x="225" y="212"/>
                    </a:lnTo>
                    <a:lnTo>
                      <a:pt x="222" y="210"/>
                    </a:lnTo>
                    <a:lnTo>
                      <a:pt x="218" y="214"/>
                    </a:lnTo>
                    <a:lnTo>
                      <a:pt x="219" y="216"/>
                    </a:lnTo>
                    <a:lnTo>
                      <a:pt x="216" y="214"/>
                    </a:lnTo>
                    <a:lnTo>
                      <a:pt x="216" y="212"/>
                    </a:lnTo>
                    <a:lnTo>
                      <a:pt x="214" y="209"/>
                    </a:lnTo>
                    <a:lnTo>
                      <a:pt x="212" y="209"/>
                    </a:lnTo>
                    <a:lnTo>
                      <a:pt x="213" y="212"/>
                    </a:lnTo>
                    <a:lnTo>
                      <a:pt x="211" y="212"/>
                    </a:lnTo>
                    <a:lnTo>
                      <a:pt x="212" y="214"/>
                    </a:lnTo>
                    <a:lnTo>
                      <a:pt x="211" y="215"/>
                    </a:lnTo>
                    <a:lnTo>
                      <a:pt x="212" y="216"/>
                    </a:lnTo>
                    <a:lnTo>
                      <a:pt x="212" y="218"/>
                    </a:lnTo>
                    <a:lnTo>
                      <a:pt x="211" y="219"/>
                    </a:lnTo>
                    <a:lnTo>
                      <a:pt x="210" y="218"/>
                    </a:lnTo>
                    <a:lnTo>
                      <a:pt x="208" y="218"/>
                    </a:lnTo>
                    <a:lnTo>
                      <a:pt x="206" y="222"/>
                    </a:lnTo>
                    <a:lnTo>
                      <a:pt x="204" y="220"/>
                    </a:lnTo>
                    <a:lnTo>
                      <a:pt x="205" y="217"/>
                    </a:lnTo>
                    <a:lnTo>
                      <a:pt x="205" y="214"/>
                    </a:lnTo>
                    <a:lnTo>
                      <a:pt x="206" y="214"/>
                    </a:lnTo>
                    <a:lnTo>
                      <a:pt x="206" y="212"/>
                    </a:lnTo>
                    <a:lnTo>
                      <a:pt x="207" y="211"/>
                    </a:lnTo>
                    <a:lnTo>
                      <a:pt x="207" y="208"/>
                    </a:lnTo>
                    <a:lnTo>
                      <a:pt x="205" y="208"/>
                    </a:lnTo>
                    <a:lnTo>
                      <a:pt x="206" y="203"/>
                    </a:lnTo>
                    <a:lnTo>
                      <a:pt x="202" y="205"/>
                    </a:lnTo>
                    <a:lnTo>
                      <a:pt x="200" y="204"/>
                    </a:lnTo>
                    <a:lnTo>
                      <a:pt x="201" y="206"/>
                    </a:lnTo>
                    <a:lnTo>
                      <a:pt x="200" y="208"/>
                    </a:lnTo>
                    <a:lnTo>
                      <a:pt x="191" y="207"/>
                    </a:lnTo>
                    <a:lnTo>
                      <a:pt x="190" y="210"/>
                    </a:lnTo>
                    <a:lnTo>
                      <a:pt x="187" y="211"/>
                    </a:lnTo>
                    <a:lnTo>
                      <a:pt x="186" y="213"/>
                    </a:lnTo>
                    <a:lnTo>
                      <a:pt x="182" y="214"/>
                    </a:lnTo>
                    <a:lnTo>
                      <a:pt x="186" y="227"/>
                    </a:lnTo>
                    <a:lnTo>
                      <a:pt x="182" y="232"/>
                    </a:lnTo>
                    <a:lnTo>
                      <a:pt x="191" y="241"/>
                    </a:lnTo>
                    <a:lnTo>
                      <a:pt x="184" y="250"/>
                    </a:lnTo>
                    <a:lnTo>
                      <a:pt x="183" y="251"/>
                    </a:lnTo>
                    <a:lnTo>
                      <a:pt x="187" y="255"/>
                    </a:lnTo>
                    <a:lnTo>
                      <a:pt x="186" y="259"/>
                    </a:lnTo>
                    <a:lnTo>
                      <a:pt x="185" y="260"/>
                    </a:lnTo>
                    <a:lnTo>
                      <a:pt x="183" y="262"/>
                    </a:lnTo>
                    <a:lnTo>
                      <a:pt x="170" y="264"/>
                    </a:lnTo>
                    <a:lnTo>
                      <a:pt x="169" y="267"/>
                    </a:lnTo>
                    <a:lnTo>
                      <a:pt x="169" y="271"/>
                    </a:lnTo>
                    <a:lnTo>
                      <a:pt x="170" y="278"/>
                    </a:lnTo>
                    <a:lnTo>
                      <a:pt x="164" y="281"/>
                    </a:lnTo>
                    <a:lnTo>
                      <a:pt x="164" y="284"/>
                    </a:lnTo>
                    <a:lnTo>
                      <a:pt x="156" y="287"/>
                    </a:lnTo>
                    <a:lnTo>
                      <a:pt x="156" y="290"/>
                    </a:lnTo>
                    <a:lnTo>
                      <a:pt x="151" y="290"/>
                    </a:lnTo>
                    <a:lnTo>
                      <a:pt x="150" y="291"/>
                    </a:lnTo>
                    <a:lnTo>
                      <a:pt x="147" y="296"/>
                    </a:lnTo>
                    <a:lnTo>
                      <a:pt x="148" y="297"/>
                    </a:lnTo>
                    <a:lnTo>
                      <a:pt x="150" y="296"/>
                    </a:lnTo>
                    <a:lnTo>
                      <a:pt x="151" y="305"/>
                    </a:lnTo>
                    <a:lnTo>
                      <a:pt x="151" y="307"/>
                    </a:lnTo>
                    <a:lnTo>
                      <a:pt x="148" y="307"/>
                    </a:lnTo>
                    <a:lnTo>
                      <a:pt x="148" y="308"/>
                    </a:lnTo>
                    <a:lnTo>
                      <a:pt x="149" y="311"/>
                    </a:lnTo>
                    <a:lnTo>
                      <a:pt x="149" y="314"/>
                    </a:lnTo>
                    <a:lnTo>
                      <a:pt x="147" y="315"/>
                    </a:lnTo>
                    <a:lnTo>
                      <a:pt x="143" y="316"/>
                    </a:lnTo>
                    <a:lnTo>
                      <a:pt x="142" y="315"/>
                    </a:lnTo>
                    <a:lnTo>
                      <a:pt x="140" y="313"/>
                    </a:lnTo>
                    <a:lnTo>
                      <a:pt x="133" y="310"/>
                    </a:lnTo>
                    <a:lnTo>
                      <a:pt x="129" y="311"/>
                    </a:lnTo>
                    <a:lnTo>
                      <a:pt x="126" y="315"/>
                    </a:lnTo>
                    <a:lnTo>
                      <a:pt x="125" y="318"/>
                    </a:lnTo>
                    <a:lnTo>
                      <a:pt x="123" y="317"/>
                    </a:lnTo>
                    <a:lnTo>
                      <a:pt x="122" y="314"/>
                    </a:lnTo>
                    <a:lnTo>
                      <a:pt x="123" y="312"/>
                    </a:lnTo>
                    <a:lnTo>
                      <a:pt x="121" y="311"/>
                    </a:lnTo>
                    <a:lnTo>
                      <a:pt x="121" y="309"/>
                    </a:lnTo>
                    <a:lnTo>
                      <a:pt x="118" y="308"/>
                    </a:lnTo>
                    <a:lnTo>
                      <a:pt x="117" y="306"/>
                    </a:lnTo>
                    <a:lnTo>
                      <a:pt x="115" y="306"/>
                    </a:lnTo>
                    <a:lnTo>
                      <a:pt x="114" y="305"/>
                    </a:lnTo>
                    <a:lnTo>
                      <a:pt x="118" y="302"/>
                    </a:lnTo>
                    <a:lnTo>
                      <a:pt x="122" y="301"/>
                    </a:lnTo>
                    <a:lnTo>
                      <a:pt x="122" y="299"/>
                    </a:lnTo>
                    <a:lnTo>
                      <a:pt x="122" y="296"/>
                    </a:lnTo>
                    <a:lnTo>
                      <a:pt x="122" y="290"/>
                    </a:lnTo>
                    <a:lnTo>
                      <a:pt x="121" y="289"/>
                    </a:lnTo>
                    <a:lnTo>
                      <a:pt x="121" y="287"/>
                    </a:lnTo>
                    <a:lnTo>
                      <a:pt x="119" y="284"/>
                    </a:lnTo>
                    <a:lnTo>
                      <a:pt x="118" y="281"/>
                    </a:lnTo>
                    <a:lnTo>
                      <a:pt x="118" y="278"/>
                    </a:lnTo>
                    <a:lnTo>
                      <a:pt x="120" y="276"/>
                    </a:lnTo>
                    <a:lnTo>
                      <a:pt x="118" y="274"/>
                    </a:lnTo>
                    <a:lnTo>
                      <a:pt x="119" y="270"/>
                    </a:lnTo>
                    <a:lnTo>
                      <a:pt x="117" y="268"/>
                    </a:lnTo>
                    <a:lnTo>
                      <a:pt x="118" y="267"/>
                    </a:lnTo>
                    <a:lnTo>
                      <a:pt x="118" y="266"/>
                    </a:lnTo>
                    <a:lnTo>
                      <a:pt x="116" y="262"/>
                    </a:lnTo>
                    <a:lnTo>
                      <a:pt x="117" y="258"/>
                    </a:lnTo>
                    <a:lnTo>
                      <a:pt x="117" y="257"/>
                    </a:lnTo>
                    <a:lnTo>
                      <a:pt x="117" y="254"/>
                    </a:lnTo>
                    <a:lnTo>
                      <a:pt x="118" y="253"/>
                    </a:lnTo>
                    <a:lnTo>
                      <a:pt x="117" y="252"/>
                    </a:lnTo>
                    <a:lnTo>
                      <a:pt x="120" y="247"/>
                    </a:lnTo>
                    <a:lnTo>
                      <a:pt x="120" y="242"/>
                    </a:lnTo>
                    <a:lnTo>
                      <a:pt x="118" y="240"/>
                    </a:lnTo>
                    <a:lnTo>
                      <a:pt x="118" y="238"/>
                    </a:lnTo>
                    <a:lnTo>
                      <a:pt x="120" y="236"/>
                    </a:lnTo>
                    <a:lnTo>
                      <a:pt x="120" y="235"/>
                    </a:lnTo>
                    <a:lnTo>
                      <a:pt x="120" y="234"/>
                    </a:lnTo>
                    <a:lnTo>
                      <a:pt x="124" y="232"/>
                    </a:lnTo>
                    <a:lnTo>
                      <a:pt x="125" y="230"/>
                    </a:lnTo>
                    <a:lnTo>
                      <a:pt x="124" y="226"/>
                    </a:lnTo>
                    <a:lnTo>
                      <a:pt x="125" y="225"/>
                    </a:lnTo>
                    <a:lnTo>
                      <a:pt x="126" y="222"/>
                    </a:lnTo>
                    <a:lnTo>
                      <a:pt x="127" y="221"/>
                    </a:lnTo>
                    <a:lnTo>
                      <a:pt x="127" y="218"/>
                    </a:lnTo>
                    <a:lnTo>
                      <a:pt x="128" y="218"/>
                    </a:lnTo>
                    <a:lnTo>
                      <a:pt x="129" y="216"/>
                    </a:lnTo>
                    <a:lnTo>
                      <a:pt x="129" y="215"/>
                    </a:lnTo>
                    <a:lnTo>
                      <a:pt x="129" y="213"/>
                    </a:lnTo>
                    <a:lnTo>
                      <a:pt x="127" y="212"/>
                    </a:lnTo>
                    <a:lnTo>
                      <a:pt x="126" y="210"/>
                    </a:lnTo>
                    <a:lnTo>
                      <a:pt x="127" y="204"/>
                    </a:lnTo>
                    <a:lnTo>
                      <a:pt x="127" y="202"/>
                    </a:lnTo>
                    <a:lnTo>
                      <a:pt x="129" y="199"/>
                    </a:lnTo>
                    <a:lnTo>
                      <a:pt x="128" y="194"/>
                    </a:lnTo>
                    <a:lnTo>
                      <a:pt x="128" y="192"/>
                    </a:lnTo>
                    <a:lnTo>
                      <a:pt x="126" y="190"/>
                    </a:lnTo>
                    <a:lnTo>
                      <a:pt x="123" y="184"/>
                    </a:lnTo>
                    <a:lnTo>
                      <a:pt x="123" y="182"/>
                    </a:lnTo>
                    <a:lnTo>
                      <a:pt x="122" y="180"/>
                    </a:lnTo>
                    <a:lnTo>
                      <a:pt x="120" y="178"/>
                    </a:lnTo>
                    <a:lnTo>
                      <a:pt x="118" y="174"/>
                    </a:lnTo>
                    <a:lnTo>
                      <a:pt x="119" y="172"/>
                    </a:lnTo>
                    <a:lnTo>
                      <a:pt x="118" y="170"/>
                    </a:lnTo>
                    <a:lnTo>
                      <a:pt x="118" y="168"/>
                    </a:lnTo>
                    <a:lnTo>
                      <a:pt x="117" y="168"/>
                    </a:lnTo>
                    <a:lnTo>
                      <a:pt x="118" y="165"/>
                    </a:lnTo>
                    <a:lnTo>
                      <a:pt x="117" y="163"/>
                    </a:lnTo>
                    <a:lnTo>
                      <a:pt x="117" y="162"/>
                    </a:lnTo>
                    <a:lnTo>
                      <a:pt x="116" y="158"/>
                    </a:lnTo>
                    <a:lnTo>
                      <a:pt x="112" y="156"/>
                    </a:lnTo>
                    <a:lnTo>
                      <a:pt x="112" y="154"/>
                    </a:lnTo>
                    <a:lnTo>
                      <a:pt x="109" y="154"/>
                    </a:lnTo>
                    <a:lnTo>
                      <a:pt x="105" y="152"/>
                    </a:lnTo>
                    <a:lnTo>
                      <a:pt x="105" y="150"/>
                    </a:lnTo>
                    <a:lnTo>
                      <a:pt x="103" y="150"/>
                    </a:lnTo>
                    <a:lnTo>
                      <a:pt x="100" y="146"/>
                    </a:lnTo>
                    <a:lnTo>
                      <a:pt x="97" y="145"/>
                    </a:lnTo>
                    <a:lnTo>
                      <a:pt x="98" y="144"/>
                    </a:lnTo>
                    <a:lnTo>
                      <a:pt x="97" y="143"/>
                    </a:lnTo>
                    <a:lnTo>
                      <a:pt x="94" y="142"/>
                    </a:lnTo>
                    <a:lnTo>
                      <a:pt x="94" y="141"/>
                    </a:lnTo>
                    <a:lnTo>
                      <a:pt x="95" y="139"/>
                    </a:lnTo>
                    <a:lnTo>
                      <a:pt x="93" y="138"/>
                    </a:lnTo>
                    <a:lnTo>
                      <a:pt x="92" y="134"/>
                    </a:lnTo>
                    <a:lnTo>
                      <a:pt x="90" y="132"/>
                    </a:lnTo>
                    <a:lnTo>
                      <a:pt x="90" y="130"/>
                    </a:lnTo>
                    <a:lnTo>
                      <a:pt x="88" y="127"/>
                    </a:lnTo>
                    <a:lnTo>
                      <a:pt x="81" y="125"/>
                    </a:lnTo>
                    <a:lnTo>
                      <a:pt x="80" y="124"/>
                    </a:lnTo>
                    <a:lnTo>
                      <a:pt x="80" y="122"/>
                    </a:lnTo>
                    <a:lnTo>
                      <a:pt x="78" y="121"/>
                    </a:lnTo>
                    <a:lnTo>
                      <a:pt x="78" y="119"/>
                    </a:lnTo>
                    <a:lnTo>
                      <a:pt x="76" y="118"/>
                    </a:lnTo>
                    <a:lnTo>
                      <a:pt x="76" y="116"/>
                    </a:lnTo>
                    <a:lnTo>
                      <a:pt x="77" y="114"/>
                    </a:lnTo>
                    <a:lnTo>
                      <a:pt x="75" y="112"/>
                    </a:lnTo>
                    <a:lnTo>
                      <a:pt x="77" y="109"/>
                    </a:lnTo>
                    <a:lnTo>
                      <a:pt x="74" y="107"/>
                    </a:lnTo>
                    <a:lnTo>
                      <a:pt x="72" y="107"/>
                    </a:lnTo>
                    <a:lnTo>
                      <a:pt x="68" y="106"/>
                    </a:lnTo>
                    <a:lnTo>
                      <a:pt x="68" y="102"/>
                    </a:lnTo>
                    <a:lnTo>
                      <a:pt x="66" y="100"/>
                    </a:lnTo>
                    <a:lnTo>
                      <a:pt x="65" y="96"/>
                    </a:lnTo>
                    <a:lnTo>
                      <a:pt x="62" y="95"/>
                    </a:lnTo>
                    <a:lnTo>
                      <a:pt x="59" y="91"/>
                    </a:lnTo>
                    <a:lnTo>
                      <a:pt x="54" y="87"/>
                    </a:lnTo>
                    <a:lnTo>
                      <a:pt x="54" y="85"/>
                    </a:lnTo>
                    <a:lnTo>
                      <a:pt x="52" y="82"/>
                    </a:lnTo>
                    <a:lnTo>
                      <a:pt x="53" y="81"/>
                    </a:lnTo>
                    <a:lnTo>
                      <a:pt x="54" y="81"/>
                    </a:lnTo>
                    <a:lnTo>
                      <a:pt x="54" y="80"/>
                    </a:lnTo>
                    <a:lnTo>
                      <a:pt x="54" y="79"/>
                    </a:lnTo>
                    <a:lnTo>
                      <a:pt x="50" y="74"/>
                    </a:lnTo>
                    <a:lnTo>
                      <a:pt x="50" y="72"/>
                    </a:lnTo>
                    <a:lnTo>
                      <a:pt x="48" y="71"/>
                    </a:lnTo>
                    <a:lnTo>
                      <a:pt x="51" y="70"/>
                    </a:lnTo>
                    <a:lnTo>
                      <a:pt x="51" y="69"/>
                    </a:lnTo>
                    <a:lnTo>
                      <a:pt x="48" y="68"/>
                    </a:lnTo>
                    <a:lnTo>
                      <a:pt x="48" y="66"/>
                    </a:lnTo>
                    <a:lnTo>
                      <a:pt x="48" y="65"/>
                    </a:lnTo>
                    <a:lnTo>
                      <a:pt x="48" y="62"/>
                    </a:lnTo>
                    <a:lnTo>
                      <a:pt x="43" y="61"/>
                    </a:lnTo>
                    <a:lnTo>
                      <a:pt x="45" y="58"/>
                    </a:lnTo>
                    <a:lnTo>
                      <a:pt x="43" y="56"/>
                    </a:lnTo>
                    <a:lnTo>
                      <a:pt x="45" y="55"/>
                    </a:lnTo>
                    <a:lnTo>
                      <a:pt x="45" y="53"/>
                    </a:lnTo>
                    <a:lnTo>
                      <a:pt x="42" y="53"/>
                    </a:lnTo>
                    <a:lnTo>
                      <a:pt x="42" y="51"/>
                    </a:lnTo>
                    <a:lnTo>
                      <a:pt x="42" y="50"/>
                    </a:lnTo>
                    <a:lnTo>
                      <a:pt x="38" y="51"/>
                    </a:lnTo>
                    <a:lnTo>
                      <a:pt x="38" y="50"/>
                    </a:lnTo>
                    <a:lnTo>
                      <a:pt x="40" y="49"/>
                    </a:lnTo>
                    <a:lnTo>
                      <a:pt x="40" y="48"/>
                    </a:lnTo>
                    <a:lnTo>
                      <a:pt x="38" y="47"/>
                    </a:lnTo>
                    <a:lnTo>
                      <a:pt x="37" y="45"/>
                    </a:lnTo>
                    <a:lnTo>
                      <a:pt x="35" y="45"/>
                    </a:lnTo>
                    <a:lnTo>
                      <a:pt x="34" y="42"/>
                    </a:lnTo>
                    <a:lnTo>
                      <a:pt x="35" y="39"/>
                    </a:lnTo>
                    <a:lnTo>
                      <a:pt x="33" y="37"/>
                    </a:lnTo>
                    <a:lnTo>
                      <a:pt x="32" y="38"/>
                    </a:lnTo>
                    <a:lnTo>
                      <a:pt x="29" y="37"/>
                    </a:lnTo>
                    <a:lnTo>
                      <a:pt x="29" y="36"/>
                    </a:lnTo>
                    <a:lnTo>
                      <a:pt x="32" y="35"/>
                    </a:lnTo>
                    <a:lnTo>
                      <a:pt x="31" y="35"/>
                    </a:lnTo>
                    <a:lnTo>
                      <a:pt x="28" y="33"/>
                    </a:lnTo>
                    <a:lnTo>
                      <a:pt x="28" y="32"/>
                    </a:lnTo>
                    <a:lnTo>
                      <a:pt x="27" y="31"/>
                    </a:lnTo>
                    <a:lnTo>
                      <a:pt x="26" y="31"/>
                    </a:lnTo>
                    <a:lnTo>
                      <a:pt x="25" y="32"/>
                    </a:lnTo>
                    <a:lnTo>
                      <a:pt x="24" y="32"/>
                    </a:lnTo>
                    <a:lnTo>
                      <a:pt x="24" y="31"/>
                    </a:lnTo>
                    <a:lnTo>
                      <a:pt x="24" y="30"/>
                    </a:lnTo>
                    <a:lnTo>
                      <a:pt x="21" y="28"/>
                    </a:lnTo>
                    <a:lnTo>
                      <a:pt x="18" y="28"/>
                    </a:lnTo>
                    <a:lnTo>
                      <a:pt x="18" y="26"/>
                    </a:lnTo>
                    <a:lnTo>
                      <a:pt x="16" y="25"/>
                    </a:lnTo>
                    <a:lnTo>
                      <a:pt x="13" y="25"/>
                    </a:lnTo>
                    <a:lnTo>
                      <a:pt x="11" y="26"/>
                    </a:lnTo>
                    <a:lnTo>
                      <a:pt x="11" y="24"/>
                    </a:lnTo>
                    <a:lnTo>
                      <a:pt x="9" y="25"/>
                    </a:lnTo>
                    <a:lnTo>
                      <a:pt x="8" y="23"/>
                    </a:lnTo>
                    <a:lnTo>
                      <a:pt x="6" y="26"/>
                    </a:lnTo>
                    <a:lnTo>
                      <a:pt x="5" y="25"/>
                    </a:lnTo>
                    <a:lnTo>
                      <a:pt x="5" y="24"/>
                    </a:lnTo>
                    <a:lnTo>
                      <a:pt x="3" y="24"/>
                    </a:lnTo>
                    <a:lnTo>
                      <a:pt x="1" y="27"/>
                    </a:lnTo>
                    <a:lnTo>
                      <a:pt x="0" y="26"/>
                    </a:lnTo>
                    <a:lnTo>
                      <a:pt x="1" y="25"/>
                    </a:lnTo>
                    <a:lnTo>
                      <a:pt x="1" y="23"/>
                    </a:lnTo>
                    <a:lnTo>
                      <a:pt x="1" y="22"/>
                    </a:lnTo>
                    <a:lnTo>
                      <a:pt x="3" y="21"/>
                    </a:lnTo>
                    <a:lnTo>
                      <a:pt x="4" y="18"/>
                    </a:lnTo>
                    <a:lnTo>
                      <a:pt x="5" y="19"/>
                    </a:lnTo>
                    <a:lnTo>
                      <a:pt x="6" y="17"/>
                    </a:lnTo>
                    <a:lnTo>
                      <a:pt x="6" y="15"/>
                    </a:lnTo>
                    <a:lnTo>
                      <a:pt x="9" y="17"/>
                    </a:lnTo>
                    <a:lnTo>
                      <a:pt x="11" y="18"/>
                    </a:lnTo>
                    <a:lnTo>
                      <a:pt x="13" y="23"/>
                    </a:lnTo>
                    <a:lnTo>
                      <a:pt x="14" y="21"/>
                    </a:lnTo>
                    <a:lnTo>
                      <a:pt x="16" y="21"/>
                    </a:lnTo>
                    <a:lnTo>
                      <a:pt x="17" y="19"/>
                    </a:lnTo>
                    <a:lnTo>
                      <a:pt x="17" y="16"/>
                    </a:lnTo>
                    <a:lnTo>
                      <a:pt x="16" y="15"/>
                    </a:lnTo>
                    <a:lnTo>
                      <a:pt x="14" y="14"/>
                    </a:lnTo>
                    <a:lnTo>
                      <a:pt x="8" y="9"/>
                    </a:lnTo>
                    <a:lnTo>
                      <a:pt x="11" y="9"/>
                    </a:lnTo>
                    <a:lnTo>
                      <a:pt x="15" y="8"/>
                    </a:lnTo>
                    <a:lnTo>
                      <a:pt x="21" y="6"/>
                    </a:lnTo>
                    <a:lnTo>
                      <a:pt x="22" y="7"/>
                    </a:lnTo>
                    <a:lnTo>
                      <a:pt x="23" y="11"/>
                    </a:lnTo>
                    <a:lnTo>
                      <a:pt x="25" y="12"/>
                    </a:lnTo>
                    <a:lnTo>
                      <a:pt x="29" y="13"/>
                    </a:lnTo>
                    <a:lnTo>
                      <a:pt x="31" y="13"/>
                    </a:lnTo>
                    <a:lnTo>
                      <a:pt x="32" y="11"/>
                    </a:lnTo>
                    <a:lnTo>
                      <a:pt x="35" y="10"/>
                    </a:lnTo>
                    <a:lnTo>
                      <a:pt x="35" y="9"/>
                    </a:lnTo>
                    <a:lnTo>
                      <a:pt x="33" y="6"/>
                    </a:lnTo>
                    <a:lnTo>
                      <a:pt x="36" y="5"/>
                    </a:lnTo>
                    <a:lnTo>
                      <a:pt x="38" y="9"/>
                    </a:lnTo>
                    <a:lnTo>
                      <a:pt x="40" y="11"/>
                    </a:lnTo>
                    <a:lnTo>
                      <a:pt x="42" y="11"/>
                    </a:lnTo>
                    <a:lnTo>
                      <a:pt x="46" y="10"/>
                    </a:lnTo>
                    <a:lnTo>
                      <a:pt x="48" y="12"/>
                    </a:lnTo>
                    <a:lnTo>
                      <a:pt x="50" y="12"/>
                    </a:lnTo>
                    <a:lnTo>
                      <a:pt x="53" y="11"/>
                    </a:lnTo>
                    <a:lnTo>
                      <a:pt x="56" y="4"/>
                    </a:lnTo>
                    <a:lnTo>
                      <a:pt x="58" y="4"/>
                    </a:lnTo>
                    <a:lnTo>
                      <a:pt x="59" y="5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3" y="7"/>
                    </a:lnTo>
                    <a:lnTo>
                      <a:pt x="66" y="7"/>
                    </a:lnTo>
                    <a:lnTo>
                      <a:pt x="67" y="6"/>
                    </a:lnTo>
                    <a:lnTo>
                      <a:pt x="67" y="4"/>
                    </a:lnTo>
                    <a:lnTo>
                      <a:pt x="71" y="3"/>
                    </a:lnTo>
                    <a:lnTo>
                      <a:pt x="72" y="3"/>
                    </a:lnTo>
                    <a:lnTo>
                      <a:pt x="76" y="1"/>
                    </a:lnTo>
                    <a:lnTo>
                      <a:pt x="78" y="0"/>
                    </a:lnTo>
                    <a:lnTo>
                      <a:pt x="79" y="1"/>
                    </a:lnTo>
                    <a:lnTo>
                      <a:pt x="79" y="3"/>
                    </a:lnTo>
                    <a:lnTo>
                      <a:pt x="83" y="5"/>
                    </a:lnTo>
                    <a:lnTo>
                      <a:pt x="89" y="4"/>
                    </a:lnTo>
                    <a:lnTo>
                      <a:pt x="92" y="4"/>
                    </a:lnTo>
                    <a:lnTo>
                      <a:pt x="95" y="7"/>
                    </a:lnTo>
                    <a:lnTo>
                      <a:pt x="99" y="9"/>
                    </a:lnTo>
                    <a:lnTo>
                      <a:pt x="101" y="13"/>
                    </a:lnTo>
                    <a:lnTo>
                      <a:pt x="106" y="17"/>
                    </a:lnTo>
                    <a:lnTo>
                      <a:pt x="116" y="18"/>
                    </a:lnTo>
                    <a:lnTo>
                      <a:pt x="117" y="21"/>
                    </a:lnTo>
                    <a:lnTo>
                      <a:pt x="116" y="26"/>
                    </a:lnTo>
                    <a:lnTo>
                      <a:pt x="117" y="27"/>
                    </a:lnTo>
                    <a:lnTo>
                      <a:pt x="120" y="27"/>
                    </a:lnTo>
                    <a:lnTo>
                      <a:pt x="121" y="24"/>
                    </a:lnTo>
                    <a:lnTo>
                      <a:pt x="122" y="24"/>
                    </a:lnTo>
                    <a:lnTo>
                      <a:pt x="124" y="25"/>
                    </a:lnTo>
                    <a:lnTo>
                      <a:pt x="124" y="29"/>
                    </a:lnTo>
                    <a:lnTo>
                      <a:pt x="128" y="30"/>
                    </a:lnTo>
                    <a:lnTo>
                      <a:pt x="132" y="26"/>
                    </a:lnTo>
                    <a:lnTo>
                      <a:pt x="135" y="27"/>
                    </a:lnTo>
                    <a:lnTo>
                      <a:pt x="136" y="26"/>
                    </a:lnTo>
                    <a:lnTo>
                      <a:pt x="137" y="26"/>
                    </a:lnTo>
                    <a:lnTo>
                      <a:pt x="139" y="29"/>
                    </a:lnTo>
                    <a:lnTo>
                      <a:pt x="138" y="31"/>
                    </a:lnTo>
                    <a:lnTo>
                      <a:pt x="137" y="33"/>
                    </a:lnTo>
                    <a:lnTo>
                      <a:pt x="134" y="35"/>
                    </a:lnTo>
                    <a:lnTo>
                      <a:pt x="134" y="37"/>
                    </a:lnTo>
                    <a:lnTo>
                      <a:pt x="135" y="38"/>
                    </a:lnTo>
                    <a:lnTo>
                      <a:pt x="136" y="38"/>
                    </a:lnTo>
                    <a:lnTo>
                      <a:pt x="140" y="34"/>
                    </a:lnTo>
                    <a:lnTo>
                      <a:pt x="142" y="33"/>
                    </a:lnTo>
                    <a:lnTo>
                      <a:pt x="144" y="37"/>
                    </a:lnTo>
                    <a:lnTo>
                      <a:pt x="142" y="39"/>
                    </a:lnTo>
                    <a:lnTo>
                      <a:pt x="144" y="43"/>
                    </a:lnTo>
                    <a:lnTo>
                      <a:pt x="146" y="44"/>
                    </a:lnTo>
                    <a:lnTo>
                      <a:pt x="147" y="45"/>
                    </a:lnTo>
                    <a:lnTo>
                      <a:pt x="149" y="45"/>
                    </a:lnTo>
                    <a:lnTo>
                      <a:pt x="148" y="41"/>
                    </a:lnTo>
                    <a:lnTo>
                      <a:pt x="150" y="39"/>
                    </a:lnTo>
                    <a:lnTo>
                      <a:pt x="149" y="39"/>
                    </a:lnTo>
                    <a:lnTo>
                      <a:pt x="150" y="38"/>
                    </a:lnTo>
                    <a:lnTo>
                      <a:pt x="150" y="37"/>
                    </a:lnTo>
                    <a:lnTo>
                      <a:pt x="151" y="35"/>
                    </a:lnTo>
                    <a:lnTo>
                      <a:pt x="154" y="33"/>
                    </a:lnTo>
                    <a:lnTo>
                      <a:pt x="154" y="35"/>
                    </a:lnTo>
                    <a:lnTo>
                      <a:pt x="156" y="34"/>
                    </a:lnTo>
                    <a:lnTo>
                      <a:pt x="159" y="36"/>
                    </a:lnTo>
                    <a:lnTo>
                      <a:pt x="162" y="36"/>
                    </a:lnTo>
                    <a:lnTo>
                      <a:pt x="163" y="37"/>
                    </a:lnTo>
                    <a:lnTo>
                      <a:pt x="166" y="38"/>
                    </a:lnTo>
                    <a:lnTo>
                      <a:pt x="169" y="37"/>
                    </a:lnTo>
                    <a:lnTo>
                      <a:pt x="170" y="38"/>
                    </a:lnTo>
                    <a:lnTo>
                      <a:pt x="170" y="39"/>
                    </a:lnTo>
                    <a:lnTo>
                      <a:pt x="172" y="38"/>
                    </a:lnTo>
                    <a:lnTo>
                      <a:pt x="174" y="38"/>
                    </a:lnTo>
                    <a:lnTo>
                      <a:pt x="175" y="39"/>
                    </a:lnTo>
                    <a:lnTo>
                      <a:pt x="175" y="44"/>
                    </a:lnTo>
                    <a:lnTo>
                      <a:pt x="176" y="45"/>
                    </a:lnTo>
                    <a:lnTo>
                      <a:pt x="175" y="48"/>
                    </a:lnTo>
                    <a:lnTo>
                      <a:pt x="178" y="51"/>
                    </a:lnTo>
                    <a:lnTo>
                      <a:pt x="182" y="56"/>
                    </a:lnTo>
                    <a:lnTo>
                      <a:pt x="185" y="53"/>
                    </a:lnTo>
                    <a:lnTo>
                      <a:pt x="189" y="57"/>
                    </a:lnTo>
                    <a:lnTo>
                      <a:pt x="193" y="57"/>
                    </a:lnTo>
                    <a:lnTo>
                      <a:pt x="194" y="57"/>
                    </a:lnTo>
                    <a:lnTo>
                      <a:pt x="194" y="55"/>
                    </a:lnTo>
                    <a:lnTo>
                      <a:pt x="195" y="56"/>
                    </a:lnTo>
                    <a:lnTo>
                      <a:pt x="195" y="55"/>
                    </a:lnTo>
                    <a:lnTo>
                      <a:pt x="194" y="53"/>
                    </a:lnTo>
                    <a:lnTo>
                      <a:pt x="195" y="53"/>
                    </a:lnTo>
                    <a:lnTo>
                      <a:pt x="201" y="52"/>
                    </a:lnTo>
                    <a:lnTo>
                      <a:pt x="203" y="59"/>
                    </a:lnTo>
                    <a:lnTo>
                      <a:pt x="203" y="61"/>
                    </a:lnTo>
                    <a:lnTo>
                      <a:pt x="203" y="63"/>
                    </a:lnTo>
                    <a:lnTo>
                      <a:pt x="204" y="63"/>
                    </a:lnTo>
                    <a:lnTo>
                      <a:pt x="208" y="62"/>
                    </a:lnTo>
                    <a:lnTo>
                      <a:pt x="208" y="63"/>
                    </a:lnTo>
                    <a:lnTo>
                      <a:pt x="205" y="67"/>
                    </a:lnTo>
                    <a:lnTo>
                      <a:pt x="204" y="71"/>
                    </a:lnTo>
                    <a:lnTo>
                      <a:pt x="205" y="73"/>
                    </a:lnTo>
                    <a:lnTo>
                      <a:pt x="209" y="72"/>
                    </a:lnTo>
                    <a:lnTo>
                      <a:pt x="209" y="73"/>
                    </a:lnTo>
                    <a:lnTo>
                      <a:pt x="208" y="77"/>
                    </a:lnTo>
                    <a:lnTo>
                      <a:pt x="204" y="81"/>
                    </a:lnTo>
                    <a:lnTo>
                      <a:pt x="205" y="84"/>
                    </a:lnTo>
                    <a:lnTo>
                      <a:pt x="204" y="88"/>
                    </a:lnTo>
                    <a:lnTo>
                      <a:pt x="206" y="90"/>
                    </a:lnTo>
                    <a:lnTo>
                      <a:pt x="205" y="91"/>
                    </a:lnTo>
                    <a:lnTo>
                      <a:pt x="205" y="93"/>
                    </a:lnTo>
                    <a:lnTo>
                      <a:pt x="203" y="94"/>
                    </a:lnTo>
                    <a:lnTo>
                      <a:pt x="202" y="97"/>
                    </a:lnTo>
                    <a:lnTo>
                      <a:pt x="197" y="98"/>
                    </a:lnTo>
                    <a:lnTo>
                      <a:pt x="200" y="104"/>
                    </a:lnTo>
                    <a:lnTo>
                      <a:pt x="201" y="102"/>
                    </a:lnTo>
                    <a:lnTo>
                      <a:pt x="201" y="103"/>
                    </a:lnTo>
                    <a:lnTo>
                      <a:pt x="202" y="106"/>
                    </a:lnTo>
                    <a:lnTo>
                      <a:pt x="200" y="107"/>
                    </a:lnTo>
                    <a:lnTo>
                      <a:pt x="200" y="108"/>
                    </a:lnTo>
                    <a:lnTo>
                      <a:pt x="202" y="108"/>
                    </a:lnTo>
                    <a:lnTo>
                      <a:pt x="202" y="110"/>
                    </a:lnTo>
                    <a:lnTo>
                      <a:pt x="203" y="110"/>
                    </a:lnTo>
                    <a:lnTo>
                      <a:pt x="205" y="108"/>
                    </a:lnTo>
                    <a:lnTo>
                      <a:pt x="206" y="108"/>
                    </a:lnTo>
                    <a:lnTo>
                      <a:pt x="207" y="112"/>
                    </a:lnTo>
                    <a:lnTo>
                      <a:pt x="209" y="110"/>
                    </a:lnTo>
                    <a:lnTo>
                      <a:pt x="212" y="109"/>
                    </a:lnTo>
                    <a:lnTo>
                      <a:pt x="212" y="111"/>
                    </a:lnTo>
                    <a:lnTo>
                      <a:pt x="214" y="118"/>
                    </a:lnTo>
                    <a:lnTo>
                      <a:pt x="217" y="116"/>
                    </a:lnTo>
                    <a:lnTo>
                      <a:pt x="219" y="117"/>
                    </a:lnTo>
                    <a:lnTo>
                      <a:pt x="218" y="119"/>
                    </a:lnTo>
                    <a:lnTo>
                      <a:pt x="217" y="121"/>
                    </a:lnTo>
                    <a:lnTo>
                      <a:pt x="218" y="124"/>
                    </a:lnTo>
                    <a:lnTo>
                      <a:pt x="219" y="124"/>
                    </a:lnTo>
                    <a:lnTo>
                      <a:pt x="220" y="124"/>
                    </a:lnTo>
                    <a:lnTo>
                      <a:pt x="221" y="125"/>
                    </a:lnTo>
                    <a:lnTo>
                      <a:pt x="223" y="124"/>
                    </a:lnTo>
                    <a:lnTo>
                      <a:pt x="225" y="124"/>
                    </a:lnTo>
                    <a:lnTo>
                      <a:pt x="227" y="120"/>
                    </a:lnTo>
                    <a:lnTo>
                      <a:pt x="226" y="118"/>
                    </a:lnTo>
                    <a:lnTo>
                      <a:pt x="232" y="117"/>
                    </a:lnTo>
                    <a:lnTo>
                      <a:pt x="233" y="118"/>
                    </a:lnTo>
                    <a:lnTo>
                      <a:pt x="234" y="128"/>
                    </a:lnTo>
                    <a:lnTo>
                      <a:pt x="234" y="129"/>
                    </a:lnTo>
                    <a:lnTo>
                      <a:pt x="231" y="130"/>
                    </a:lnTo>
                    <a:lnTo>
                      <a:pt x="230" y="131"/>
                    </a:lnTo>
                    <a:lnTo>
                      <a:pt x="233" y="142"/>
                    </a:lnTo>
                    <a:lnTo>
                      <a:pt x="227" y="144"/>
                    </a:lnTo>
                    <a:lnTo>
                      <a:pt x="230" y="148"/>
                    </a:lnTo>
                    <a:lnTo>
                      <a:pt x="233" y="146"/>
                    </a:lnTo>
                    <a:lnTo>
                      <a:pt x="235" y="146"/>
                    </a:lnTo>
                    <a:lnTo>
                      <a:pt x="236" y="150"/>
                    </a:lnTo>
                    <a:lnTo>
                      <a:pt x="236" y="151"/>
                    </a:lnTo>
                    <a:lnTo>
                      <a:pt x="234" y="152"/>
                    </a:lnTo>
                    <a:lnTo>
                      <a:pt x="234" y="160"/>
                    </a:lnTo>
                    <a:lnTo>
                      <a:pt x="232" y="162"/>
                    </a:lnTo>
                    <a:lnTo>
                      <a:pt x="236" y="162"/>
                    </a:lnTo>
                    <a:lnTo>
                      <a:pt x="238" y="164"/>
                    </a:lnTo>
                    <a:lnTo>
                      <a:pt x="241" y="165"/>
                    </a:lnTo>
                    <a:lnTo>
                      <a:pt x="243" y="164"/>
                    </a:lnTo>
                    <a:lnTo>
                      <a:pt x="244" y="165"/>
                    </a:lnTo>
                    <a:lnTo>
                      <a:pt x="245" y="170"/>
                    </a:lnTo>
                    <a:lnTo>
                      <a:pt x="246" y="172"/>
                    </a:lnTo>
                    <a:lnTo>
                      <a:pt x="249" y="171"/>
                    </a:lnTo>
                    <a:lnTo>
                      <a:pt x="256" y="169"/>
                    </a:lnTo>
                    <a:lnTo>
                      <a:pt x="256" y="171"/>
                    </a:lnTo>
                    <a:lnTo>
                      <a:pt x="255" y="173"/>
                    </a:lnTo>
                    <a:lnTo>
                      <a:pt x="257" y="175"/>
                    </a:lnTo>
                    <a:lnTo>
                      <a:pt x="260" y="174"/>
                    </a:lnTo>
                    <a:lnTo>
                      <a:pt x="263" y="175"/>
                    </a:lnTo>
                    <a:lnTo>
                      <a:pt x="263" y="176"/>
                    </a:lnTo>
                    <a:lnTo>
                      <a:pt x="260" y="177"/>
                    </a:lnTo>
                    <a:lnTo>
                      <a:pt x="264" y="181"/>
                    </a:lnTo>
                    <a:lnTo>
                      <a:pt x="263" y="186"/>
                    </a:lnTo>
                    <a:lnTo>
                      <a:pt x="262" y="188"/>
                    </a:lnTo>
                    <a:lnTo>
                      <a:pt x="263" y="189"/>
                    </a:lnTo>
                    <a:close/>
                  </a:path>
                </a:pathLst>
              </a:custGeom>
              <a:solidFill>
                <a:srgbClr val="E7E7E4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47" name="Bosnia &amp; Herzegovina">
                <a:extLst>
                  <a:ext uri="{FF2B5EF4-FFF2-40B4-BE49-F238E27FC236}">
                    <a16:creationId xmlns:a16="http://schemas.microsoft.com/office/drawing/2014/main" id="{B02A0034-6D06-4252-A2BF-10EC8EC36030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225132" y="4199562"/>
                <a:ext cx="333503" cy="356726"/>
              </a:xfrm>
              <a:custGeom>
                <a:avLst/>
                <a:gdLst>
                  <a:gd name="T0" fmla="*/ 147 w 297"/>
                  <a:gd name="T1" fmla="*/ 247 h 279"/>
                  <a:gd name="T2" fmla="*/ 148 w 297"/>
                  <a:gd name="T3" fmla="*/ 251 h 279"/>
                  <a:gd name="T4" fmla="*/ 167 w 297"/>
                  <a:gd name="T5" fmla="*/ 244 h 279"/>
                  <a:gd name="T6" fmla="*/ 181 w 297"/>
                  <a:gd name="T7" fmla="*/ 259 h 279"/>
                  <a:gd name="T8" fmla="*/ 217 w 297"/>
                  <a:gd name="T9" fmla="*/ 279 h 279"/>
                  <a:gd name="T10" fmla="*/ 219 w 297"/>
                  <a:gd name="T11" fmla="*/ 256 h 279"/>
                  <a:gd name="T12" fmla="*/ 224 w 297"/>
                  <a:gd name="T13" fmla="*/ 235 h 279"/>
                  <a:gd name="T14" fmla="*/ 236 w 297"/>
                  <a:gd name="T15" fmla="*/ 223 h 279"/>
                  <a:gd name="T16" fmla="*/ 250 w 297"/>
                  <a:gd name="T17" fmla="*/ 203 h 279"/>
                  <a:gd name="T18" fmla="*/ 259 w 297"/>
                  <a:gd name="T19" fmla="*/ 201 h 279"/>
                  <a:gd name="T20" fmla="*/ 253 w 297"/>
                  <a:gd name="T21" fmla="*/ 182 h 279"/>
                  <a:gd name="T22" fmla="*/ 274 w 297"/>
                  <a:gd name="T23" fmla="*/ 180 h 279"/>
                  <a:gd name="T24" fmla="*/ 282 w 297"/>
                  <a:gd name="T25" fmla="*/ 173 h 279"/>
                  <a:gd name="T26" fmla="*/ 294 w 297"/>
                  <a:gd name="T27" fmla="*/ 160 h 279"/>
                  <a:gd name="T28" fmla="*/ 278 w 297"/>
                  <a:gd name="T29" fmla="*/ 139 h 279"/>
                  <a:gd name="T30" fmla="*/ 290 w 297"/>
                  <a:gd name="T31" fmla="*/ 134 h 279"/>
                  <a:gd name="T32" fmla="*/ 293 w 297"/>
                  <a:gd name="T33" fmla="*/ 118 h 279"/>
                  <a:gd name="T34" fmla="*/ 267 w 297"/>
                  <a:gd name="T35" fmla="*/ 97 h 279"/>
                  <a:gd name="T36" fmla="*/ 267 w 297"/>
                  <a:gd name="T37" fmla="*/ 70 h 279"/>
                  <a:gd name="T38" fmla="*/ 282 w 297"/>
                  <a:gd name="T39" fmla="*/ 40 h 279"/>
                  <a:gd name="T40" fmla="*/ 264 w 297"/>
                  <a:gd name="T41" fmla="*/ 38 h 279"/>
                  <a:gd name="T42" fmla="*/ 244 w 297"/>
                  <a:gd name="T43" fmla="*/ 43 h 279"/>
                  <a:gd name="T44" fmla="*/ 235 w 297"/>
                  <a:gd name="T45" fmla="*/ 26 h 279"/>
                  <a:gd name="T46" fmla="*/ 218 w 297"/>
                  <a:gd name="T47" fmla="*/ 20 h 279"/>
                  <a:gd name="T48" fmla="*/ 197 w 297"/>
                  <a:gd name="T49" fmla="*/ 17 h 279"/>
                  <a:gd name="T50" fmla="*/ 177 w 297"/>
                  <a:gd name="T51" fmla="*/ 14 h 279"/>
                  <a:gd name="T52" fmla="*/ 158 w 297"/>
                  <a:gd name="T53" fmla="*/ 17 h 279"/>
                  <a:gd name="T54" fmla="*/ 131 w 297"/>
                  <a:gd name="T55" fmla="*/ 9 h 279"/>
                  <a:gd name="T56" fmla="*/ 103 w 297"/>
                  <a:gd name="T57" fmla="*/ 10 h 279"/>
                  <a:gd name="T58" fmla="*/ 78 w 297"/>
                  <a:gd name="T59" fmla="*/ 5 h 279"/>
                  <a:gd name="T60" fmla="*/ 48 w 297"/>
                  <a:gd name="T61" fmla="*/ 16 h 279"/>
                  <a:gd name="T62" fmla="*/ 35 w 297"/>
                  <a:gd name="T63" fmla="*/ 12 h 279"/>
                  <a:gd name="T64" fmla="*/ 4 w 297"/>
                  <a:gd name="T65" fmla="*/ 5 h 279"/>
                  <a:gd name="T66" fmla="*/ 4 w 297"/>
                  <a:gd name="T67" fmla="*/ 32 h 279"/>
                  <a:gd name="T68" fmla="*/ 12 w 297"/>
                  <a:gd name="T69" fmla="*/ 63 h 279"/>
                  <a:gd name="T70" fmla="*/ 25 w 297"/>
                  <a:gd name="T71" fmla="*/ 78 h 279"/>
                  <a:gd name="T72" fmla="*/ 33 w 297"/>
                  <a:gd name="T73" fmla="*/ 97 h 279"/>
                  <a:gd name="T74" fmla="*/ 57 w 297"/>
                  <a:gd name="T75" fmla="*/ 118 h 279"/>
                  <a:gd name="T76" fmla="*/ 66 w 297"/>
                  <a:gd name="T77" fmla="*/ 136 h 279"/>
                  <a:gd name="T78" fmla="*/ 95 w 297"/>
                  <a:gd name="T79" fmla="*/ 166 h 279"/>
                  <a:gd name="T80" fmla="*/ 108 w 297"/>
                  <a:gd name="T81" fmla="*/ 181 h 279"/>
                  <a:gd name="T82" fmla="*/ 123 w 297"/>
                  <a:gd name="T83" fmla="*/ 196 h 279"/>
                  <a:gd name="T84" fmla="*/ 144 w 297"/>
                  <a:gd name="T85" fmla="*/ 212 h 279"/>
                  <a:gd name="T86" fmla="*/ 151 w 297"/>
                  <a:gd name="T87" fmla="*/ 231 h 279"/>
                  <a:gd name="T88" fmla="*/ 143 w 297"/>
                  <a:gd name="T89" fmla="*/ 246 h 279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97"/>
                  <a:gd name="T136" fmla="*/ 0 h 279"/>
                  <a:gd name="T137" fmla="*/ 297 w 297"/>
                  <a:gd name="T138" fmla="*/ 279 h 279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97" h="279">
                    <a:moveTo>
                      <a:pt x="143" y="246"/>
                    </a:moveTo>
                    <a:lnTo>
                      <a:pt x="146" y="247"/>
                    </a:lnTo>
                    <a:lnTo>
                      <a:pt x="147" y="247"/>
                    </a:lnTo>
                    <a:lnTo>
                      <a:pt x="147" y="250"/>
                    </a:lnTo>
                    <a:lnTo>
                      <a:pt x="150" y="252"/>
                    </a:lnTo>
                    <a:lnTo>
                      <a:pt x="148" y="251"/>
                    </a:lnTo>
                    <a:lnTo>
                      <a:pt x="150" y="252"/>
                    </a:lnTo>
                    <a:lnTo>
                      <a:pt x="160" y="244"/>
                    </a:lnTo>
                    <a:lnTo>
                      <a:pt x="167" y="244"/>
                    </a:lnTo>
                    <a:lnTo>
                      <a:pt x="171" y="250"/>
                    </a:lnTo>
                    <a:lnTo>
                      <a:pt x="177" y="254"/>
                    </a:lnTo>
                    <a:lnTo>
                      <a:pt x="181" y="259"/>
                    </a:lnTo>
                    <a:lnTo>
                      <a:pt x="191" y="270"/>
                    </a:lnTo>
                    <a:lnTo>
                      <a:pt x="196" y="275"/>
                    </a:lnTo>
                    <a:lnTo>
                      <a:pt x="217" y="279"/>
                    </a:lnTo>
                    <a:lnTo>
                      <a:pt x="223" y="274"/>
                    </a:lnTo>
                    <a:lnTo>
                      <a:pt x="226" y="268"/>
                    </a:lnTo>
                    <a:lnTo>
                      <a:pt x="219" y="256"/>
                    </a:lnTo>
                    <a:lnTo>
                      <a:pt x="219" y="249"/>
                    </a:lnTo>
                    <a:lnTo>
                      <a:pt x="221" y="242"/>
                    </a:lnTo>
                    <a:lnTo>
                      <a:pt x="224" y="235"/>
                    </a:lnTo>
                    <a:lnTo>
                      <a:pt x="232" y="235"/>
                    </a:lnTo>
                    <a:lnTo>
                      <a:pt x="236" y="229"/>
                    </a:lnTo>
                    <a:lnTo>
                      <a:pt x="236" y="223"/>
                    </a:lnTo>
                    <a:lnTo>
                      <a:pt x="236" y="216"/>
                    </a:lnTo>
                    <a:lnTo>
                      <a:pt x="242" y="204"/>
                    </a:lnTo>
                    <a:lnTo>
                      <a:pt x="250" y="203"/>
                    </a:lnTo>
                    <a:lnTo>
                      <a:pt x="252" y="209"/>
                    </a:lnTo>
                    <a:lnTo>
                      <a:pt x="260" y="209"/>
                    </a:lnTo>
                    <a:lnTo>
                      <a:pt x="259" y="201"/>
                    </a:lnTo>
                    <a:lnTo>
                      <a:pt x="255" y="196"/>
                    </a:lnTo>
                    <a:lnTo>
                      <a:pt x="252" y="189"/>
                    </a:lnTo>
                    <a:lnTo>
                      <a:pt x="253" y="182"/>
                    </a:lnTo>
                    <a:lnTo>
                      <a:pt x="260" y="180"/>
                    </a:lnTo>
                    <a:lnTo>
                      <a:pt x="267" y="182"/>
                    </a:lnTo>
                    <a:lnTo>
                      <a:pt x="274" y="180"/>
                    </a:lnTo>
                    <a:lnTo>
                      <a:pt x="275" y="175"/>
                    </a:lnTo>
                    <a:lnTo>
                      <a:pt x="282" y="173"/>
                    </a:lnTo>
                    <a:lnTo>
                      <a:pt x="289" y="172"/>
                    </a:lnTo>
                    <a:lnTo>
                      <a:pt x="293" y="167"/>
                    </a:lnTo>
                    <a:lnTo>
                      <a:pt x="294" y="160"/>
                    </a:lnTo>
                    <a:lnTo>
                      <a:pt x="292" y="154"/>
                    </a:lnTo>
                    <a:lnTo>
                      <a:pt x="287" y="149"/>
                    </a:lnTo>
                    <a:lnTo>
                      <a:pt x="278" y="139"/>
                    </a:lnTo>
                    <a:lnTo>
                      <a:pt x="278" y="132"/>
                    </a:lnTo>
                    <a:lnTo>
                      <a:pt x="285" y="130"/>
                    </a:lnTo>
                    <a:lnTo>
                      <a:pt x="290" y="134"/>
                    </a:lnTo>
                    <a:lnTo>
                      <a:pt x="296" y="131"/>
                    </a:lnTo>
                    <a:lnTo>
                      <a:pt x="297" y="124"/>
                    </a:lnTo>
                    <a:lnTo>
                      <a:pt x="293" y="118"/>
                    </a:lnTo>
                    <a:lnTo>
                      <a:pt x="282" y="109"/>
                    </a:lnTo>
                    <a:lnTo>
                      <a:pt x="280" y="103"/>
                    </a:lnTo>
                    <a:lnTo>
                      <a:pt x="267" y="97"/>
                    </a:lnTo>
                    <a:lnTo>
                      <a:pt x="264" y="91"/>
                    </a:lnTo>
                    <a:lnTo>
                      <a:pt x="263" y="84"/>
                    </a:lnTo>
                    <a:lnTo>
                      <a:pt x="267" y="70"/>
                    </a:lnTo>
                    <a:lnTo>
                      <a:pt x="277" y="52"/>
                    </a:lnTo>
                    <a:lnTo>
                      <a:pt x="282" y="47"/>
                    </a:lnTo>
                    <a:lnTo>
                      <a:pt x="282" y="40"/>
                    </a:lnTo>
                    <a:lnTo>
                      <a:pt x="277" y="36"/>
                    </a:lnTo>
                    <a:lnTo>
                      <a:pt x="270" y="34"/>
                    </a:lnTo>
                    <a:lnTo>
                      <a:pt x="264" y="38"/>
                    </a:lnTo>
                    <a:lnTo>
                      <a:pt x="258" y="43"/>
                    </a:lnTo>
                    <a:lnTo>
                      <a:pt x="251" y="43"/>
                    </a:lnTo>
                    <a:lnTo>
                      <a:pt x="244" y="43"/>
                    </a:lnTo>
                    <a:lnTo>
                      <a:pt x="238" y="40"/>
                    </a:lnTo>
                    <a:lnTo>
                      <a:pt x="235" y="33"/>
                    </a:lnTo>
                    <a:lnTo>
                      <a:pt x="235" y="26"/>
                    </a:lnTo>
                    <a:lnTo>
                      <a:pt x="229" y="22"/>
                    </a:lnTo>
                    <a:lnTo>
                      <a:pt x="225" y="16"/>
                    </a:lnTo>
                    <a:lnTo>
                      <a:pt x="218" y="20"/>
                    </a:lnTo>
                    <a:lnTo>
                      <a:pt x="211" y="20"/>
                    </a:lnTo>
                    <a:lnTo>
                      <a:pt x="204" y="16"/>
                    </a:lnTo>
                    <a:lnTo>
                      <a:pt x="197" y="17"/>
                    </a:lnTo>
                    <a:lnTo>
                      <a:pt x="190" y="20"/>
                    </a:lnTo>
                    <a:lnTo>
                      <a:pt x="184" y="16"/>
                    </a:lnTo>
                    <a:lnTo>
                      <a:pt x="177" y="14"/>
                    </a:lnTo>
                    <a:lnTo>
                      <a:pt x="172" y="18"/>
                    </a:lnTo>
                    <a:lnTo>
                      <a:pt x="164" y="20"/>
                    </a:lnTo>
                    <a:lnTo>
                      <a:pt x="158" y="17"/>
                    </a:lnTo>
                    <a:lnTo>
                      <a:pt x="152" y="12"/>
                    </a:lnTo>
                    <a:lnTo>
                      <a:pt x="138" y="11"/>
                    </a:lnTo>
                    <a:lnTo>
                      <a:pt x="131" y="9"/>
                    </a:lnTo>
                    <a:lnTo>
                      <a:pt x="125" y="9"/>
                    </a:lnTo>
                    <a:lnTo>
                      <a:pt x="110" y="11"/>
                    </a:lnTo>
                    <a:lnTo>
                      <a:pt x="103" y="10"/>
                    </a:lnTo>
                    <a:lnTo>
                      <a:pt x="92" y="2"/>
                    </a:lnTo>
                    <a:lnTo>
                      <a:pt x="85" y="5"/>
                    </a:lnTo>
                    <a:lnTo>
                      <a:pt x="78" y="5"/>
                    </a:lnTo>
                    <a:lnTo>
                      <a:pt x="71" y="3"/>
                    </a:lnTo>
                    <a:lnTo>
                      <a:pt x="57" y="5"/>
                    </a:lnTo>
                    <a:lnTo>
                      <a:pt x="48" y="16"/>
                    </a:lnTo>
                    <a:lnTo>
                      <a:pt x="45" y="22"/>
                    </a:lnTo>
                    <a:lnTo>
                      <a:pt x="39" y="18"/>
                    </a:lnTo>
                    <a:lnTo>
                      <a:pt x="35" y="12"/>
                    </a:lnTo>
                    <a:lnTo>
                      <a:pt x="24" y="3"/>
                    </a:lnTo>
                    <a:lnTo>
                      <a:pt x="17" y="0"/>
                    </a:lnTo>
                    <a:lnTo>
                      <a:pt x="4" y="5"/>
                    </a:lnTo>
                    <a:lnTo>
                      <a:pt x="4" y="12"/>
                    </a:lnTo>
                    <a:lnTo>
                      <a:pt x="5" y="19"/>
                    </a:lnTo>
                    <a:lnTo>
                      <a:pt x="4" y="32"/>
                    </a:lnTo>
                    <a:lnTo>
                      <a:pt x="0" y="46"/>
                    </a:lnTo>
                    <a:lnTo>
                      <a:pt x="2" y="52"/>
                    </a:lnTo>
                    <a:lnTo>
                      <a:pt x="12" y="63"/>
                    </a:lnTo>
                    <a:lnTo>
                      <a:pt x="18" y="66"/>
                    </a:lnTo>
                    <a:lnTo>
                      <a:pt x="22" y="71"/>
                    </a:lnTo>
                    <a:lnTo>
                      <a:pt x="25" y="78"/>
                    </a:lnTo>
                    <a:lnTo>
                      <a:pt x="28" y="84"/>
                    </a:lnTo>
                    <a:lnTo>
                      <a:pt x="33" y="89"/>
                    </a:lnTo>
                    <a:lnTo>
                      <a:pt x="33" y="97"/>
                    </a:lnTo>
                    <a:lnTo>
                      <a:pt x="33" y="103"/>
                    </a:lnTo>
                    <a:lnTo>
                      <a:pt x="36" y="109"/>
                    </a:lnTo>
                    <a:lnTo>
                      <a:pt x="57" y="118"/>
                    </a:lnTo>
                    <a:lnTo>
                      <a:pt x="61" y="124"/>
                    </a:lnTo>
                    <a:lnTo>
                      <a:pt x="64" y="130"/>
                    </a:lnTo>
                    <a:lnTo>
                      <a:pt x="66" y="136"/>
                    </a:lnTo>
                    <a:lnTo>
                      <a:pt x="78" y="154"/>
                    </a:lnTo>
                    <a:lnTo>
                      <a:pt x="88" y="164"/>
                    </a:lnTo>
                    <a:lnTo>
                      <a:pt x="95" y="166"/>
                    </a:lnTo>
                    <a:lnTo>
                      <a:pt x="101" y="170"/>
                    </a:lnTo>
                    <a:lnTo>
                      <a:pt x="106" y="175"/>
                    </a:lnTo>
                    <a:lnTo>
                      <a:pt x="108" y="181"/>
                    </a:lnTo>
                    <a:lnTo>
                      <a:pt x="111" y="188"/>
                    </a:lnTo>
                    <a:lnTo>
                      <a:pt x="116" y="193"/>
                    </a:lnTo>
                    <a:lnTo>
                      <a:pt x="123" y="196"/>
                    </a:lnTo>
                    <a:lnTo>
                      <a:pt x="126" y="202"/>
                    </a:lnTo>
                    <a:lnTo>
                      <a:pt x="131" y="207"/>
                    </a:lnTo>
                    <a:lnTo>
                      <a:pt x="144" y="212"/>
                    </a:lnTo>
                    <a:lnTo>
                      <a:pt x="147" y="219"/>
                    </a:lnTo>
                    <a:lnTo>
                      <a:pt x="151" y="225"/>
                    </a:lnTo>
                    <a:lnTo>
                      <a:pt x="151" y="231"/>
                    </a:lnTo>
                    <a:lnTo>
                      <a:pt x="153" y="239"/>
                    </a:lnTo>
                    <a:lnTo>
                      <a:pt x="143" y="247"/>
                    </a:lnTo>
                    <a:lnTo>
                      <a:pt x="143" y="246"/>
                    </a:lnTo>
                    <a:close/>
                  </a:path>
                </a:pathLst>
              </a:custGeom>
              <a:solidFill>
                <a:srgbClr val="E7E7E4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48" name="Romania">
                <a:extLst>
                  <a:ext uri="{FF2B5EF4-FFF2-40B4-BE49-F238E27FC236}">
                    <a16:creationId xmlns:a16="http://schemas.microsoft.com/office/drawing/2014/main" id="{7BCB9D2B-AF31-45C8-A837-AC1611312F8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618674" y="3799312"/>
                <a:ext cx="828003" cy="625105"/>
              </a:xfrm>
              <a:custGeom>
                <a:avLst/>
                <a:gdLst>
                  <a:gd name="T0" fmla="*/ 512 w 738"/>
                  <a:gd name="T1" fmla="*/ 2 h 490"/>
                  <a:gd name="T2" fmla="*/ 526 w 738"/>
                  <a:gd name="T3" fmla="*/ 11 h 490"/>
                  <a:gd name="T4" fmla="*/ 536 w 738"/>
                  <a:gd name="T5" fmla="*/ 25 h 490"/>
                  <a:gd name="T6" fmla="*/ 539 w 738"/>
                  <a:gd name="T7" fmla="*/ 37 h 490"/>
                  <a:gd name="T8" fmla="*/ 549 w 738"/>
                  <a:gd name="T9" fmla="*/ 58 h 490"/>
                  <a:gd name="T10" fmla="*/ 568 w 738"/>
                  <a:gd name="T11" fmla="*/ 84 h 490"/>
                  <a:gd name="T12" fmla="*/ 584 w 738"/>
                  <a:gd name="T13" fmla="*/ 104 h 490"/>
                  <a:gd name="T14" fmla="*/ 598 w 738"/>
                  <a:gd name="T15" fmla="*/ 126 h 490"/>
                  <a:gd name="T16" fmla="*/ 613 w 738"/>
                  <a:gd name="T17" fmla="*/ 147 h 490"/>
                  <a:gd name="T18" fmla="*/ 623 w 738"/>
                  <a:gd name="T19" fmla="*/ 180 h 490"/>
                  <a:gd name="T20" fmla="*/ 621 w 738"/>
                  <a:gd name="T21" fmla="*/ 207 h 490"/>
                  <a:gd name="T22" fmla="*/ 612 w 738"/>
                  <a:gd name="T23" fmla="*/ 234 h 490"/>
                  <a:gd name="T24" fmla="*/ 617 w 738"/>
                  <a:gd name="T25" fmla="*/ 264 h 490"/>
                  <a:gd name="T26" fmla="*/ 616 w 738"/>
                  <a:gd name="T27" fmla="*/ 286 h 490"/>
                  <a:gd name="T28" fmla="*/ 646 w 738"/>
                  <a:gd name="T29" fmla="*/ 316 h 490"/>
                  <a:gd name="T30" fmla="*/ 670 w 738"/>
                  <a:gd name="T31" fmla="*/ 310 h 490"/>
                  <a:gd name="T32" fmla="*/ 706 w 738"/>
                  <a:gd name="T33" fmla="*/ 300 h 490"/>
                  <a:gd name="T34" fmla="*/ 734 w 738"/>
                  <a:gd name="T35" fmla="*/ 327 h 490"/>
                  <a:gd name="T36" fmla="*/ 728 w 738"/>
                  <a:gd name="T37" fmla="*/ 363 h 490"/>
                  <a:gd name="T38" fmla="*/ 694 w 738"/>
                  <a:gd name="T39" fmla="*/ 363 h 490"/>
                  <a:gd name="T40" fmla="*/ 684 w 738"/>
                  <a:gd name="T41" fmla="*/ 345 h 490"/>
                  <a:gd name="T42" fmla="*/ 679 w 738"/>
                  <a:gd name="T43" fmla="*/ 369 h 490"/>
                  <a:gd name="T44" fmla="*/ 671 w 738"/>
                  <a:gd name="T45" fmla="*/ 381 h 490"/>
                  <a:gd name="T46" fmla="*/ 680 w 738"/>
                  <a:gd name="T47" fmla="*/ 378 h 490"/>
                  <a:gd name="T48" fmla="*/ 665 w 738"/>
                  <a:gd name="T49" fmla="*/ 390 h 490"/>
                  <a:gd name="T50" fmla="*/ 676 w 738"/>
                  <a:gd name="T51" fmla="*/ 389 h 490"/>
                  <a:gd name="T52" fmla="*/ 654 w 738"/>
                  <a:gd name="T53" fmla="*/ 423 h 490"/>
                  <a:gd name="T54" fmla="*/ 652 w 738"/>
                  <a:gd name="T55" fmla="*/ 468 h 490"/>
                  <a:gd name="T56" fmla="*/ 585 w 738"/>
                  <a:gd name="T57" fmla="*/ 454 h 490"/>
                  <a:gd name="T58" fmla="*/ 537 w 738"/>
                  <a:gd name="T59" fmla="*/ 435 h 490"/>
                  <a:gd name="T60" fmla="*/ 455 w 738"/>
                  <a:gd name="T61" fmla="*/ 455 h 490"/>
                  <a:gd name="T62" fmla="*/ 409 w 738"/>
                  <a:gd name="T63" fmla="*/ 487 h 490"/>
                  <a:gd name="T64" fmla="*/ 348 w 738"/>
                  <a:gd name="T65" fmla="*/ 480 h 490"/>
                  <a:gd name="T66" fmla="*/ 284 w 738"/>
                  <a:gd name="T67" fmla="*/ 476 h 490"/>
                  <a:gd name="T68" fmla="*/ 222 w 738"/>
                  <a:gd name="T69" fmla="*/ 470 h 490"/>
                  <a:gd name="T70" fmla="*/ 215 w 738"/>
                  <a:gd name="T71" fmla="*/ 440 h 490"/>
                  <a:gd name="T72" fmla="*/ 176 w 738"/>
                  <a:gd name="T73" fmla="*/ 409 h 490"/>
                  <a:gd name="T74" fmla="*/ 196 w 738"/>
                  <a:gd name="T75" fmla="*/ 391 h 490"/>
                  <a:gd name="T76" fmla="*/ 158 w 738"/>
                  <a:gd name="T77" fmla="*/ 384 h 490"/>
                  <a:gd name="T78" fmla="*/ 118 w 738"/>
                  <a:gd name="T79" fmla="*/ 380 h 490"/>
                  <a:gd name="T80" fmla="*/ 86 w 738"/>
                  <a:gd name="T81" fmla="*/ 363 h 490"/>
                  <a:gd name="T82" fmla="*/ 88 w 738"/>
                  <a:gd name="T83" fmla="*/ 345 h 490"/>
                  <a:gd name="T84" fmla="*/ 92 w 738"/>
                  <a:gd name="T85" fmla="*/ 324 h 490"/>
                  <a:gd name="T86" fmla="*/ 53 w 738"/>
                  <a:gd name="T87" fmla="*/ 303 h 490"/>
                  <a:gd name="T88" fmla="*/ 42 w 738"/>
                  <a:gd name="T89" fmla="*/ 268 h 490"/>
                  <a:gd name="T90" fmla="*/ 19 w 738"/>
                  <a:gd name="T91" fmla="*/ 247 h 490"/>
                  <a:gd name="T92" fmla="*/ 18 w 738"/>
                  <a:gd name="T93" fmla="*/ 223 h 490"/>
                  <a:gd name="T94" fmla="*/ 48 w 738"/>
                  <a:gd name="T95" fmla="*/ 210 h 490"/>
                  <a:gd name="T96" fmla="*/ 73 w 738"/>
                  <a:gd name="T97" fmla="*/ 203 h 490"/>
                  <a:gd name="T98" fmla="*/ 83 w 738"/>
                  <a:gd name="T99" fmla="*/ 173 h 490"/>
                  <a:gd name="T100" fmla="*/ 105 w 738"/>
                  <a:gd name="T101" fmla="*/ 148 h 490"/>
                  <a:gd name="T102" fmla="*/ 120 w 738"/>
                  <a:gd name="T103" fmla="*/ 121 h 490"/>
                  <a:gd name="T104" fmla="*/ 136 w 738"/>
                  <a:gd name="T105" fmla="*/ 82 h 490"/>
                  <a:gd name="T106" fmla="*/ 158 w 738"/>
                  <a:gd name="T107" fmla="*/ 57 h 490"/>
                  <a:gd name="T108" fmla="*/ 196 w 738"/>
                  <a:gd name="T109" fmla="*/ 45 h 490"/>
                  <a:gd name="T110" fmla="*/ 224 w 738"/>
                  <a:gd name="T111" fmla="*/ 18 h 490"/>
                  <a:gd name="T112" fmla="*/ 266 w 738"/>
                  <a:gd name="T113" fmla="*/ 30 h 490"/>
                  <a:gd name="T114" fmla="*/ 306 w 738"/>
                  <a:gd name="T115" fmla="*/ 36 h 490"/>
                  <a:gd name="T116" fmla="*/ 347 w 738"/>
                  <a:gd name="T117" fmla="*/ 44 h 490"/>
                  <a:gd name="T118" fmla="*/ 397 w 738"/>
                  <a:gd name="T119" fmla="*/ 37 h 490"/>
                  <a:gd name="T120" fmla="*/ 470 w 738"/>
                  <a:gd name="T121" fmla="*/ 20 h 490"/>
                  <a:gd name="T122" fmla="*/ 494 w 738"/>
                  <a:gd name="T123" fmla="*/ 2 h 49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738"/>
                  <a:gd name="T187" fmla="*/ 0 h 490"/>
                  <a:gd name="T188" fmla="*/ 738 w 738"/>
                  <a:gd name="T189" fmla="*/ 490 h 49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738" h="490">
                    <a:moveTo>
                      <a:pt x="495" y="2"/>
                    </a:moveTo>
                    <a:lnTo>
                      <a:pt x="496" y="3"/>
                    </a:lnTo>
                    <a:lnTo>
                      <a:pt x="498" y="0"/>
                    </a:lnTo>
                    <a:lnTo>
                      <a:pt x="500" y="1"/>
                    </a:lnTo>
                    <a:lnTo>
                      <a:pt x="501" y="2"/>
                    </a:lnTo>
                    <a:lnTo>
                      <a:pt x="502" y="2"/>
                    </a:lnTo>
                    <a:lnTo>
                      <a:pt x="504" y="0"/>
                    </a:lnTo>
                    <a:lnTo>
                      <a:pt x="504" y="2"/>
                    </a:lnTo>
                    <a:lnTo>
                      <a:pt x="506" y="0"/>
                    </a:lnTo>
                    <a:lnTo>
                      <a:pt x="507" y="2"/>
                    </a:lnTo>
                    <a:lnTo>
                      <a:pt x="508" y="2"/>
                    </a:lnTo>
                    <a:lnTo>
                      <a:pt x="512" y="2"/>
                    </a:lnTo>
                    <a:lnTo>
                      <a:pt x="514" y="2"/>
                    </a:lnTo>
                    <a:lnTo>
                      <a:pt x="514" y="5"/>
                    </a:lnTo>
                    <a:lnTo>
                      <a:pt x="516" y="5"/>
                    </a:lnTo>
                    <a:lnTo>
                      <a:pt x="519" y="6"/>
                    </a:lnTo>
                    <a:lnTo>
                      <a:pt x="520" y="7"/>
                    </a:lnTo>
                    <a:lnTo>
                      <a:pt x="519" y="8"/>
                    </a:lnTo>
                    <a:lnTo>
                      <a:pt x="521" y="8"/>
                    </a:lnTo>
                    <a:lnTo>
                      <a:pt x="522" y="7"/>
                    </a:lnTo>
                    <a:lnTo>
                      <a:pt x="523" y="7"/>
                    </a:lnTo>
                    <a:lnTo>
                      <a:pt x="523" y="8"/>
                    </a:lnTo>
                    <a:lnTo>
                      <a:pt x="523" y="10"/>
                    </a:lnTo>
                    <a:lnTo>
                      <a:pt x="526" y="11"/>
                    </a:lnTo>
                    <a:lnTo>
                      <a:pt x="527" y="12"/>
                    </a:lnTo>
                    <a:lnTo>
                      <a:pt x="524" y="12"/>
                    </a:lnTo>
                    <a:lnTo>
                      <a:pt x="524" y="13"/>
                    </a:lnTo>
                    <a:lnTo>
                      <a:pt x="528" y="14"/>
                    </a:lnTo>
                    <a:lnTo>
                      <a:pt x="529" y="14"/>
                    </a:lnTo>
                    <a:lnTo>
                      <a:pt x="530" y="15"/>
                    </a:lnTo>
                    <a:lnTo>
                      <a:pt x="530" y="16"/>
                    </a:lnTo>
                    <a:lnTo>
                      <a:pt x="529" y="18"/>
                    </a:lnTo>
                    <a:lnTo>
                      <a:pt x="530" y="21"/>
                    </a:lnTo>
                    <a:lnTo>
                      <a:pt x="532" y="22"/>
                    </a:lnTo>
                    <a:lnTo>
                      <a:pt x="533" y="24"/>
                    </a:lnTo>
                    <a:lnTo>
                      <a:pt x="536" y="25"/>
                    </a:lnTo>
                    <a:lnTo>
                      <a:pt x="535" y="26"/>
                    </a:lnTo>
                    <a:lnTo>
                      <a:pt x="534" y="26"/>
                    </a:lnTo>
                    <a:lnTo>
                      <a:pt x="534" y="27"/>
                    </a:lnTo>
                    <a:lnTo>
                      <a:pt x="537" y="26"/>
                    </a:lnTo>
                    <a:lnTo>
                      <a:pt x="538" y="28"/>
                    </a:lnTo>
                    <a:lnTo>
                      <a:pt x="537" y="29"/>
                    </a:lnTo>
                    <a:lnTo>
                      <a:pt x="538" y="30"/>
                    </a:lnTo>
                    <a:lnTo>
                      <a:pt x="540" y="30"/>
                    </a:lnTo>
                    <a:lnTo>
                      <a:pt x="540" y="31"/>
                    </a:lnTo>
                    <a:lnTo>
                      <a:pt x="538" y="32"/>
                    </a:lnTo>
                    <a:lnTo>
                      <a:pt x="541" y="35"/>
                    </a:lnTo>
                    <a:lnTo>
                      <a:pt x="539" y="37"/>
                    </a:lnTo>
                    <a:lnTo>
                      <a:pt x="543" y="38"/>
                    </a:lnTo>
                    <a:lnTo>
                      <a:pt x="543" y="41"/>
                    </a:lnTo>
                    <a:lnTo>
                      <a:pt x="544" y="42"/>
                    </a:lnTo>
                    <a:lnTo>
                      <a:pt x="544" y="45"/>
                    </a:lnTo>
                    <a:lnTo>
                      <a:pt x="546" y="45"/>
                    </a:lnTo>
                    <a:lnTo>
                      <a:pt x="546" y="47"/>
                    </a:lnTo>
                    <a:lnTo>
                      <a:pt x="544" y="47"/>
                    </a:lnTo>
                    <a:lnTo>
                      <a:pt x="546" y="49"/>
                    </a:lnTo>
                    <a:lnTo>
                      <a:pt x="546" y="51"/>
                    </a:lnTo>
                    <a:lnTo>
                      <a:pt x="550" y="55"/>
                    </a:lnTo>
                    <a:lnTo>
                      <a:pt x="549" y="57"/>
                    </a:lnTo>
                    <a:lnTo>
                      <a:pt x="549" y="58"/>
                    </a:lnTo>
                    <a:lnTo>
                      <a:pt x="548" y="58"/>
                    </a:lnTo>
                    <a:lnTo>
                      <a:pt x="547" y="59"/>
                    </a:lnTo>
                    <a:lnTo>
                      <a:pt x="550" y="62"/>
                    </a:lnTo>
                    <a:lnTo>
                      <a:pt x="550" y="63"/>
                    </a:lnTo>
                    <a:lnTo>
                      <a:pt x="554" y="67"/>
                    </a:lnTo>
                    <a:lnTo>
                      <a:pt x="557" y="71"/>
                    </a:lnTo>
                    <a:lnTo>
                      <a:pt x="560" y="73"/>
                    </a:lnTo>
                    <a:lnTo>
                      <a:pt x="561" y="77"/>
                    </a:lnTo>
                    <a:lnTo>
                      <a:pt x="563" y="78"/>
                    </a:lnTo>
                    <a:lnTo>
                      <a:pt x="563" y="82"/>
                    </a:lnTo>
                    <a:lnTo>
                      <a:pt x="564" y="82"/>
                    </a:lnTo>
                    <a:lnTo>
                      <a:pt x="568" y="84"/>
                    </a:lnTo>
                    <a:lnTo>
                      <a:pt x="569" y="83"/>
                    </a:lnTo>
                    <a:lnTo>
                      <a:pt x="572" y="86"/>
                    </a:lnTo>
                    <a:lnTo>
                      <a:pt x="571" y="89"/>
                    </a:lnTo>
                    <a:lnTo>
                      <a:pt x="572" y="91"/>
                    </a:lnTo>
                    <a:lnTo>
                      <a:pt x="572" y="93"/>
                    </a:lnTo>
                    <a:lnTo>
                      <a:pt x="572" y="95"/>
                    </a:lnTo>
                    <a:lnTo>
                      <a:pt x="573" y="95"/>
                    </a:lnTo>
                    <a:lnTo>
                      <a:pt x="574" y="98"/>
                    </a:lnTo>
                    <a:lnTo>
                      <a:pt x="576" y="99"/>
                    </a:lnTo>
                    <a:lnTo>
                      <a:pt x="576" y="100"/>
                    </a:lnTo>
                    <a:lnTo>
                      <a:pt x="577" y="101"/>
                    </a:lnTo>
                    <a:lnTo>
                      <a:pt x="584" y="104"/>
                    </a:lnTo>
                    <a:lnTo>
                      <a:pt x="585" y="107"/>
                    </a:lnTo>
                    <a:lnTo>
                      <a:pt x="586" y="109"/>
                    </a:lnTo>
                    <a:lnTo>
                      <a:pt x="588" y="111"/>
                    </a:lnTo>
                    <a:lnTo>
                      <a:pt x="589" y="114"/>
                    </a:lnTo>
                    <a:lnTo>
                      <a:pt x="590" y="116"/>
                    </a:lnTo>
                    <a:lnTo>
                      <a:pt x="589" y="118"/>
                    </a:lnTo>
                    <a:lnTo>
                      <a:pt x="589" y="119"/>
                    </a:lnTo>
                    <a:lnTo>
                      <a:pt x="592" y="120"/>
                    </a:lnTo>
                    <a:lnTo>
                      <a:pt x="593" y="121"/>
                    </a:lnTo>
                    <a:lnTo>
                      <a:pt x="593" y="122"/>
                    </a:lnTo>
                    <a:lnTo>
                      <a:pt x="596" y="123"/>
                    </a:lnTo>
                    <a:lnTo>
                      <a:pt x="598" y="126"/>
                    </a:lnTo>
                    <a:lnTo>
                      <a:pt x="601" y="127"/>
                    </a:lnTo>
                    <a:lnTo>
                      <a:pt x="601" y="129"/>
                    </a:lnTo>
                    <a:lnTo>
                      <a:pt x="605" y="131"/>
                    </a:lnTo>
                    <a:lnTo>
                      <a:pt x="607" y="131"/>
                    </a:lnTo>
                    <a:lnTo>
                      <a:pt x="607" y="132"/>
                    </a:lnTo>
                    <a:lnTo>
                      <a:pt x="611" y="135"/>
                    </a:lnTo>
                    <a:lnTo>
                      <a:pt x="612" y="139"/>
                    </a:lnTo>
                    <a:lnTo>
                      <a:pt x="612" y="140"/>
                    </a:lnTo>
                    <a:lnTo>
                      <a:pt x="613" y="142"/>
                    </a:lnTo>
                    <a:lnTo>
                      <a:pt x="613" y="144"/>
                    </a:lnTo>
                    <a:lnTo>
                      <a:pt x="614" y="145"/>
                    </a:lnTo>
                    <a:lnTo>
                      <a:pt x="613" y="147"/>
                    </a:lnTo>
                    <a:lnTo>
                      <a:pt x="615" y="149"/>
                    </a:lnTo>
                    <a:lnTo>
                      <a:pt x="614" y="150"/>
                    </a:lnTo>
                    <a:lnTo>
                      <a:pt x="616" y="154"/>
                    </a:lnTo>
                    <a:lnTo>
                      <a:pt x="618" y="156"/>
                    </a:lnTo>
                    <a:lnTo>
                      <a:pt x="619" y="159"/>
                    </a:lnTo>
                    <a:lnTo>
                      <a:pt x="618" y="160"/>
                    </a:lnTo>
                    <a:lnTo>
                      <a:pt x="621" y="167"/>
                    </a:lnTo>
                    <a:lnTo>
                      <a:pt x="623" y="168"/>
                    </a:lnTo>
                    <a:lnTo>
                      <a:pt x="623" y="171"/>
                    </a:lnTo>
                    <a:lnTo>
                      <a:pt x="624" y="175"/>
                    </a:lnTo>
                    <a:lnTo>
                      <a:pt x="622" y="179"/>
                    </a:lnTo>
                    <a:lnTo>
                      <a:pt x="623" y="180"/>
                    </a:lnTo>
                    <a:lnTo>
                      <a:pt x="621" y="186"/>
                    </a:lnTo>
                    <a:lnTo>
                      <a:pt x="622" y="189"/>
                    </a:lnTo>
                    <a:lnTo>
                      <a:pt x="624" y="190"/>
                    </a:lnTo>
                    <a:lnTo>
                      <a:pt x="624" y="192"/>
                    </a:lnTo>
                    <a:lnTo>
                      <a:pt x="625" y="193"/>
                    </a:lnTo>
                    <a:lnTo>
                      <a:pt x="624" y="195"/>
                    </a:lnTo>
                    <a:lnTo>
                      <a:pt x="623" y="195"/>
                    </a:lnTo>
                    <a:lnTo>
                      <a:pt x="623" y="198"/>
                    </a:lnTo>
                    <a:lnTo>
                      <a:pt x="622" y="199"/>
                    </a:lnTo>
                    <a:lnTo>
                      <a:pt x="621" y="202"/>
                    </a:lnTo>
                    <a:lnTo>
                      <a:pt x="619" y="203"/>
                    </a:lnTo>
                    <a:lnTo>
                      <a:pt x="621" y="207"/>
                    </a:lnTo>
                    <a:lnTo>
                      <a:pt x="619" y="209"/>
                    </a:lnTo>
                    <a:lnTo>
                      <a:pt x="616" y="211"/>
                    </a:lnTo>
                    <a:lnTo>
                      <a:pt x="615" y="212"/>
                    </a:lnTo>
                    <a:lnTo>
                      <a:pt x="615" y="213"/>
                    </a:lnTo>
                    <a:lnTo>
                      <a:pt x="613" y="215"/>
                    </a:lnTo>
                    <a:lnTo>
                      <a:pt x="613" y="217"/>
                    </a:lnTo>
                    <a:lnTo>
                      <a:pt x="616" y="219"/>
                    </a:lnTo>
                    <a:lnTo>
                      <a:pt x="615" y="224"/>
                    </a:lnTo>
                    <a:lnTo>
                      <a:pt x="613" y="229"/>
                    </a:lnTo>
                    <a:lnTo>
                      <a:pt x="613" y="230"/>
                    </a:lnTo>
                    <a:lnTo>
                      <a:pt x="612" y="231"/>
                    </a:lnTo>
                    <a:lnTo>
                      <a:pt x="612" y="234"/>
                    </a:lnTo>
                    <a:lnTo>
                      <a:pt x="612" y="235"/>
                    </a:lnTo>
                    <a:lnTo>
                      <a:pt x="611" y="239"/>
                    </a:lnTo>
                    <a:lnTo>
                      <a:pt x="613" y="243"/>
                    </a:lnTo>
                    <a:lnTo>
                      <a:pt x="613" y="244"/>
                    </a:lnTo>
                    <a:lnTo>
                      <a:pt x="613" y="245"/>
                    </a:lnTo>
                    <a:lnTo>
                      <a:pt x="615" y="247"/>
                    </a:lnTo>
                    <a:lnTo>
                      <a:pt x="614" y="251"/>
                    </a:lnTo>
                    <a:lnTo>
                      <a:pt x="615" y="253"/>
                    </a:lnTo>
                    <a:lnTo>
                      <a:pt x="613" y="255"/>
                    </a:lnTo>
                    <a:lnTo>
                      <a:pt x="613" y="258"/>
                    </a:lnTo>
                    <a:lnTo>
                      <a:pt x="615" y="261"/>
                    </a:lnTo>
                    <a:lnTo>
                      <a:pt x="617" y="264"/>
                    </a:lnTo>
                    <a:lnTo>
                      <a:pt x="617" y="266"/>
                    </a:lnTo>
                    <a:lnTo>
                      <a:pt x="618" y="267"/>
                    </a:lnTo>
                    <a:lnTo>
                      <a:pt x="618" y="273"/>
                    </a:lnTo>
                    <a:lnTo>
                      <a:pt x="618" y="276"/>
                    </a:lnTo>
                    <a:lnTo>
                      <a:pt x="618" y="278"/>
                    </a:lnTo>
                    <a:lnTo>
                      <a:pt x="613" y="279"/>
                    </a:lnTo>
                    <a:lnTo>
                      <a:pt x="610" y="282"/>
                    </a:lnTo>
                    <a:lnTo>
                      <a:pt x="610" y="283"/>
                    </a:lnTo>
                    <a:lnTo>
                      <a:pt x="612" y="283"/>
                    </a:lnTo>
                    <a:lnTo>
                      <a:pt x="613" y="285"/>
                    </a:lnTo>
                    <a:lnTo>
                      <a:pt x="616" y="286"/>
                    </a:lnTo>
                    <a:lnTo>
                      <a:pt x="617" y="288"/>
                    </a:lnTo>
                    <a:lnTo>
                      <a:pt x="618" y="289"/>
                    </a:lnTo>
                    <a:lnTo>
                      <a:pt x="618" y="291"/>
                    </a:lnTo>
                    <a:lnTo>
                      <a:pt x="618" y="294"/>
                    </a:lnTo>
                    <a:lnTo>
                      <a:pt x="622" y="297"/>
                    </a:lnTo>
                    <a:lnTo>
                      <a:pt x="621" y="297"/>
                    </a:lnTo>
                    <a:lnTo>
                      <a:pt x="627" y="299"/>
                    </a:lnTo>
                    <a:lnTo>
                      <a:pt x="627" y="303"/>
                    </a:lnTo>
                    <a:lnTo>
                      <a:pt x="629" y="308"/>
                    </a:lnTo>
                    <a:lnTo>
                      <a:pt x="632" y="311"/>
                    </a:lnTo>
                    <a:lnTo>
                      <a:pt x="634" y="312"/>
                    </a:lnTo>
                    <a:lnTo>
                      <a:pt x="646" y="316"/>
                    </a:lnTo>
                    <a:lnTo>
                      <a:pt x="650" y="319"/>
                    </a:lnTo>
                    <a:lnTo>
                      <a:pt x="655" y="319"/>
                    </a:lnTo>
                    <a:lnTo>
                      <a:pt x="659" y="321"/>
                    </a:lnTo>
                    <a:lnTo>
                      <a:pt x="663" y="321"/>
                    </a:lnTo>
                    <a:lnTo>
                      <a:pt x="668" y="319"/>
                    </a:lnTo>
                    <a:lnTo>
                      <a:pt x="665" y="317"/>
                    </a:lnTo>
                    <a:lnTo>
                      <a:pt x="664" y="316"/>
                    </a:lnTo>
                    <a:lnTo>
                      <a:pt x="665" y="315"/>
                    </a:lnTo>
                    <a:lnTo>
                      <a:pt x="667" y="314"/>
                    </a:lnTo>
                    <a:lnTo>
                      <a:pt x="666" y="312"/>
                    </a:lnTo>
                    <a:lnTo>
                      <a:pt x="666" y="310"/>
                    </a:lnTo>
                    <a:lnTo>
                      <a:pt x="670" y="310"/>
                    </a:lnTo>
                    <a:lnTo>
                      <a:pt x="671" y="312"/>
                    </a:lnTo>
                    <a:lnTo>
                      <a:pt x="673" y="312"/>
                    </a:lnTo>
                    <a:lnTo>
                      <a:pt x="676" y="314"/>
                    </a:lnTo>
                    <a:lnTo>
                      <a:pt x="678" y="315"/>
                    </a:lnTo>
                    <a:lnTo>
                      <a:pt x="680" y="314"/>
                    </a:lnTo>
                    <a:lnTo>
                      <a:pt x="681" y="310"/>
                    </a:lnTo>
                    <a:lnTo>
                      <a:pt x="684" y="310"/>
                    </a:lnTo>
                    <a:lnTo>
                      <a:pt x="685" y="308"/>
                    </a:lnTo>
                    <a:lnTo>
                      <a:pt x="689" y="306"/>
                    </a:lnTo>
                    <a:lnTo>
                      <a:pt x="696" y="304"/>
                    </a:lnTo>
                    <a:lnTo>
                      <a:pt x="700" y="300"/>
                    </a:lnTo>
                    <a:lnTo>
                      <a:pt x="706" y="300"/>
                    </a:lnTo>
                    <a:lnTo>
                      <a:pt x="709" y="298"/>
                    </a:lnTo>
                    <a:lnTo>
                      <a:pt x="713" y="299"/>
                    </a:lnTo>
                    <a:lnTo>
                      <a:pt x="716" y="298"/>
                    </a:lnTo>
                    <a:lnTo>
                      <a:pt x="718" y="300"/>
                    </a:lnTo>
                    <a:lnTo>
                      <a:pt x="723" y="301"/>
                    </a:lnTo>
                    <a:lnTo>
                      <a:pt x="728" y="303"/>
                    </a:lnTo>
                    <a:lnTo>
                      <a:pt x="731" y="304"/>
                    </a:lnTo>
                    <a:lnTo>
                      <a:pt x="734" y="310"/>
                    </a:lnTo>
                    <a:lnTo>
                      <a:pt x="735" y="314"/>
                    </a:lnTo>
                    <a:lnTo>
                      <a:pt x="735" y="322"/>
                    </a:lnTo>
                    <a:lnTo>
                      <a:pt x="732" y="322"/>
                    </a:lnTo>
                    <a:lnTo>
                      <a:pt x="734" y="327"/>
                    </a:lnTo>
                    <a:lnTo>
                      <a:pt x="738" y="328"/>
                    </a:lnTo>
                    <a:lnTo>
                      <a:pt x="736" y="330"/>
                    </a:lnTo>
                    <a:lnTo>
                      <a:pt x="735" y="333"/>
                    </a:lnTo>
                    <a:lnTo>
                      <a:pt x="734" y="345"/>
                    </a:lnTo>
                    <a:lnTo>
                      <a:pt x="732" y="350"/>
                    </a:lnTo>
                    <a:lnTo>
                      <a:pt x="732" y="355"/>
                    </a:lnTo>
                    <a:lnTo>
                      <a:pt x="731" y="357"/>
                    </a:lnTo>
                    <a:lnTo>
                      <a:pt x="731" y="360"/>
                    </a:lnTo>
                    <a:lnTo>
                      <a:pt x="731" y="361"/>
                    </a:lnTo>
                    <a:lnTo>
                      <a:pt x="728" y="363"/>
                    </a:lnTo>
                    <a:lnTo>
                      <a:pt x="724" y="363"/>
                    </a:lnTo>
                    <a:lnTo>
                      <a:pt x="696" y="367"/>
                    </a:lnTo>
                    <a:lnTo>
                      <a:pt x="691" y="371"/>
                    </a:lnTo>
                    <a:lnTo>
                      <a:pt x="688" y="372"/>
                    </a:lnTo>
                    <a:lnTo>
                      <a:pt x="683" y="377"/>
                    </a:lnTo>
                    <a:lnTo>
                      <a:pt x="682" y="375"/>
                    </a:lnTo>
                    <a:lnTo>
                      <a:pt x="681" y="373"/>
                    </a:lnTo>
                    <a:lnTo>
                      <a:pt x="681" y="371"/>
                    </a:lnTo>
                    <a:lnTo>
                      <a:pt x="685" y="371"/>
                    </a:lnTo>
                    <a:lnTo>
                      <a:pt x="693" y="367"/>
                    </a:lnTo>
                    <a:lnTo>
                      <a:pt x="695" y="365"/>
                    </a:lnTo>
                    <a:lnTo>
                      <a:pt x="694" y="363"/>
                    </a:lnTo>
                    <a:lnTo>
                      <a:pt x="691" y="359"/>
                    </a:lnTo>
                    <a:lnTo>
                      <a:pt x="691" y="362"/>
                    </a:lnTo>
                    <a:lnTo>
                      <a:pt x="690" y="361"/>
                    </a:lnTo>
                    <a:lnTo>
                      <a:pt x="689" y="363"/>
                    </a:lnTo>
                    <a:lnTo>
                      <a:pt x="687" y="359"/>
                    </a:lnTo>
                    <a:lnTo>
                      <a:pt x="686" y="353"/>
                    </a:lnTo>
                    <a:lnTo>
                      <a:pt x="688" y="350"/>
                    </a:lnTo>
                    <a:lnTo>
                      <a:pt x="691" y="349"/>
                    </a:lnTo>
                    <a:lnTo>
                      <a:pt x="692" y="348"/>
                    </a:lnTo>
                    <a:lnTo>
                      <a:pt x="687" y="344"/>
                    </a:lnTo>
                    <a:lnTo>
                      <a:pt x="684" y="345"/>
                    </a:lnTo>
                    <a:lnTo>
                      <a:pt x="681" y="344"/>
                    </a:lnTo>
                    <a:lnTo>
                      <a:pt x="680" y="346"/>
                    </a:lnTo>
                    <a:lnTo>
                      <a:pt x="676" y="347"/>
                    </a:lnTo>
                    <a:lnTo>
                      <a:pt x="673" y="350"/>
                    </a:lnTo>
                    <a:lnTo>
                      <a:pt x="673" y="353"/>
                    </a:lnTo>
                    <a:lnTo>
                      <a:pt x="673" y="355"/>
                    </a:lnTo>
                    <a:lnTo>
                      <a:pt x="673" y="357"/>
                    </a:lnTo>
                    <a:lnTo>
                      <a:pt x="679" y="363"/>
                    </a:lnTo>
                    <a:lnTo>
                      <a:pt x="677" y="365"/>
                    </a:lnTo>
                    <a:lnTo>
                      <a:pt x="678" y="366"/>
                    </a:lnTo>
                    <a:lnTo>
                      <a:pt x="677" y="367"/>
                    </a:lnTo>
                    <a:lnTo>
                      <a:pt x="679" y="369"/>
                    </a:lnTo>
                    <a:lnTo>
                      <a:pt x="677" y="371"/>
                    </a:lnTo>
                    <a:lnTo>
                      <a:pt x="675" y="370"/>
                    </a:lnTo>
                    <a:lnTo>
                      <a:pt x="672" y="371"/>
                    </a:lnTo>
                    <a:lnTo>
                      <a:pt x="670" y="373"/>
                    </a:lnTo>
                    <a:lnTo>
                      <a:pt x="668" y="374"/>
                    </a:lnTo>
                    <a:lnTo>
                      <a:pt x="666" y="377"/>
                    </a:lnTo>
                    <a:lnTo>
                      <a:pt x="668" y="377"/>
                    </a:lnTo>
                    <a:lnTo>
                      <a:pt x="666" y="379"/>
                    </a:lnTo>
                    <a:lnTo>
                      <a:pt x="666" y="381"/>
                    </a:lnTo>
                    <a:lnTo>
                      <a:pt x="667" y="383"/>
                    </a:lnTo>
                    <a:lnTo>
                      <a:pt x="671" y="381"/>
                    </a:lnTo>
                    <a:lnTo>
                      <a:pt x="676" y="378"/>
                    </a:lnTo>
                    <a:lnTo>
                      <a:pt x="676" y="377"/>
                    </a:lnTo>
                    <a:lnTo>
                      <a:pt x="676" y="375"/>
                    </a:lnTo>
                    <a:lnTo>
                      <a:pt x="679" y="376"/>
                    </a:lnTo>
                    <a:lnTo>
                      <a:pt x="683" y="378"/>
                    </a:lnTo>
                    <a:lnTo>
                      <a:pt x="681" y="382"/>
                    </a:lnTo>
                    <a:lnTo>
                      <a:pt x="679" y="383"/>
                    </a:lnTo>
                    <a:lnTo>
                      <a:pt x="678" y="383"/>
                    </a:lnTo>
                    <a:lnTo>
                      <a:pt x="682" y="379"/>
                    </a:lnTo>
                    <a:lnTo>
                      <a:pt x="680" y="377"/>
                    </a:lnTo>
                    <a:lnTo>
                      <a:pt x="679" y="377"/>
                    </a:lnTo>
                    <a:lnTo>
                      <a:pt x="680" y="378"/>
                    </a:lnTo>
                    <a:lnTo>
                      <a:pt x="680" y="379"/>
                    </a:lnTo>
                    <a:lnTo>
                      <a:pt x="677" y="378"/>
                    </a:lnTo>
                    <a:lnTo>
                      <a:pt x="672" y="383"/>
                    </a:lnTo>
                    <a:lnTo>
                      <a:pt x="665" y="387"/>
                    </a:lnTo>
                    <a:lnTo>
                      <a:pt x="668" y="383"/>
                    </a:lnTo>
                    <a:lnTo>
                      <a:pt x="665" y="383"/>
                    </a:lnTo>
                    <a:lnTo>
                      <a:pt x="664" y="385"/>
                    </a:lnTo>
                    <a:lnTo>
                      <a:pt x="664" y="386"/>
                    </a:lnTo>
                    <a:lnTo>
                      <a:pt x="665" y="385"/>
                    </a:lnTo>
                    <a:lnTo>
                      <a:pt x="665" y="387"/>
                    </a:lnTo>
                    <a:lnTo>
                      <a:pt x="666" y="388"/>
                    </a:lnTo>
                    <a:lnTo>
                      <a:pt x="665" y="390"/>
                    </a:lnTo>
                    <a:lnTo>
                      <a:pt x="663" y="389"/>
                    </a:lnTo>
                    <a:lnTo>
                      <a:pt x="662" y="389"/>
                    </a:lnTo>
                    <a:lnTo>
                      <a:pt x="662" y="391"/>
                    </a:lnTo>
                    <a:lnTo>
                      <a:pt x="662" y="392"/>
                    </a:lnTo>
                    <a:lnTo>
                      <a:pt x="663" y="391"/>
                    </a:lnTo>
                    <a:lnTo>
                      <a:pt x="665" y="392"/>
                    </a:lnTo>
                    <a:lnTo>
                      <a:pt x="663" y="398"/>
                    </a:lnTo>
                    <a:lnTo>
                      <a:pt x="663" y="401"/>
                    </a:lnTo>
                    <a:lnTo>
                      <a:pt x="665" y="402"/>
                    </a:lnTo>
                    <a:lnTo>
                      <a:pt x="667" y="396"/>
                    </a:lnTo>
                    <a:lnTo>
                      <a:pt x="672" y="391"/>
                    </a:lnTo>
                    <a:lnTo>
                      <a:pt x="676" y="389"/>
                    </a:lnTo>
                    <a:lnTo>
                      <a:pt x="677" y="385"/>
                    </a:lnTo>
                    <a:lnTo>
                      <a:pt x="674" y="392"/>
                    </a:lnTo>
                    <a:lnTo>
                      <a:pt x="671" y="397"/>
                    </a:lnTo>
                    <a:lnTo>
                      <a:pt x="663" y="405"/>
                    </a:lnTo>
                    <a:lnTo>
                      <a:pt x="660" y="411"/>
                    </a:lnTo>
                    <a:lnTo>
                      <a:pt x="659" y="415"/>
                    </a:lnTo>
                    <a:lnTo>
                      <a:pt x="659" y="414"/>
                    </a:lnTo>
                    <a:lnTo>
                      <a:pt x="657" y="414"/>
                    </a:lnTo>
                    <a:lnTo>
                      <a:pt x="656" y="414"/>
                    </a:lnTo>
                    <a:lnTo>
                      <a:pt x="655" y="416"/>
                    </a:lnTo>
                    <a:lnTo>
                      <a:pt x="654" y="419"/>
                    </a:lnTo>
                    <a:lnTo>
                      <a:pt x="654" y="423"/>
                    </a:lnTo>
                    <a:lnTo>
                      <a:pt x="657" y="430"/>
                    </a:lnTo>
                    <a:lnTo>
                      <a:pt x="657" y="432"/>
                    </a:lnTo>
                    <a:lnTo>
                      <a:pt x="656" y="432"/>
                    </a:lnTo>
                    <a:lnTo>
                      <a:pt x="654" y="434"/>
                    </a:lnTo>
                    <a:lnTo>
                      <a:pt x="656" y="440"/>
                    </a:lnTo>
                    <a:lnTo>
                      <a:pt x="655" y="442"/>
                    </a:lnTo>
                    <a:lnTo>
                      <a:pt x="657" y="451"/>
                    </a:lnTo>
                    <a:lnTo>
                      <a:pt x="656" y="455"/>
                    </a:lnTo>
                    <a:lnTo>
                      <a:pt x="654" y="459"/>
                    </a:lnTo>
                    <a:lnTo>
                      <a:pt x="654" y="460"/>
                    </a:lnTo>
                    <a:lnTo>
                      <a:pt x="653" y="465"/>
                    </a:lnTo>
                    <a:lnTo>
                      <a:pt x="652" y="468"/>
                    </a:lnTo>
                    <a:lnTo>
                      <a:pt x="650" y="474"/>
                    </a:lnTo>
                    <a:lnTo>
                      <a:pt x="651" y="477"/>
                    </a:lnTo>
                    <a:lnTo>
                      <a:pt x="639" y="477"/>
                    </a:lnTo>
                    <a:lnTo>
                      <a:pt x="631" y="475"/>
                    </a:lnTo>
                    <a:lnTo>
                      <a:pt x="625" y="475"/>
                    </a:lnTo>
                    <a:lnTo>
                      <a:pt x="607" y="466"/>
                    </a:lnTo>
                    <a:lnTo>
                      <a:pt x="604" y="464"/>
                    </a:lnTo>
                    <a:lnTo>
                      <a:pt x="601" y="452"/>
                    </a:lnTo>
                    <a:lnTo>
                      <a:pt x="599" y="450"/>
                    </a:lnTo>
                    <a:lnTo>
                      <a:pt x="592" y="453"/>
                    </a:lnTo>
                    <a:lnTo>
                      <a:pt x="585" y="454"/>
                    </a:lnTo>
                    <a:lnTo>
                      <a:pt x="583" y="453"/>
                    </a:lnTo>
                    <a:lnTo>
                      <a:pt x="580" y="447"/>
                    </a:lnTo>
                    <a:lnTo>
                      <a:pt x="578" y="446"/>
                    </a:lnTo>
                    <a:lnTo>
                      <a:pt x="575" y="447"/>
                    </a:lnTo>
                    <a:lnTo>
                      <a:pt x="558" y="447"/>
                    </a:lnTo>
                    <a:lnTo>
                      <a:pt x="555" y="444"/>
                    </a:lnTo>
                    <a:lnTo>
                      <a:pt x="549" y="441"/>
                    </a:lnTo>
                    <a:lnTo>
                      <a:pt x="549" y="439"/>
                    </a:lnTo>
                    <a:lnTo>
                      <a:pt x="549" y="438"/>
                    </a:lnTo>
                    <a:lnTo>
                      <a:pt x="549" y="435"/>
                    </a:lnTo>
                    <a:lnTo>
                      <a:pt x="544" y="437"/>
                    </a:lnTo>
                    <a:lnTo>
                      <a:pt x="537" y="435"/>
                    </a:lnTo>
                    <a:lnTo>
                      <a:pt x="527" y="434"/>
                    </a:lnTo>
                    <a:lnTo>
                      <a:pt x="518" y="436"/>
                    </a:lnTo>
                    <a:lnTo>
                      <a:pt x="509" y="441"/>
                    </a:lnTo>
                    <a:lnTo>
                      <a:pt x="503" y="441"/>
                    </a:lnTo>
                    <a:lnTo>
                      <a:pt x="495" y="444"/>
                    </a:lnTo>
                    <a:lnTo>
                      <a:pt x="491" y="444"/>
                    </a:lnTo>
                    <a:lnTo>
                      <a:pt x="483" y="446"/>
                    </a:lnTo>
                    <a:lnTo>
                      <a:pt x="480" y="445"/>
                    </a:lnTo>
                    <a:lnTo>
                      <a:pt x="472" y="447"/>
                    </a:lnTo>
                    <a:lnTo>
                      <a:pt x="468" y="450"/>
                    </a:lnTo>
                    <a:lnTo>
                      <a:pt x="459" y="452"/>
                    </a:lnTo>
                    <a:lnTo>
                      <a:pt x="455" y="455"/>
                    </a:lnTo>
                    <a:lnTo>
                      <a:pt x="453" y="460"/>
                    </a:lnTo>
                    <a:lnTo>
                      <a:pt x="449" y="462"/>
                    </a:lnTo>
                    <a:lnTo>
                      <a:pt x="444" y="466"/>
                    </a:lnTo>
                    <a:lnTo>
                      <a:pt x="440" y="471"/>
                    </a:lnTo>
                    <a:lnTo>
                      <a:pt x="439" y="473"/>
                    </a:lnTo>
                    <a:lnTo>
                      <a:pt x="434" y="476"/>
                    </a:lnTo>
                    <a:lnTo>
                      <a:pt x="433" y="479"/>
                    </a:lnTo>
                    <a:lnTo>
                      <a:pt x="431" y="481"/>
                    </a:lnTo>
                    <a:lnTo>
                      <a:pt x="424" y="483"/>
                    </a:lnTo>
                    <a:lnTo>
                      <a:pt x="415" y="487"/>
                    </a:lnTo>
                    <a:lnTo>
                      <a:pt x="416" y="487"/>
                    </a:lnTo>
                    <a:lnTo>
                      <a:pt x="409" y="487"/>
                    </a:lnTo>
                    <a:lnTo>
                      <a:pt x="403" y="490"/>
                    </a:lnTo>
                    <a:lnTo>
                      <a:pt x="400" y="490"/>
                    </a:lnTo>
                    <a:lnTo>
                      <a:pt x="398" y="489"/>
                    </a:lnTo>
                    <a:lnTo>
                      <a:pt x="391" y="484"/>
                    </a:lnTo>
                    <a:lnTo>
                      <a:pt x="388" y="483"/>
                    </a:lnTo>
                    <a:lnTo>
                      <a:pt x="378" y="483"/>
                    </a:lnTo>
                    <a:lnTo>
                      <a:pt x="375" y="482"/>
                    </a:lnTo>
                    <a:lnTo>
                      <a:pt x="370" y="479"/>
                    </a:lnTo>
                    <a:lnTo>
                      <a:pt x="367" y="478"/>
                    </a:lnTo>
                    <a:lnTo>
                      <a:pt x="361" y="480"/>
                    </a:lnTo>
                    <a:lnTo>
                      <a:pt x="356" y="480"/>
                    </a:lnTo>
                    <a:lnTo>
                      <a:pt x="348" y="480"/>
                    </a:lnTo>
                    <a:lnTo>
                      <a:pt x="344" y="479"/>
                    </a:lnTo>
                    <a:lnTo>
                      <a:pt x="339" y="476"/>
                    </a:lnTo>
                    <a:lnTo>
                      <a:pt x="332" y="475"/>
                    </a:lnTo>
                    <a:lnTo>
                      <a:pt x="328" y="477"/>
                    </a:lnTo>
                    <a:lnTo>
                      <a:pt x="320" y="482"/>
                    </a:lnTo>
                    <a:lnTo>
                      <a:pt x="315" y="482"/>
                    </a:lnTo>
                    <a:lnTo>
                      <a:pt x="306" y="483"/>
                    </a:lnTo>
                    <a:lnTo>
                      <a:pt x="300" y="481"/>
                    </a:lnTo>
                    <a:lnTo>
                      <a:pt x="298" y="479"/>
                    </a:lnTo>
                    <a:lnTo>
                      <a:pt x="294" y="478"/>
                    </a:lnTo>
                    <a:lnTo>
                      <a:pt x="292" y="477"/>
                    </a:lnTo>
                    <a:lnTo>
                      <a:pt x="284" y="476"/>
                    </a:lnTo>
                    <a:lnTo>
                      <a:pt x="278" y="473"/>
                    </a:lnTo>
                    <a:lnTo>
                      <a:pt x="274" y="472"/>
                    </a:lnTo>
                    <a:lnTo>
                      <a:pt x="272" y="470"/>
                    </a:lnTo>
                    <a:lnTo>
                      <a:pt x="267" y="470"/>
                    </a:lnTo>
                    <a:lnTo>
                      <a:pt x="262" y="472"/>
                    </a:lnTo>
                    <a:lnTo>
                      <a:pt x="256" y="469"/>
                    </a:lnTo>
                    <a:lnTo>
                      <a:pt x="254" y="467"/>
                    </a:lnTo>
                    <a:lnTo>
                      <a:pt x="248" y="465"/>
                    </a:lnTo>
                    <a:lnTo>
                      <a:pt x="243" y="466"/>
                    </a:lnTo>
                    <a:lnTo>
                      <a:pt x="235" y="466"/>
                    </a:lnTo>
                    <a:lnTo>
                      <a:pt x="224" y="470"/>
                    </a:lnTo>
                    <a:lnTo>
                      <a:pt x="222" y="470"/>
                    </a:lnTo>
                    <a:lnTo>
                      <a:pt x="219" y="471"/>
                    </a:lnTo>
                    <a:lnTo>
                      <a:pt x="212" y="469"/>
                    </a:lnTo>
                    <a:lnTo>
                      <a:pt x="204" y="466"/>
                    </a:lnTo>
                    <a:lnTo>
                      <a:pt x="202" y="462"/>
                    </a:lnTo>
                    <a:lnTo>
                      <a:pt x="202" y="460"/>
                    </a:lnTo>
                    <a:lnTo>
                      <a:pt x="204" y="458"/>
                    </a:lnTo>
                    <a:lnTo>
                      <a:pt x="205" y="451"/>
                    </a:lnTo>
                    <a:lnTo>
                      <a:pt x="211" y="448"/>
                    </a:lnTo>
                    <a:lnTo>
                      <a:pt x="214" y="448"/>
                    </a:lnTo>
                    <a:lnTo>
                      <a:pt x="218" y="444"/>
                    </a:lnTo>
                    <a:lnTo>
                      <a:pt x="218" y="441"/>
                    </a:lnTo>
                    <a:lnTo>
                      <a:pt x="215" y="440"/>
                    </a:lnTo>
                    <a:lnTo>
                      <a:pt x="208" y="438"/>
                    </a:lnTo>
                    <a:lnTo>
                      <a:pt x="203" y="434"/>
                    </a:lnTo>
                    <a:lnTo>
                      <a:pt x="198" y="432"/>
                    </a:lnTo>
                    <a:lnTo>
                      <a:pt x="196" y="429"/>
                    </a:lnTo>
                    <a:lnTo>
                      <a:pt x="190" y="428"/>
                    </a:lnTo>
                    <a:lnTo>
                      <a:pt x="190" y="426"/>
                    </a:lnTo>
                    <a:lnTo>
                      <a:pt x="190" y="422"/>
                    </a:lnTo>
                    <a:lnTo>
                      <a:pt x="190" y="421"/>
                    </a:lnTo>
                    <a:lnTo>
                      <a:pt x="188" y="420"/>
                    </a:lnTo>
                    <a:lnTo>
                      <a:pt x="181" y="417"/>
                    </a:lnTo>
                    <a:lnTo>
                      <a:pt x="179" y="415"/>
                    </a:lnTo>
                    <a:lnTo>
                      <a:pt x="176" y="409"/>
                    </a:lnTo>
                    <a:lnTo>
                      <a:pt x="175" y="405"/>
                    </a:lnTo>
                    <a:lnTo>
                      <a:pt x="172" y="402"/>
                    </a:lnTo>
                    <a:lnTo>
                      <a:pt x="172" y="400"/>
                    </a:lnTo>
                    <a:lnTo>
                      <a:pt x="172" y="399"/>
                    </a:lnTo>
                    <a:lnTo>
                      <a:pt x="174" y="399"/>
                    </a:lnTo>
                    <a:lnTo>
                      <a:pt x="179" y="399"/>
                    </a:lnTo>
                    <a:lnTo>
                      <a:pt x="180" y="394"/>
                    </a:lnTo>
                    <a:lnTo>
                      <a:pt x="182" y="392"/>
                    </a:lnTo>
                    <a:lnTo>
                      <a:pt x="185" y="392"/>
                    </a:lnTo>
                    <a:lnTo>
                      <a:pt x="191" y="395"/>
                    </a:lnTo>
                    <a:lnTo>
                      <a:pt x="195" y="393"/>
                    </a:lnTo>
                    <a:lnTo>
                      <a:pt x="196" y="391"/>
                    </a:lnTo>
                    <a:lnTo>
                      <a:pt x="191" y="386"/>
                    </a:lnTo>
                    <a:lnTo>
                      <a:pt x="188" y="385"/>
                    </a:lnTo>
                    <a:lnTo>
                      <a:pt x="185" y="385"/>
                    </a:lnTo>
                    <a:lnTo>
                      <a:pt x="182" y="383"/>
                    </a:lnTo>
                    <a:lnTo>
                      <a:pt x="177" y="379"/>
                    </a:lnTo>
                    <a:lnTo>
                      <a:pt x="174" y="375"/>
                    </a:lnTo>
                    <a:lnTo>
                      <a:pt x="172" y="375"/>
                    </a:lnTo>
                    <a:lnTo>
                      <a:pt x="169" y="375"/>
                    </a:lnTo>
                    <a:lnTo>
                      <a:pt x="166" y="379"/>
                    </a:lnTo>
                    <a:lnTo>
                      <a:pt x="161" y="380"/>
                    </a:lnTo>
                    <a:lnTo>
                      <a:pt x="159" y="383"/>
                    </a:lnTo>
                    <a:lnTo>
                      <a:pt x="158" y="384"/>
                    </a:lnTo>
                    <a:lnTo>
                      <a:pt x="157" y="386"/>
                    </a:lnTo>
                    <a:lnTo>
                      <a:pt x="154" y="391"/>
                    </a:lnTo>
                    <a:lnTo>
                      <a:pt x="150" y="399"/>
                    </a:lnTo>
                    <a:lnTo>
                      <a:pt x="146" y="399"/>
                    </a:lnTo>
                    <a:lnTo>
                      <a:pt x="143" y="397"/>
                    </a:lnTo>
                    <a:lnTo>
                      <a:pt x="142" y="393"/>
                    </a:lnTo>
                    <a:lnTo>
                      <a:pt x="139" y="391"/>
                    </a:lnTo>
                    <a:lnTo>
                      <a:pt x="138" y="387"/>
                    </a:lnTo>
                    <a:lnTo>
                      <a:pt x="135" y="383"/>
                    </a:lnTo>
                    <a:lnTo>
                      <a:pt x="124" y="381"/>
                    </a:lnTo>
                    <a:lnTo>
                      <a:pt x="122" y="381"/>
                    </a:lnTo>
                    <a:lnTo>
                      <a:pt x="118" y="380"/>
                    </a:lnTo>
                    <a:lnTo>
                      <a:pt x="115" y="381"/>
                    </a:lnTo>
                    <a:lnTo>
                      <a:pt x="112" y="379"/>
                    </a:lnTo>
                    <a:lnTo>
                      <a:pt x="109" y="381"/>
                    </a:lnTo>
                    <a:lnTo>
                      <a:pt x="106" y="378"/>
                    </a:lnTo>
                    <a:lnTo>
                      <a:pt x="106" y="374"/>
                    </a:lnTo>
                    <a:lnTo>
                      <a:pt x="105" y="371"/>
                    </a:lnTo>
                    <a:lnTo>
                      <a:pt x="104" y="369"/>
                    </a:lnTo>
                    <a:lnTo>
                      <a:pt x="99" y="368"/>
                    </a:lnTo>
                    <a:lnTo>
                      <a:pt x="90" y="368"/>
                    </a:lnTo>
                    <a:lnTo>
                      <a:pt x="89" y="367"/>
                    </a:lnTo>
                    <a:lnTo>
                      <a:pt x="88" y="364"/>
                    </a:lnTo>
                    <a:lnTo>
                      <a:pt x="86" y="363"/>
                    </a:lnTo>
                    <a:lnTo>
                      <a:pt x="86" y="359"/>
                    </a:lnTo>
                    <a:lnTo>
                      <a:pt x="88" y="359"/>
                    </a:lnTo>
                    <a:lnTo>
                      <a:pt x="90" y="357"/>
                    </a:lnTo>
                    <a:lnTo>
                      <a:pt x="97" y="357"/>
                    </a:lnTo>
                    <a:lnTo>
                      <a:pt x="102" y="355"/>
                    </a:lnTo>
                    <a:lnTo>
                      <a:pt x="101" y="353"/>
                    </a:lnTo>
                    <a:lnTo>
                      <a:pt x="100" y="351"/>
                    </a:lnTo>
                    <a:lnTo>
                      <a:pt x="95" y="348"/>
                    </a:lnTo>
                    <a:lnTo>
                      <a:pt x="91" y="348"/>
                    </a:lnTo>
                    <a:lnTo>
                      <a:pt x="90" y="347"/>
                    </a:lnTo>
                    <a:lnTo>
                      <a:pt x="90" y="345"/>
                    </a:lnTo>
                    <a:lnTo>
                      <a:pt x="88" y="345"/>
                    </a:lnTo>
                    <a:lnTo>
                      <a:pt x="87" y="343"/>
                    </a:lnTo>
                    <a:lnTo>
                      <a:pt x="87" y="342"/>
                    </a:lnTo>
                    <a:lnTo>
                      <a:pt x="93" y="341"/>
                    </a:lnTo>
                    <a:lnTo>
                      <a:pt x="93" y="339"/>
                    </a:lnTo>
                    <a:lnTo>
                      <a:pt x="95" y="335"/>
                    </a:lnTo>
                    <a:lnTo>
                      <a:pt x="94" y="334"/>
                    </a:lnTo>
                    <a:lnTo>
                      <a:pt x="95" y="332"/>
                    </a:lnTo>
                    <a:lnTo>
                      <a:pt x="98" y="331"/>
                    </a:lnTo>
                    <a:lnTo>
                      <a:pt x="98" y="328"/>
                    </a:lnTo>
                    <a:lnTo>
                      <a:pt x="96" y="327"/>
                    </a:lnTo>
                    <a:lnTo>
                      <a:pt x="96" y="325"/>
                    </a:lnTo>
                    <a:lnTo>
                      <a:pt x="92" y="324"/>
                    </a:lnTo>
                    <a:lnTo>
                      <a:pt x="90" y="322"/>
                    </a:lnTo>
                    <a:lnTo>
                      <a:pt x="88" y="322"/>
                    </a:lnTo>
                    <a:lnTo>
                      <a:pt x="83" y="321"/>
                    </a:lnTo>
                    <a:lnTo>
                      <a:pt x="79" y="320"/>
                    </a:lnTo>
                    <a:lnTo>
                      <a:pt x="74" y="316"/>
                    </a:lnTo>
                    <a:lnTo>
                      <a:pt x="71" y="312"/>
                    </a:lnTo>
                    <a:lnTo>
                      <a:pt x="66" y="314"/>
                    </a:lnTo>
                    <a:lnTo>
                      <a:pt x="65" y="312"/>
                    </a:lnTo>
                    <a:lnTo>
                      <a:pt x="62" y="311"/>
                    </a:lnTo>
                    <a:lnTo>
                      <a:pt x="60" y="309"/>
                    </a:lnTo>
                    <a:lnTo>
                      <a:pt x="57" y="308"/>
                    </a:lnTo>
                    <a:lnTo>
                      <a:pt x="53" y="303"/>
                    </a:lnTo>
                    <a:lnTo>
                      <a:pt x="48" y="299"/>
                    </a:lnTo>
                    <a:lnTo>
                      <a:pt x="47" y="296"/>
                    </a:lnTo>
                    <a:lnTo>
                      <a:pt x="46" y="296"/>
                    </a:lnTo>
                    <a:lnTo>
                      <a:pt x="41" y="293"/>
                    </a:lnTo>
                    <a:lnTo>
                      <a:pt x="41" y="291"/>
                    </a:lnTo>
                    <a:lnTo>
                      <a:pt x="43" y="290"/>
                    </a:lnTo>
                    <a:lnTo>
                      <a:pt x="44" y="288"/>
                    </a:lnTo>
                    <a:lnTo>
                      <a:pt x="44" y="287"/>
                    </a:lnTo>
                    <a:lnTo>
                      <a:pt x="40" y="280"/>
                    </a:lnTo>
                    <a:lnTo>
                      <a:pt x="40" y="278"/>
                    </a:lnTo>
                    <a:lnTo>
                      <a:pt x="42" y="275"/>
                    </a:lnTo>
                    <a:lnTo>
                      <a:pt x="42" y="268"/>
                    </a:lnTo>
                    <a:lnTo>
                      <a:pt x="43" y="266"/>
                    </a:lnTo>
                    <a:lnTo>
                      <a:pt x="42" y="264"/>
                    </a:lnTo>
                    <a:lnTo>
                      <a:pt x="41" y="263"/>
                    </a:lnTo>
                    <a:lnTo>
                      <a:pt x="38" y="266"/>
                    </a:lnTo>
                    <a:lnTo>
                      <a:pt x="36" y="266"/>
                    </a:lnTo>
                    <a:lnTo>
                      <a:pt x="34" y="263"/>
                    </a:lnTo>
                    <a:lnTo>
                      <a:pt x="32" y="260"/>
                    </a:lnTo>
                    <a:lnTo>
                      <a:pt x="31" y="256"/>
                    </a:lnTo>
                    <a:lnTo>
                      <a:pt x="28" y="254"/>
                    </a:lnTo>
                    <a:lnTo>
                      <a:pt x="26" y="250"/>
                    </a:lnTo>
                    <a:lnTo>
                      <a:pt x="24" y="248"/>
                    </a:lnTo>
                    <a:lnTo>
                      <a:pt x="19" y="247"/>
                    </a:lnTo>
                    <a:lnTo>
                      <a:pt x="14" y="243"/>
                    </a:lnTo>
                    <a:lnTo>
                      <a:pt x="11" y="242"/>
                    </a:lnTo>
                    <a:lnTo>
                      <a:pt x="8" y="241"/>
                    </a:lnTo>
                    <a:lnTo>
                      <a:pt x="8" y="239"/>
                    </a:lnTo>
                    <a:lnTo>
                      <a:pt x="8" y="236"/>
                    </a:lnTo>
                    <a:lnTo>
                      <a:pt x="0" y="227"/>
                    </a:lnTo>
                    <a:lnTo>
                      <a:pt x="2" y="223"/>
                    </a:lnTo>
                    <a:lnTo>
                      <a:pt x="4" y="223"/>
                    </a:lnTo>
                    <a:lnTo>
                      <a:pt x="7" y="222"/>
                    </a:lnTo>
                    <a:lnTo>
                      <a:pt x="12" y="223"/>
                    </a:lnTo>
                    <a:lnTo>
                      <a:pt x="17" y="223"/>
                    </a:lnTo>
                    <a:lnTo>
                      <a:pt x="18" y="223"/>
                    </a:lnTo>
                    <a:lnTo>
                      <a:pt x="18" y="220"/>
                    </a:lnTo>
                    <a:lnTo>
                      <a:pt x="23" y="221"/>
                    </a:lnTo>
                    <a:lnTo>
                      <a:pt x="29" y="225"/>
                    </a:lnTo>
                    <a:lnTo>
                      <a:pt x="31" y="223"/>
                    </a:lnTo>
                    <a:lnTo>
                      <a:pt x="33" y="224"/>
                    </a:lnTo>
                    <a:lnTo>
                      <a:pt x="36" y="221"/>
                    </a:lnTo>
                    <a:lnTo>
                      <a:pt x="37" y="221"/>
                    </a:lnTo>
                    <a:lnTo>
                      <a:pt x="36" y="219"/>
                    </a:lnTo>
                    <a:lnTo>
                      <a:pt x="39" y="218"/>
                    </a:lnTo>
                    <a:lnTo>
                      <a:pt x="39" y="214"/>
                    </a:lnTo>
                    <a:lnTo>
                      <a:pt x="44" y="210"/>
                    </a:lnTo>
                    <a:lnTo>
                      <a:pt x="48" y="210"/>
                    </a:lnTo>
                    <a:lnTo>
                      <a:pt x="51" y="212"/>
                    </a:lnTo>
                    <a:lnTo>
                      <a:pt x="53" y="210"/>
                    </a:lnTo>
                    <a:lnTo>
                      <a:pt x="56" y="212"/>
                    </a:lnTo>
                    <a:lnTo>
                      <a:pt x="60" y="211"/>
                    </a:lnTo>
                    <a:lnTo>
                      <a:pt x="61" y="213"/>
                    </a:lnTo>
                    <a:lnTo>
                      <a:pt x="63" y="214"/>
                    </a:lnTo>
                    <a:lnTo>
                      <a:pt x="64" y="213"/>
                    </a:lnTo>
                    <a:lnTo>
                      <a:pt x="68" y="209"/>
                    </a:lnTo>
                    <a:lnTo>
                      <a:pt x="69" y="209"/>
                    </a:lnTo>
                    <a:lnTo>
                      <a:pt x="72" y="208"/>
                    </a:lnTo>
                    <a:lnTo>
                      <a:pt x="72" y="205"/>
                    </a:lnTo>
                    <a:lnTo>
                      <a:pt x="73" y="203"/>
                    </a:lnTo>
                    <a:lnTo>
                      <a:pt x="72" y="201"/>
                    </a:lnTo>
                    <a:lnTo>
                      <a:pt x="74" y="198"/>
                    </a:lnTo>
                    <a:lnTo>
                      <a:pt x="75" y="196"/>
                    </a:lnTo>
                    <a:lnTo>
                      <a:pt x="80" y="195"/>
                    </a:lnTo>
                    <a:lnTo>
                      <a:pt x="81" y="193"/>
                    </a:lnTo>
                    <a:lnTo>
                      <a:pt x="80" y="191"/>
                    </a:lnTo>
                    <a:lnTo>
                      <a:pt x="79" y="189"/>
                    </a:lnTo>
                    <a:lnTo>
                      <a:pt x="78" y="186"/>
                    </a:lnTo>
                    <a:lnTo>
                      <a:pt x="82" y="180"/>
                    </a:lnTo>
                    <a:lnTo>
                      <a:pt x="82" y="177"/>
                    </a:lnTo>
                    <a:lnTo>
                      <a:pt x="83" y="175"/>
                    </a:lnTo>
                    <a:lnTo>
                      <a:pt x="83" y="173"/>
                    </a:lnTo>
                    <a:lnTo>
                      <a:pt x="90" y="173"/>
                    </a:lnTo>
                    <a:lnTo>
                      <a:pt x="90" y="172"/>
                    </a:lnTo>
                    <a:lnTo>
                      <a:pt x="93" y="170"/>
                    </a:lnTo>
                    <a:lnTo>
                      <a:pt x="92" y="167"/>
                    </a:lnTo>
                    <a:lnTo>
                      <a:pt x="96" y="167"/>
                    </a:lnTo>
                    <a:lnTo>
                      <a:pt x="97" y="164"/>
                    </a:lnTo>
                    <a:lnTo>
                      <a:pt x="99" y="163"/>
                    </a:lnTo>
                    <a:lnTo>
                      <a:pt x="99" y="162"/>
                    </a:lnTo>
                    <a:lnTo>
                      <a:pt x="96" y="160"/>
                    </a:lnTo>
                    <a:lnTo>
                      <a:pt x="99" y="153"/>
                    </a:lnTo>
                    <a:lnTo>
                      <a:pt x="101" y="150"/>
                    </a:lnTo>
                    <a:lnTo>
                      <a:pt x="105" y="148"/>
                    </a:lnTo>
                    <a:lnTo>
                      <a:pt x="106" y="146"/>
                    </a:lnTo>
                    <a:lnTo>
                      <a:pt x="105" y="142"/>
                    </a:lnTo>
                    <a:lnTo>
                      <a:pt x="108" y="141"/>
                    </a:lnTo>
                    <a:lnTo>
                      <a:pt x="109" y="140"/>
                    </a:lnTo>
                    <a:lnTo>
                      <a:pt x="111" y="138"/>
                    </a:lnTo>
                    <a:lnTo>
                      <a:pt x="110" y="136"/>
                    </a:lnTo>
                    <a:lnTo>
                      <a:pt x="112" y="133"/>
                    </a:lnTo>
                    <a:lnTo>
                      <a:pt x="112" y="132"/>
                    </a:lnTo>
                    <a:lnTo>
                      <a:pt x="109" y="131"/>
                    </a:lnTo>
                    <a:lnTo>
                      <a:pt x="109" y="130"/>
                    </a:lnTo>
                    <a:lnTo>
                      <a:pt x="114" y="125"/>
                    </a:lnTo>
                    <a:lnTo>
                      <a:pt x="120" y="121"/>
                    </a:lnTo>
                    <a:lnTo>
                      <a:pt x="121" y="117"/>
                    </a:lnTo>
                    <a:lnTo>
                      <a:pt x="124" y="113"/>
                    </a:lnTo>
                    <a:lnTo>
                      <a:pt x="124" y="109"/>
                    </a:lnTo>
                    <a:lnTo>
                      <a:pt x="126" y="105"/>
                    </a:lnTo>
                    <a:lnTo>
                      <a:pt x="126" y="104"/>
                    </a:lnTo>
                    <a:lnTo>
                      <a:pt x="126" y="102"/>
                    </a:lnTo>
                    <a:lnTo>
                      <a:pt x="129" y="99"/>
                    </a:lnTo>
                    <a:lnTo>
                      <a:pt x="130" y="96"/>
                    </a:lnTo>
                    <a:lnTo>
                      <a:pt x="136" y="94"/>
                    </a:lnTo>
                    <a:lnTo>
                      <a:pt x="137" y="93"/>
                    </a:lnTo>
                    <a:lnTo>
                      <a:pt x="138" y="86"/>
                    </a:lnTo>
                    <a:lnTo>
                      <a:pt x="136" y="82"/>
                    </a:lnTo>
                    <a:lnTo>
                      <a:pt x="137" y="80"/>
                    </a:lnTo>
                    <a:lnTo>
                      <a:pt x="138" y="77"/>
                    </a:lnTo>
                    <a:lnTo>
                      <a:pt x="142" y="75"/>
                    </a:lnTo>
                    <a:lnTo>
                      <a:pt x="146" y="72"/>
                    </a:lnTo>
                    <a:lnTo>
                      <a:pt x="148" y="71"/>
                    </a:lnTo>
                    <a:lnTo>
                      <a:pt x="150" y="71"/>
                    </a:lnTo>
                    <a:lnTo>
                      <a:pt x="151" y="67"/>
                    </a:lnTo>
                    <a:lnTo>
                      <a:pt x="153" y="65"/>
                    </a:lnTo>
                    <a:lnTo>
                      <a:pt x="154" y="62"/>
                    </a:lnTo>
                    <a:lnTo>
                      <a:pt x="157" y="59"/>
                    </a:lnTo>
                    <a:lnTo>
                      <a:pt x="157" y="57"/>
                    </a:lnTo>
                    <a:lnTo>
                      <a:pt x="158" y="57"/>
                    </a:lnTo>
                    <a:lnTo>
                      <a:pt x="162" y="54"/>
                    </a:lnTo>
                    <a:lnTo>
                      <a:pt x="166" y="55"/>
                    </a:lnTo>
                    <a:lnTo>
                      <a:pt x="169" y="55"/>
                    </a:lnTo>
                    <a:lnTo>
                      <a:pt x="170" y="51"/>
                    </a:lnTo>
                    <a:lnTo>
                      <a:pt x="172" y="49"/>
                    </a:lnTo>
                    <a:lnTo>
                      <a:pt x="175" y="50"/>
                    </a:lnTo>
                    <a:lnTo>
                      <a:pt x="180" y="53"/>
                    </a:lnTo>
                    <a:lnTo>
                      <a:pt x="187" y="51"/>
                    </a:lnTo>
                    <a:lnTo>
                      <a:pt x="190" y="50"/>
                    </a:lnTo>
                    <a:lnTo>
                      <a:pt x="190" y="47"/>
                    </a:lnTo>
                    <a:lnTo>
                      <a:pt x="191" y="46"/>
                    </a:lnTo>
                    <a:lnTo>
                      <a:pt x="196" y="45"/>
                    </a:lnTo>
                    <a:lnTo>
                      <a:pt x="197" y="43"/>
                    </a:lnTo>
                    <a:lnTo>
                      <a:pt x="196" y="41"/>
                    </a:lnTo>
                    <a:lnTo>
                      <a:pt x="203" y="38"/>
                    </a:lnTo>
                    <a:lnTo>
                      <a:pt x="204" y="35"/>
                    </a:lnTo>
                    <a:lnTo>
                      <a:pt x="206" y="32"/>
                    </a:lnTo>
                    <a:lnTo>
                      <a:pt x="209" y="32"/>
                    </a:lnTo>
                    <a:lnTo>
                      <a:pt x="210" y="29"/>
                    </a:lnTo>
                    <a:lnTo>
                      <a:pt x="209" y="27"/>
                    </a:lnTo>
                    <a:lnTo>
                      <a:pt x="210" y="26"/>
                    </a:lnTo>
                    <a:lnTo>
                      <a:pt x="217" y="29"/>
                    </a:lnTo>
                    <a:lnTo>
                      <a:pt x="221" y="26"/>
                    </a:lnTo>
                    <a:lnTo>
                      <a:pt x="224" y="18"/>
                    </a:lnTo>
                    <a:lnTo>
                      <a:pt x="227" y="17"/>
                    </a:lnTo>
                    <a:lnTo>
                      <a:pt x="231" y="18"/>
                    </a:lnTo>
                    <a:lnTo>
                      <a:pt x="235" y="18"/>
                    </a:lnTo>
                    <a:lnTo>
                      <a:pt x="238" y="23"/>
                    </a:lnTo>
                    <a:lnTo>
                      <a:pt x="242" y="26"/>
                    </a:lnTo>
                    <a:lnTo>
                      <a:pt x="244" y="28"/>
                    </a:lnTo>
                    <a:lnTo>
                      <a:pt x="247" y="28"/>
                    </a:lnTo>
                    <a:lnTo>
                      <a:pt x="253" y="31"/>
                    </a:lnTo>
                    <a:lnTo>
                      <a:pt x="257" y="27"/>
                    </a:lnTo>
                    <a:lnTo>
                      <a:pt x="259" y="29"/>
                    </a:lnTo>
                    <a:lnTo>
                      <a:pt x="264" y="29"/>
                    </a:lnTo>
                    <a:lnTo>
                      <a:pt x="266" y="30"/>
                    </a:lnTo>
                    <a:lnTo>
                      <a:pt x="273" y="29"/>
                    </a:lnTo>
                    <a:lnTo>
                      <a:pt x="276" y="30"/>
                    </a:lnTo>
                    <a:lnTo>
                      <a:pt x="279" y="32"/>
                    </a:lnTo>
                    <a:lnTo>
                      <a:pt x="280" y="35"/>
                    </a:lnTo>
                    <a:lnTo>
                      <a:pt x="282" y="35"/>
                    </a:lnTo>
                    <a:lnTo>
                      <a:pt x="284" y="35"/>
                    </a:lnTo>
                    <a:lnTo>
                      <a:pt x="290" y="32"/>
                    </a:lnTo>
                    <a:lnTo>
                      <a:pt x="296" y="32"/>
                    </a:lnTo>
                    <a:lnTo>
                      <a:pt x="300" y="35"/>
                    </a:lnTo>
                    <a:lnTo>
                      <a:pt x="303" y="37"/>
                    </a:lnTo>
                    <a:lnTo>
                      <a:pt x="305" y="37"/>
                    </a:lnTo>
                    <a:lnTo>
                      <a:pt x="306" y="36"/>
                    </a:lnTo>
                    <a:lnTo>
                      <a:pt x="312" y="38"/>
                    </a:lnTo>
                    <a:lnTo>
                      <a:pt x="317" y="35"/>
                    </a:lnTo>
                    <a:lnTo>
                      <a:pt x="321" y="36"/>
                    </a:lnTo>
                    <a:lnTo>
                      <a:pt x="324" y="33"/>
                    </a:lnTo>
                    <a:lnTo>
                      <a:pt x="326" y="32"/>
                    </a:lnTo>
                    <a:lnTo>
                      <a:pt x="331" y="33"/>
                    </a:lnTo>
                    <a:lnTo>
                      <a:pt x="336" y="32"/>
                    </a:lnTo>
                    <a:lnTo>
                      <a:pt x="338" y="34"/>
                    </a:lnTo>
                    <a:lnTo>
                      <a:pt x="345" y="38"/>
                    </a:lnTo>
                    <a:lnTo>
                      <a:pt x="345" y="39"/>
                    </a:lnTo>
                    <a:lnTo>
                      <a:pt x="345" y="42"/>
                    </a:lnTo>
                    <a:lnTo>
                      <a:pt x="347" y="44"/>
                    </a:lnTo>
                    <a:lnTo>
                      <a:pt x="353" y="47"/>
                    </a:lnTo>
                    <a:lnTo>
                      <a:pt x="356" y="47"/>
                    </a:lnTo>
                    <a:lnTo>
                      <a:pt x="362" y="57"/>
                    </a:lnTo>
                    <a:lnTo>
                      <a:pt x="364" y="58"/>
                    </a:lnTo>
                    <a:lnTo>
                      <a:pt x="375" y="56"/>
                    </a:lnTo>
                    <a:lnTo>
                      <a:pt x="379" y="54"/>
                    </a:lnTo>
                    <a:lnTo>
                      <a:pt x="383" y="50"/>
                    </a:lnTo>
                    <a:lnTo>
                      <a:pt x="384" y="46"/>
                    </a:lnTo>
                    <a:lnTo>
                      <a:pt x="387" y="43"/>
                    </a:lnTo>
                    <a:lnTo>
                      <a:pt x="388" y="41"/>
                    </a:lnTo>
                    <a:lnTo>
                      <a:pt x="397" y="37"/>
                    </a:lnTo>
                    <a:lnTo>
                      <a:pt x="403" y="37"/>
                    </a:lnTo>
                    <a:lnTo>
                      <a:pt x="412" y="35"/>
                    </a:lnTo>
                    <a:lnTo>
                      <a:pt x="431" y="35"/>
                    </a:lnTo>
                    <a:lnTo>
                      <a:pt x="436" y="32"/>
                    </a:lnTo>
                    <a:lnTo>
                      <a:pt x="440" y="32"/>
                    </a:lnTo>
                    <a:lnTo>
                      <a:pt x="443" y="31"/>
                    </a:lnTo>
                    <a:lnTo>
                      <a:pt x="447" y="31"/>
                    </a:lnTo>
                    <a:lnTo>
                      <a:pt x="452" y="30"/>
                    </a:lnTo>
                    <a:lnTo>
                      <a:pt x="461" y="29"/>
                    </a:lnTo>
                    <a:lnTo>
                      <a:pt x="464" y="27"/>
                    </a:lnTo>
                    <a:lnTo>
                      <a:pt x="467" y="21"/>
                    </a:lnTo>
                    <a:lnTo>
                      <a:pt x="470" y="20"/>
                    </a:lnTo>
                    <a:lnTo>
                      <a:pt x="471" y="17"/>
                    </a:lnTo>
                    <a:lnTo>
                      <a:pt x="474" y="11"/>
                    </a:lnTo>
                    <a:lnTo>
                      <a:pt x="474" y="8"/>
                    </a:lnTo>
                    <a:lnTo>
                      <a:pt x="475" y="8"/>
                    </a:lnTo>
                    <a:lnTo>
                      <a:pt x="478" y="7"/>
                    </a:lnTo>
                    <a:lnTo>
                      <a:pt x="480" y="8"/>
                    </a:lnTo>
                    <a:lnTo>
                      <a:pt x="480" y="7"/>
                    </a:lnTo>
                    <a:lnTo>
                      <a:pt x="482" y="7"/>
                    </a:lnTo>
                    <a:lnTo>
                      <a:pt x="486" y="5"/>
                    </a:lnTo>
                    <a:lnTo>
                      <a:pt x="490" y="6"/>
                    </a:lnTo>
                    <a:lnTo>
                      <a:pt x="493" y="5"/>
                    </a:lnTo>
                    <a:lnTo>
                      <a:pt x="494" y="2"/>
                    </a:lnTo>
                    <a:lnTo>
                      <a:pt x="495" y="2"/>
                    </a:lnTo>
                    <a:close/>
                  </a:path>
                </a:pathLst>
              </a:custGeom>
              <a:solidFill>
                <a:schemeClr val="tx1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49" name="Bulgaria">
                <a:extLst>
                  <a:ext uri="{FF2B5EF4-FFF2-40B4-BE49-F238E27FC236}">
                    <a16:creationId xmlns:a16="http://schemas.microsoft.com/office/drawing/2014/main" id="{EE00EB88-271B-4FC8-A9CB-D2F8A622E110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796847" y="4332918"/>
                <a:ext cx="548716" cy="401734"/>
              </a:xfrm>
              <a:custGeom>
                <a:avLst/>
                <a:gdLst>
                  <a:gd name="T0" fmla="*/ 433 w 488"/>
                  <a:gd name="T1" fmla="*/ 223 h 315"/>
                  <a:gd name="T2" fmla="*/ 421 w 488"/>
                  <a:gd name="T3" fmla="*/ 207 h 315"/>
                  <a:gd name="T4" fmla="*/ 418 w 488"/>
                  <a:gd name="T5" fmla="*/ 195 h 315"/>
                  <a:gd name="T6" fmla="*/ 413 w 488"/>
                  <a:gd name="T7" fmla="*/ 189 h 315"/>
                  <a:gd name="T8" fmla="*/ 402 w 488"/>
                  <a:gd name="T9" fmla="*/ 190 h 315"/>
                  <a:gd name="T10" fmla="*/ 399 w 488"/>
                  <a:gd name="T11" fmla="*/ 184 h 315"/>
                  <a:gd name="T12" fmla="*/ 411 w 488"/>
                  <a:gd name="T13" fmla="*/ 169 h 315"/>
                  <a:gd name="T14" fmla="*/ 419 w 488"/>
                  <a:gd name="T15" fmla="*/ 160 h 315"/>
                  <a:gd name="T16" fmla="*/ 432 w 488"/>
                  <a:gd name="T17" fmla="*/ 138 h 315"/>
                  <a:gd name="T18" fmla="*/ 438 w 488"/>
                  <a:gd name="T19" fmla="*/ 107 h 315"/>
                  <a:gd name="T20" fmla="*/ 470 w 488"/>
                  <a:gd name="T21" fmla="*/ 86 h 315"/>
                  <a:gd name="T22" fmla="*/ 485 w 488"/>
                  <a:gd name="T23" fmla="*/ 66 h 315"/>
                  <a:gd name="T24" fmla="*/ 442 w 488"/>
                  <a:gd name="T25" fmla="*/ 41 h 315"/>
                  <a:gd name="T26" fmla="*/ 410 w 488"/>
                  <a:gd name="T27" fmla="*/ 22 h 315"/>
                  <a:gd name="T28" fmla="*/ 363 w 488"/>
                  <a:gd name="T29" fmla="*/ 8 h 315"/>
                  <a:gd name="T30" fmla="*/ 304 w 488"/>
                  <a:gd name="T31" fmla="*/ 24 h 315"/>
                  <a:gd name="T32" fmla="*/ 269 w 488"/>
                  <a:gd name="T33" fmla="*/ 53 h 315"/>
                  <a:gd name="T34" fmla="*/ 226 w 488"/>
                  <a:gd name="T35" fmla="*/ 58 h 315"/>
                  <a:gd name="T36" fmla="*/ 180 w 488"/>
                  <a:gd name="T37" fmla="*/ 53 h 315"/>
                  <a:gd name="T38" fmla="*/ 130 w 488"/>
                  <a:gd name="T39" fmla="*/ 53 h 315"/>
                  <a:gd name="T40" fmla="*/ 90 w 488"/>
                  <a:gd name="T41" fmla="*/ 41 h 315"/>
                  <a:gd name="T42" fmla="*/ 38 w 488"/>
                  <a:gd name="T43" fmla="*/ 36 h 315"/>
                  <a:gd name="T44" fmla="*/ 44 w 488"/>
                  <a:gd name="T45" fmla="*/ 12 h 315"/>
                  <a:gd name="T46" fmla="*/ 20 w 488"/>
                  <a:gd name="T47" fmla="*/ 6 h 315"/>
                  <a:gd name="T48" fmla="*/ 5 w 488"/>
                  <a:gd name="T49" fmla="*/ 23 h 315"/>
                  <a:gd name="T50" fmla="*/ 5 w 488"/>
                  <a:gd name="T51" fmla="*/ 57 h 315"/>
                  <a:gd name="T52" fmla="*/ 12 w 488"/>
                  <a:gd name="T53" fmla="*/ 71 h 315"/>
                  <a:gd name="T54" fmla="*/ 32 w 488"/>
                  <a:gd name="T55" fmla="*/ 89 h 315"/>
                  <a:gd name="T56" fmla="*/ 50 w 488"/>
                  <a:gd name="T57" fmla="*/ 108 h 315"/>
                  <a:gd name="T58" fmla="*/ 34 w 488"/>
                  <a:gd name="T59" fmla="*/ 131 h 315"/>
                  <a:gd name="T60" fmla="*/ 19 w 488"/>
                  <a:gd name="T61" fmla="*/ 140 h 315"/>
                  <a:gd name="T62" fmla="*/ 9 w 488"/>
                  <a:gd name="T63" fmla="*/ 155 h 315"/>
                  <a:gd name="T64" fmla="*/ 14 w 488"/>
                  <a:gd name="T65" fmla="*/ 180 h 315"/>
                  <a:gd name="T66" fmla="*/ 3 w 488"/>
                  <a:gd name="T67" fmla="*/ 200 h 315"/>
                  <a:gd name="T68" fmla="*/ 25 w 488"/>
                  <a:gd name="T69" fmla="*/ 228 h 315"/>
                  <a:gd name="T70" fmla="*/ 40 w 488"/>
                  <a:gd name="T71" fmla="*/ 233 h 315"/>
                  <a:gd name="T72" fmla="*/ 51 w 488"/>
                  <a:gd name="T73" fmla="*/ 260 h 315"/>
                  <a:gd name="T74" fmla="*/ 47 w 488"/>
                  <a:gd name="T75" fmla="*/ 284 h 315"/>
                  <a:gd name="T76" fmla="*/ 53 w 488"/>
                  <a:gd name="T77" fmla="*/ 306 h 315"/>
                  <a:gd name="T78" fmla="*/ 82 w 488"/>
                  <a:gd name="T79" fmla="*/ 298 h 315"/>
                  <a:gd name="T80" fmla="*/ 103 w 488"/>
                  <a:gd name="T81" fmla="*/ 297 h 315"/>
                  <a:gd name="T82" fmla="*/ 128 w 488"/>
                  <a:gd name="T83" fmla="*/ 292 h 315"/>
                  <a:gd name="T84" fmla="*/ 140 w 488"/>
                  <a:gd name="T85" fmla="*/ 284 h 315"/>
                  <a:gd name="T86" fmla="*/ 152 w 488"/>
                  <a:gd name="T87" fmla="*/ 283 h 315"/>
                  <a:gd name="T88" fmla="*/ 168 w 488"/>
                  <a:gd name="T89" fmla="*/ 282 h 315"/>
                  <a:gd name="T90" fmla="*/ 175 w 488"/>
                  <a:gd name="T91" fmla="*/ 292 h 315"/>
                  <a:gd name="T92" fmla="*/ 186 w 488"/>
                  <a:gd name="T93" fmla="*/ 299 h 315"/>
                  <a:gd name="T94" fmla="*/ 211 w 488"/>
                  <a:gd name="T95" fmla="*/ 302 h 315"/>
                  <a:gd name="T96" fmla="*/ 235 w 488"/>
                  <a:gd name="T97" fmla="*/ 312 h 315"/>
                  <a:gd name="T98" fmla="*/ 261 w 488"/>
                  <a:gd name="T99" fmla="*/ 309 h 315"/>
                  <a:gd name="T100" fmla="*/ 284 w 488"/>
                  <a:gd name="T101" fmla="*/ 306 h 315"/>
                  <a:gd name="T102" fmla="*/ 300 w 488"/>
                  <a:gd name="T103" fmla="*/ 294 h 315"/>
                  <a:gd name="T104" fmla="*/ 296 w 488"/>
                  <a:gd name="T105" fmla="*/ 282 h 315"/>
                  <a:gd name="T106" fmla="*/ 295 w 488"/>
                  <a:gd name="T107" fmla="*/ 263 h 315"/>
                  <a:gd name="T108" fmla="*/ 313 w 488"/>
                  <a:gd name="T109" fmla="*/ 254 h 315"/>
                  <a:gd name="T110" fmla="*/ 333 w 488"/>
                  <a:gd name="T111" fmla="*/ 237 h 315"/>
                  <a:gd name="T112" fmla="*/ 355 w 488"/>
                  <a:gd name="T113" fmla="*/ 236 h 315"/>
                  <a:gd name="T114" fmla="*/ 375 w 488"/>
                  <a:gd name="T115" fmla="*/ 228 h 315"/>
                  <a:gd name="T116" fmla="*/ 390 w 488"/>
                  <a:gd name="T117" fmla="*/ 228 h 315"/>
                  <a:gd name="T118" fmla="*/ 407 w 488"/>
                  <a:gd name="T119" fmla="*/ 245 h 315"/>
                  <a:gd name="T120" fmla="*/ 411 w 488"/>
                  <a:gd name="T121" fmla="*/ 240 h 315"/>
                  <a:gd name="T122" fmla="*/ 428 w 488"/>
                  <a:gd name="T123" fmla="*/ 240 h 315"/>
                  <a:gd name="T124" fmla="*/ 438 w 488"/>
                  <a:gd name="T125" fmla="*/ 237 h 31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488"/>
                  <a:gd name="T190" fmla="*/ 0 h 315"/>
                  <a:gd name="T191" fmla="*/ 488 w 488"/>
                  <a:gd name="T192" fmla="*/ 315 h 315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488" h="315">
                    <a:moveTo>
                      <a:pt x="442" y="237"/>
                    </a:moveTo>
                    <a:lnTo>
                      <a:pt x="442" y="235"/>
                    </a:lnTo>
                    <a:lnTo>
                      <a:pt x="441" y="231"/>
                    </a:lnTo>
                    <a:lnTo>
                      <a:pt x="439" y="229"/>
                    </a:lnTo>
                    <a:lnTo>
                      <a:pt x="439" y="228"/>
                    </a:lnTo>
                    <a:lnTo>
                      <a:pt x="437" y="227"/>
                    </a:lnTo>
                    <a:lnTo>
                      <a:pt x="437" y="226"/>
                    </a:lnTo>
                    <a:lnTo>
                      <a:pt x="436" y="224"/>
                    </a:lnTo>
                    <a:lnTo>
                      <a:pt x="433" y="223"/>
                    </a:lnTo>
                    <a:lnTo>
                      <a:pt x="433" y="221"/>
                    </a:lnTo>
                    <a:lnTo>
                      <a:pt x="432" y="220"/>
                    </a:lnTo>
                    <a:lnTo>
                      <a:pt x="429" y="217"/>
                    </a:lnTo>
                    <a:lnTo>
                      <a:pt x="426" y="213"/>
                    </a:lnTo>
                    <a:lnTo>
                      <a:pt x="423" y="211"/>
                    </a:lnTo>
                    <a:lnTo>
                      <a:pt x="423" y="209"/>
                    </a:lnTo>
                    <a:lnTo>
                      <a:pt x="421" y="209"/>
                    </a:lnTo>
                    <a:lnTo>
                      <a:pt x="421" y="207"/>
                    </a:lnTo>
                    <a:lnTo>
                      <a:pt x="422" y="207"/>
                    </a:lnTo>
                    <a:lnTo>
                      <a:pt x="421" y="204"/>
                    </a:lnTo>
                    <a:lnTo>
                      <a:pt x="424" y="203"/>
                    </a:lnTo>
                    <a:lnTo>
                      <a:pt x="423" y="201"/>
                    </a:lnTo>
                    <a:lnTo>
                      <a:pt x="423" y="200"/>
                    </a:lnTo>
                    <a:lnTo>
                      <a:pt x="420" y="200"/>
                    </a:lnTo>
                    <a:lnTo>
                      <a:pt x="418" y="197"/>
                    </a:lnTo>
                    <a:lnTo>
                      <a:pt x="417" y="196"/>
                    </a:lnTo>
                    <a:lnTo>
                      <a:pt x="418" y="195"/>
                    </a:lnTo>
                    <a:lnTo>
                      <a:pt x="417" y="193"/>
                    </a:lnTo>
                    <a:lnTo>
                      <a:pt x="418" y="192"/>
                    </a:lnTo>
                    <a:lnTo>
                      <a:pt x="419" y="192"/>
                    </a:lnTo>
                    <a:lnTo>
                      <a:pt x="417" y="192"/>
                    </a:lnTo>
                    <a:lnTo>
                      <a:pt x="416" y="190"/>
                    </a:lnTo>
                    <a:lnTo>
                      <a:pt x="415" y="191"/>
                    </a:lnTo>
                    <a:lnTo>
                      <a:pt x="413" y="191"/>
                    </a:lnTo>
                    <a:lnTo>
                      <a:pt x="412" y="190"/>
                    </a:lnTo>
                    <a:lnTo>
                      <a:pt x="413" y="189"/>
                    </a:lnTo>
                    <a:lnTo>
                      <a:pt x="412" y="188"/>
                    </a:lnTo>
                    <a:lnTo>
                      <a:pt x="411" y="186"/>
                    </a:lnTo>
                    <a:lnTo>
                      <a:pt x="410" y="188"/>
                    </a:lnTo>
                    <a:lnTo>
                      <a:pt x="408" y="186"/>
                    </a:lnTo>
                    <a:lnTo>
                      <a:pt x="407" y="188"/>
                    </a:lnTo>
                    <a:lnTo>
                      <a:pt x="404" y="187"/>
                    </a:lnTo>
                    <a:lnTo>
                      <a:pt x="404" y="188"/>
                    </a:lnTo>
                    <a:lnTo>
                      <a:pt x="402" y="190"/>
                    </a:lnTo>
                    <a:lnTo>
                      <a:pt x="400" y="186"/>
                    </a:lnTo>
                    <a:lnTo>
                      <a:pt x="399" y="189"/>
                    </a:lnTo>
                    <a:lnTo>
                      <a:pt x="399" y="190"/>
                    </a:lnTo>
                    <a:lnTo>
                      <a:pt x="398" y="189"/>
                    </a:lnTo>
                    <a:lnTo>
                      <a:pt x="399" y="188"/>
                    </a:lnTo>
                    <a:lnTo>
                      <a:pt x="397" y="186"/>
                    </a:lnTo>
                    <a:lnTo>
                      <a:pt x="397" y="185"/>
                    </a:lnTo>
                    <a:lnTo>
                      <a:pt x="399" y="184"/>
                    </a:lnTo>
                    <a:lnTo>
                      <a:pt x="400" y="185"/>
                    </a:lnTo>
                    <a:lnTo>
                      <a:pt x="401" y="179"/>
                    </a:lnTo>
                    <a:lnTo>
                      <a:pt x="403" y="176"/>
                    </a:lnTo>
                    <a:lnTo>
                      <a:pt x="406" y="177"/>
                    </a:lnTo>
                    <a:lnTo>
                      <a:pt x="408" y="175"/>
                    </a:lnTo>
                    <a:lnTo>
                      <a:pt x="411" y="175"/>
                    </a:lnTo>
                    <a:lnTo>
                      <a:pt x="413" y="177"/>
                    </a:lnTo>
                    <a:lnTo>
                      <a:pt x="412" y="174"/>
                    </a:lnTo>
                    <a:lnTo>
                      <a:pt x="411" y="169"/>
                    </a:lnTo>
                    <a:lnTo>
                      <a:pt x="412" y="168"/>
                    </a:lnTo>
                    <a:lnTo>
                      <a:pt x="414" y="167"/>
                    </a:lnTo>
                    <a:lnTo>
                      <a:pt x="415" y="168"/>
                    </a:lnTo>
                    <a:lnTo>
                      <a:pt x="417" y="166"/>
                    </a:lnTo>
                    <a:lnTo>
                      <a:pt x="418" y="166"/>
                    </a:lnTo>
                    <a:lnTo>
                      <a:pt x="420" y="165"/>
                    </a:lnTo>
                    <a:lnTo>
                      <a:pt x="418" y="165"/>
                    </a:lnTo>
                    <a:lnTo>
                      <a:pt x="418" y="164"/>
                    </a:lnTo>
                    <a:lnTo>
                      <a:pt x="419" y="160"/>
                    </a:lnTo>
                    <a:lnTo>
                      <a:pt x="423" y="160"/>
                    </a:lnTo>
                    <a:lnTo>
                      <a:pt x="432" y="161"/>
                    </a:lnTo>
                    <a:lnTo>
                      <a:pt x="432" y="155"/>
                    </a:lnTo>
                    <a:lnTo>
                      <a:pt x="432" y="154"/>
                    </a:lnTo>
                    <a:lnTo>
                      <a:pt x="431" y="146"/>
                    </a:lnTo>
                    <a:lnTo>
                      <a:pt x="432" y="145"/>
                    </a:lnTo>
                    <a:lnTo>
                      <a:pt x="432" y="143"/>
                    </a:lnTo>
                    <a:lnTo>
                      <a:pt x="433" y="141"/>
                    </a:lnTo>
                    <a:lnTo>
                      <a:pt x="432" y="138"/>
                    </a:lnTo>
                    <a:lnTo>
                      <a:pt x="433" y="136"/>
                    </a:lnTo>
                    <a:lnTo>
                      <a:pt x="432" y="126"/>
                    </a:lnTo>
                    <a:lnTo>
                      <a:pt x="432" y="124"/>
                    </a:lnTo>
                    <a:lnTo>
                      <a:pt x="434" y="123"/>
                    </a:lnTo>
                    <a:lnTo>
                      <a:pt x="436" y="112"/>
                    </a:lnTo>
                    <a:lnTo>
                      <a:pt x="436" y="111"/>
                    </a:lnTo>
                    <a:lnTo>
                      <a:pt x="434" y="111"/>
                    </a:lnTo>
                    <a:lnTo>
                      <a:pt x="433" y="109"/>
                    </a:lnTo>
                    <a:lnTo>
                      <a:pt x="438" y="107"/>
                    </a:lnTo>
                    <a:lnTo>
                      <a:pt x="442" y="106"/>
                    </a:lnTo>
                    <a:lnTo>
                      <a:pt x="445" y="100"/>
                    </a:lnTo>
                    <a:lnTo>
                      <a:pt x="447" y="92"/>
                    </a:lnTo>
                    <a:lnTo>
                      <a:pt x="450" y="88"/>
                    </a:lnTo>
                    <a:lnTo>
                      <a:pt x="452" y="87"/>
                    </a:lnTo>
                    <a:lnTo>
                      <a:pt x="460" y="87"/>
                    </a:lnTo>
                    <a:lnTo>
                      <a:pt x="461" y="86"/>
                    </a:lnTo>
                    <a:lnTo>
                      <a:pt x="466" y="85"/>
                    </a:lnTo>
                    <a:lnTo>
                      <a:pt x="470" y="86"/>
                    </a:lnTo>
                    <a:lnTo>
                      <a:pt x="473" y="88"/>
                    </a:lnTo>
                    <a:lnTo>
                      <a:pt x="476" y="89"/>
                    </a:lnTo>
                    <a:lnTo>
                      <a:pt x="477" y="91"/>
                    </a:lnTo>
                    <a:lnTo>
                      <a:pt x="478" y="87"/>
                    </a:lnTo>
                    <a:lnTo>
                      <a:pt x="484" y="82"/>
                    </a:lnTo>
                    <a:lnTo>
                      <a:pt x="487" y="75"/>
                    </a:lnTo>
                    <a:lnTo>
                      <a:pt x="488" y="73"/>
                    </a:lnTo>
                    <a:lnTo>
                      <a:pt x="487" y="70"/>
                    </a:lnTo>
                    <a:lnTo>
                      <a:pt x="485" y="66"/>
                    </a:lnTo>
                    <a:lnTo>
                      <a:pt x="486" y="63"/>
                    </a:lnTo>
                    <a:lnTo>
                      <a:pt x="485" y="57"/>
                    </a:lnTo>
                    <a:lnTo>
                      <a:pt x="486" y="55"/>
                    </a:lnTo>
                    <a:lnTo>
                      <a:pt x="486" y="51"/>
                    </a:lnTo>
                    <a:lnTo>
                      <a:pt x="475" y="51"/>
                    </a:lnTo>
                    <a:lnTo>
                      <a:pt x="467" y="49"/>
                    </a:lnTo>
                    <a:lnTo>
                      <a:pt x="461" y="49"/>
                    </a:lnTo>
                    <a:lnTo>
                      <a:pt x="442" y="41"/>
                    </a:lnTo>
                    <a:lnTo>
                      <a:pt x="440" y="38"/>
                    </a:lnTo>
                    <a:lnTo>
                      <a:pt x="437" y="26"/>
                    </a:lnTo>
                    <a:lnTo>
                      <a:pt x="435" y="24"/>
                    </a:lnTo>
                    <a:lnTo>
                      <a:pt x="428" y="27"/>
                    </a:lnTo>
                    <a:lnTo>
                      <a:pt x="420" y="29"/>
                    </a:lnTo>
                    <a:lnTo>
                      <a:pt x="418" y="27"/>
                    </a:lnTo>
                    <a:lnTo>
                      <a:pt x="415" y="21"/>
                    </a:lnTo>
                    <a:lnTo>
                      <a:pt x="414" y="20"/>
                    </a:lnTo>
                    <a:lnTo>
                      <a:pt x="410" y="22"/>
                    </a:lnTo>
                    <a:lnTo>
                      <a:pt x="393" y="22"/>
                    </a:lnTo>
                    <a:lnTo>
                      <a:pt x="391" y="18"/>
                    </a:lnTo>
                    <a:lnTo>
                      <a:pt x="385" y="15"/>
                    </a:lnTo>
                    <a:lnTo>
                      <a:pt x="384" y="13"/>
                    </a:lnTo>
                    <a:lnTo>
                      <a:pt x="385" y="12"/>
                    </a:lnTo>
                    <a:lnTo>
                      <a:pt x="384" y="10"/>
                    </a:lnTo>
                    <a:lnTo>
                      <a:pt x="379" y="11"/>
                    </a:lnTo>
                    <a:lnTo>
                      <a:pt x="373" y="9"/>
                    </a:lnTo>
                    <a:lnTo>
                      <a:pt x="363" y="8"/>
                    </a:lnTo>
                    <a:lnTo>
                      <a:pt x="354" y="11"/>
                    </a:lnTo>
                    <a:lnTo>
                      <a:pt x="344" y="15"/>
                    </a:lnTo>
                    <a:lnTo>
                      <a:pt x="338" y="16"/>
                    </a:lnTo>
                    <a:lnTo>
                      <a:pt x="331" y="18"/>
                    </a:lnTo>
                    <a:lnTo>
                      <a:pt x="326" y="18"/>
                    </a:lnTo>
                    <a:lnTo>
                      <a:pt x="319" y="20"/>
                    </a:lnTo>
                    <a:lnTo>
                      <a:pt x="315" y="19"/>
                    </a:lnTo>
                    <a:lnTo>
                      <a:pt x="307" y="21"/>
                    </a:lnTo>
                    <a:lnTo>
                      <a:pt x="304" y="24"/>
                    </a:lnTo>
                    <a:lnTo>
                      <a:pt x="294" y="26"/>
                    </a:lnTo>
                    <a:lnTo>
                      <a:pt x="291" y="29"/>
                    </a:lnTo>
                    <a:lnTo>
                      <a:pt x="289" y="34"/>
                    </a:lnTo>
                    <a:lnTo>
                      <a:pt x="285" y="36"/>
                    </a:lnTo>
                    <a:lnTo>
                      <a:pt x="280" y="40"/>
                    </a:lnTo>
                    <a:lnTo>
                      <a:pt x="275" y="45"/>
                    </a:lnTo>
                    <a:lnTo>
                      <a:pt x="275" y="47"/>
                    </a:lnTo>
                    <a:lnTo>
                      <a:pt x="270" y="50"/>
                    </a:lnTo>
                    <a:lnTo>
                      <a:pt x="269" y="53"/>
                    </a:lnTo>
                    <a:lnTo>
                      <a:pt x="266" y="55"/>
                    </a:lnTo>
                    <a:lnTo>
                      <a:pt x="259" y="57"/>
                    </a:lnTo>
                    <a:lnTo>
                      <a:pt x="251" y="61"/>
                    </a:lnTo>
                    <a:lnTo>
                      <a:pt x="244" y="61"/>
                    </a:lnTo>
                    <a:lnTo>
                      <a:pt x="239" y="64"/>
                    </a:lnTo>
                    <a:lnTo>
                      <a:pt x="235" y="64"/>
                    </a:lnTo>
                    <a:lnTo>
                      <a:pt x="234" y="63"/>
                    </a:lnTo>
                    <a:lnTo>
                      <a:pt x="226" y="58"/>
                    </a:lnTo>
                    <a:lnTo>
                      <a:pt x="224" y="57"/>
                    </a:lnTo>
                    <a:lnTo>
                      <a:pt x="213" y="57"/>
                    </a:lnTo>
                    <a:lnTo>
                      <a:pt x="210" y="56"/>
                    </a:lnTo>
                    <a:lnTo>
                      <a:pt x="206" y="53"/>
                    </a:lnTo>
                    <a:lnTo>
                      <a:pt x="203" y="53"/>
                    </a:lnTo>
                    <a:lnTo>
                      <a:pt x="197" y="55"/>
                    </a:lnTo>
                    <a:lnTo>
                      <a:pt x="192" y="54"/>
                    </a:lnTo>
                    <a:lnTo>
                      <a:pt x="183" y="54"/>
                    </a:lnTo>
                    <a:lnTo>
                      <a:pt x="180" y="53"/>
                    </a:lnTo>
                    <a:lnTo>
                      <a:pt x="175" y="50"/>
                    </a:lnTo>
                    <a:lnTo>
                      <a:pt x="168" y="49"/>
                    </a:lnTo>
                    <a:lnTo>
                      <a:pt x="164" y="51"/>
                    </a:lnTo>
                    <a:lnTo>
                      <a:pt x="156" y="56"/>
                    </a:lnTo>
                    <a:lnTo>
                      <a:pt x="151" y="56"/>
                    </a:lnTo>
                    <a:lnTo>
                      <a:pt x="142" y="57"/>
                    </a:lnTo>
                    <a:lnTo>
                      <a:pt x="135" y="55"/>
                    </a:lnTo>
                    <a:lnTo>
                      <a:pt x="133" y="53"/>
                    </a:lnTo>
                    <a:lnTo>
                      <a:pt x="130" y="53"/>
                    </a:lnTo>
                    <a:lnTo>
                      <a:pt x="127" y="51"/>
                    </a:lnTo>
                    <a:lnTo>
                      <a:pt x="119" y="50"/>
                    </a:lnTo>
                    <a:lnTo>
                      <a:pt x="113" y="47"/>
                    </a:lnTo>
                    <a:lnTo>
                      <a:pt x="110" y="47"/>
                    </a:lnTo>
                    <a:lnTo>
                      <a:pt x="108" y="45"/>
                    </a:lnTo>
                    <a:lnTo>
                      <a:pt x="103" y="45"/>
                    </a:lnTo>
                    <a:lnTo>
                      <a:pt x="98" y="46"/>
                    </a:lnTo>
                    <a:lnTo>
                      <a:pt x="92" y="43"/>
                    </a:lnTo>
                    <a:lnTo>
                      <a:pt x="90" y="41"/>
                    </a:lnTo>
                    <a:lnTo>
                      <a:pt x="83" y="39"/>
                    </a:lnTo>
                    <a:lnTo>
                      <a:pt x="79" y="40"/>
                    </a:lnTo>
                    <a:lnTo>
                      <a:pt x="71" y="40"/>
                    </a:lnTo>
                    <a:lnTo>
                      <a:pt x="60" y="45"/>
                    </a:lnTo>
                    <a:lnTo>
                      <a:pt x="58" y="44"/>
                    </a:lnTo>
                    <a:lnTo>
                      <a:pt x="55" y="45"/>
                    </a:lnTo>
                    <a:lnTo>
                      <a:pt x="47" y="43"/>
                    </a:lnTo>
                    <a:lnTo>
                      <a:pt x="39" y="40"/>
                    </a:lnTo>
                    <a:lnTo>
                      <a:pt x="38" y="36"/>
                    </a:lnTo>
                    <a:lnTo>
                      <a:pt x="38" y="34"/>
                    </a:lnTo>
                    <a:lnTo>
                      <a:pt x="39" y="32"/>
                    </a:lnTo>
                    <a:lnTo>
                      <a:pt x="41" y="25"/>
                    </a:lnTo>
                    <a:lnTo>
                      <a:pt x="47" y="23"/>
                    </a:lnTo>
                    <a:lnTo>
                      <a:pt x="50" y="23"/>
                    </a:lnTo>
                    <a:lnTo>
                      <a:pt x="53" y="18"/>
                    </a:lnTo>
                    <a:lnTo>
                      <a:pt x="53" y="16"/>
                    </a:lnTo>
                    <a:lnTo>
                      <a:pt x="50" y="14"/>
                    </a:lnTo>
                    <a:lnTo>
                      <a:pt x="44" y="12"/>
                    </a:lnTo>
                    <a:lnTo>
                      <a:pt x="39" y="8"/>
                    </a:lnTo>
                    <a:lnTo>
                      <a:pt x="34" y="6"/>
                    </a:lnTo>
                    <a:lnTo>
                      <a:pt x="31" y="3"/>
                    </a:lnTo>
                    <a:lnTo>
                      <a:pt x="26" y="2"/>
                    </a:lnTo>
                    <a:lnTo>
                      <a:pt x="25" y="0"/>
                    </a:lnTo>
                    <a:lnTo>
                      <a:pt x="23" y="2"/>
                    </a:lnTo>
                    <a:lnTo>
                      <a:pt x="22" y="5"/>
                    </a:lnTo>
                    <a:lnTo>
                      <a:pt x="20" y="6"/>
                    </a:lnTo>
                    <a:lnTo>
                      <a:pt x="21" y="7"/>
                    </a:lnTo>
                    <a:lnTo>
                      <a:pt x="20" y="12"/>
                    </a:lnTo>
                    <a:lnTo>
                      <a:pt x="20" y="17"/>
                    </a:lnTo>
                    <a:lnTo>
                      <a:pt x="15" y="17"/>
                    </a:lnTo>
                    <a:lnTo>
                      <a:pt x="14" y="18"/>
                    </a:lnTo>
                    <a:lnTo>
                      <a:pt x="14" y="20"/>
                    </a:lnTo>
                    <a:lnTo>
                      <a:pt x="13" y="21"/>
                    </a:lnTo>
                    <a:lnTo>
                      <a:pt x="8" y="22"/>
                    </a:lnTo>
                    <a:lnTo>
                      <a:pt x="5" y="23"/>
                    </a:lnTo>
                    <a:lnTo>
                      <a:pt x="5" y="30"/>
                    </a:lnTo>
                    <a:lnTo>
                      <a:pt x="2" y="31"/>
                    </a:lnTo>
                    <a:lnTo>
                      <a:pt x="3" y="33"/>
                    </a:lnTo>
                    <a:lnTo>
                      <a:pt x="2" y="37"/>
                    </a:lnTo>
                    <a:lnTo>
                      <a:pt x="0" y="43"/>
                    </a:lnTo>
                    <a:lnTo>
                      <a:pt x="2" y="48"/>
                    </a:lnTo>
                    <a:lnTo>
                      <a:pt x="3" y="49"/>
                    </a:lnTo>
                    <a:lnTo>
                      <a:pt x="3" y="52"/>
                    </a:lnTo>
                    <a:lnTo>
                      <a:pt x="5" y="57"/>
                    </a:lnTo>
                    <a:lnTo>
                      <a:pt x="8" y="60"/>
                    </a:lnTo>
                    <a:lnTo>
                      <a:pt x="10" y="61"/>
                    </a:lnTo>
                    <a:lnTo>
                      <a:pt x="11" y="62"/>
                    </a:lnTo>
                    <a:lnTo>
                      <a:pt x="10" y="64"/>
                    </a:lnTo>
                    <a:lnTo>
                      <a:pt x="11" y="65"/>
                    </a:lnTo>
                    <a:lnTo>
                      <a:pt x="10" y="67"/>
                    </a:lnTo>
                    <a:lnTo>
                      <a:pt x="11" y="67"/>
                    </a:lnTo>
                    <a:lnTo>
                      <a:pt x="10" y="69"/>
                    </a:lnTo>
                    <a:lnTo>
                      <a:pt x="12" y="71"/>
                    </a:lnTo>
                    <a:lnTo>
                      <a:pt x="12" y="75"/>
                    </a:lnTo>
                    <a:lnTo>
                      <a:pt x="14" y="80"/>
                    </a:lnTo>
                    <a:lnTo>
                      <a:pt x="17" y="80"/>
                    </a:lnTo>
                    <a:lnTo>
                      <a:pt x="18" y="83"/>
                    </a:lnTo>
                    <a:lnTo>
                      <a:pt x="21" y="84"/>
                    </a:lnTo>
                    <a:lnTo>
                      <a:pt x="23" y="83"/>
                    </a:lnTo>
                    <a:lnTo>
                      <a:pt x="26" y="87"/>
                    </a:lnTo>
                    <a:lnTo>
                      <a:pt x="28" y="87"/>
                    </a:lnTo>
                    <a:lnTo>
                      <a:pt x="32" y="89"/>
                    </a:lnTo>
                    <a:lnTo>
                      <a:pt x="34" y="93"/>
                    </a:lnTo>
                    <a:lnTo>
                      <a:pt x="37" y="95"/>
                    </a:lnTo>
                    <a:lnTo>
                      <a:pt x="38" y="99"/>
                    </a:lnTo>
                    <a:lnTo>
                      <a:pt x="40" y="101"/>
                    </a:lnTo>
                    <a:lnTo>
                      <a:pt x="43" y="105"/>
                    </a:lnTo>
                    <a:lnTo>
                      <a:pt x="45" y="106"/>
                    </a:lnTo>
                    <a:lnTo>
                      <a:pt x="46" y="108"/>
                    </a:lnTo>
                    <a:lnTo>
                      <a:pt x="49" y="108"/>
                    </a:lnTo>
                    <a:lnTo>
                      <a:pt x="50" y="108"/>
                    </a:lnTo>
                    <a:lnTo>
                      <a:pt x="50" y="109"/>
                    </a:lnTo>
                    <a:lnTo>
                      <a:pt x="50" y="111"/>
                    </a:lnTo>
                    <a:lnTo>
                      <a:pt x="49" y="116"/>
                    </a:lnTo>
                    <a:lnTo>
                      <a:pt x="47" y="120"/>
                    </a:lnTo>
                    <a:lnTo>
                      <a:pt x="44" y="121"/>
                    </a:lnTo>
                    <a:lnTo>
                      <a:pt x="43" y="125"/>
                    </a:lnTo>
                    <a:lnTo>
                      <a:pt x="40" y="126"/>
                    </a:lnTo>
                    <a:lnTo>
                      <a:pt x="38" y="130"/>
                    </a:lnTo>
                    <a:lnTo>
                      <a:pt x="34" y="131"/>
                    </a:lnTo>
                    <a:lnTo>
                      <a:pt x="34" y="134"/>
                    </a:lnTo>
                    <a:lnTo>
                      <a:pt x="32" y="135"/>
                    </a:lnTo>
                    <a:lnTo>
                      <a:pt x="32" y="138"/>
                    </a:lnTo>
                    <a:lnTo>
                      <a:pt x="30" y="141"/>
                    </a:lnTo>
                    <a:lnTo>
                      <a:pt x="26" y="142"/>
                    </a:lnTo>
                    <a:lnTo>
                      <a:pt x="25" y="143"/>
                    </a:lnTo>
                    <a:lnTo>
                      <a:pt x="23" y="142"/>
                    </a:lnTo>
                    <a:lnTo>
                      <a:pt x="21" y="142"/>
                    </a:lnTo>
                    <a:lnTo>
                      <a:pt x="19" y="140"/>
                    </a:lnTo>
                    <a:lnTo>
                      <a:pt x="18" y="141"/>
                    </a:lnTo>
                    <a:lnTo>
                      <a:pt x="16" y="144"/>
                    </a:lnTo>
                    <a:lnTo>
                      <a:pt x="14" y="142"/>
                    </a:lnTo>
                    <a:lnTo>
                      <a:pt x="12" y="142"/>
                    </a:lnTo>
                    <a:lnTo>
                      <a:pt x="12" y="144"/>
                    </a:lnTo>
                    <a:lnTo>
                      <a:pt x="6" y="148"/>
                    </a:lnTo>
                    <a:lnTo>
                      <a:pt x="6" y="149"/>
                    </a:lnTo>
                    <a:lnTo>
                      <a:pt x="8" y="151"/>
                    </a:lnTo>
                    <a:lnTo>
                      <a:pt x="9" y="155"/>
                    </a:lnTo>
                    <a:lnTo>
                      <a:pt x="11" y="156"/>
                    </a:lnTo>
                    <a:lnTo>
                      <a:pt x="11" y="157"/>
                    </a:lnTo>
                    <a:lnTo>
                      <a:pt x="8" y="162"/>
                    </a:lnTo>
                    <a:lnTo>
                      <a:pt x="9" y="164"/>
                    </a:lnTo>
                    <a:lnTo>
                      <a:pt x="8" y="167"/>
                    </a:lnTo>
                    <a:lnTo>
                      <a:pt x="8" y="168"/>
                    </a:lnTo>
                    <a:lnTo>
                      <a:pt x="6" y="174"/>
                    </a:lnTo>
                    <a:lnTo>
                      <a:pt x="9" y="176"/>
                    </a:lnTo>
                    <a:lnTo>
                      <a:pt x="14" y="180"/>
                    </a:lnTo>
                    <a:lnTo>
                      <a:pt x="15" y="185"/>
                    </a:lnTo>
                    <a:lnTo>
                      <a:pt x="14" y="186"/>
                    </a:lnTo>
                    <a:lnTo>
                      <a:pt x="14" y="190"/>
                    </a:lnTo>
                    <a:lnTo>
                      <a:pt x="13" y="192"/>
                    </a:lnTo>
                    <a:lnTo>
                      <a:pt x="9" y="193"/>
                    </a:lnTo>
                    <a:lnTo>
                      <a:pt x="8" y="196"/>
                    </a:lnTo>
                    <a:lnTo>
                      <a:pt x="8" y="199"/>
                    </a:lnTo>
                    <a:lnTo>
                      <a:pt x="6" y="200"/>
                    </a:lnTo>
                    <a:lnTo>
                      <a:pt x="3" y="200"/>
                    </a:lnTo>
                    <a:lnTo>
                      <a:pt x="0" y="201"/>
                    </a:lnTo>
                    <a:lnTo>
                      <a:pt x="3" y="204"/>
                    </a:lnTo>
                    <a:lnTo>
                      <a:pt x="5" y="207"/>
                    </a:lnTo>
                    <a:lnTo>
                      <a:pt x="6" y="208"/>
                    </a:lnTo>
                    <a:lnTo>
                      <a:pt x="9" y="213"/>
                    </a:lnTo>
                    <a:lnTo>
                      <a:pt x="11" y="214"/>
                    </a:lnTo>
                    <a:lnTo>
                      <a:pt x="12" y="219"/>
                    </a:lnTo>
                    <a:lnTo>
                      <a:pt x="21" y="225"/>
                    </a:lnTo>
                    <a:lnTo>
                      <a:pt x="25" y="228"/>
                    </a:lnTo>
                    <a:lnTo>
                      <a:pt x="27" y="227"/>
                    </a:lnTo>
                    <a:lnTo>
                      <a:pt x="28" y="228"/>
                    </a:lnTo>
                    <a:lnTo>
                      <a:pt x="29" y="230"/>
                    </a:lnTo>
                    <a:lnTo>
                      <a:pt x="32" y="231"/>
                    </a:lnTo>
                    <a:lnTo>
                      <a:pt x="34" y="230"/>
                    </a:lnTo>
                    <a:lnTo>
                      <a:pt x="35" y="232"/>
                    </a:lnTo>
                    <a:lnTo>
                      <a:pt x="39" y="232"/>
                    </a:lnTo>
                    <a:lnTo>
                      <a:pt x="40" y="233"/>
                    </a:lnTo>
                    <a:lnTo>
                      <a:pt x="39" y="235"/>
                    </a:lnTo>
                    <a:lnTo>
                      <a:pt x="41" y="238"/>
                    </a:lnTo>
                    <a:lnTo>
                      <a:pt x="41" y="242"/>
                    </a:lnTo>
                    <a:lnTo>
                      <a:pt x="42" y="244"/>
                    </a:lnTo>
                    <a:lnTo>
                      <a:pt x="42" y="248"/>
                    </a:lnTo>
                    <a:lnTo>
                      <a:pt x="45" y="251"/>
                    </a:lnTo>
                    <a:lnTo>
                      <a:pt x="45" y="254"/>
                    </a:lnTo>
                    <a:lnTo>
                      <a:pt x="47" y="258"/>
                    </a:lnTo>
                    <a:lnTo>
                      <a:pt x="51" y="260"/>
                    </a:lnTo>
                    <a:lnTo>
                      <a:pt x="53" y="264"/>
                    </a:lnTo>
                    <a:lnTo>
                      <a:pt x="53" y="265"/>
                    </a:lnTo>
                    <a:lnTo>
                      <a:pt x="49" y="270"/>
                    </a:lnTo>
                    <a:lnTo>
                      <a:pt x="49" y="272"/>
                    </a:lnTo>
                    <a:lnTo>
                      <a:pt x="47" y="273"/>
                    </a:lnTo>
                    <a:lnTo>
                      <a:pt x="46" y="273"/>
                    </a:lnTo>
                    <a:lnTo>
                      <a:pt x="46" y="278"/>
                    </a:lnTo>
                    <a:lnTo>
                      <a:pt x="47" y="282"/>
                    </a:lnTo>
                    <a:lnTo>
                      <a:pt x="47" y="284"/>
                    </a:lnTo>
                    <a:lnTo>
                      <a:pt x="47" y="287"/>
                    </a:lnTo>
                    <a:lnTo>
                      <a:pt x="47" y="288"/>
                    </a:lnTo>
                    <a:lnTo>
                      <a:pt x="47" y="290"/>
                    </a:lnTo>
                    <a:lnTo>
                      <a:pt x="48" y="294"/>
                    </a:lnTo>
                    <a:lnTo>
                      <a:pt x="47" y="296"/>
                    </a:lnTo>
                    <a:lnTo>
                      <a:pt x="47" y="298"/>
                    </a:lnTo>
                    <a:lnTo>
                      <a:pt x="47" y="302"/>
                    </a:lnTo>
                    <a:lnTo>
                      <a:pt x="45" y="304"/>
                    </a:lnTo>
                    <a:lnTo>
                      <a:pt x="53" y="306"/>
                    </a:lnTo>
                    <a:lnTo>
                      <a:pt x="58" y="307"/>
                    </a:lnTo>
                    <a:lnTo>
                      <a:pt x="65" y="306"/>
                    </a:lnTo>
                    <a:lnTo>
                      <a:pt x="68" y="304"/>
                    </a:lnTo>
                    <a:lnTo>
                      <a:pt x="68" y="301"/>
                    </a:lnTo>
                    <a:lnTo>
                      <a:pt x="73" y="298"/>
                    </a:lnTo>
                    <a:lnTo>
                      <a:pt x="75" y="298"/>
                    </a:lnTo>
                    <a:lnTo>
                      <a:pt x="77" y="302"/>
                    </a:lnTo>
                    <a:lnTo>
                      <a:pt x="78" y="302"/>
                    </a:lnTo>
                    <a:lnTo>
                      <a:pt x="82" y="298"/>
                    </a:lnTo>
                    <a:lnTo>
                      <a:pt x="84" y="298"/>
                    </a:lnTo>
                    <a:lnTo>
                      <a:pt x="87" y="298"/>
                    </a:lnTo>
                    <a:lnTo>
                      <a:pt x="91" y="298"/>
                    </a:lnTo>
                    <a:lnTo>
                      <a:pt x="93" y="299"/>
                    </a:lnTo>
                    <a:lnTo>
                      <a:pt x="95" y="299"/>
                    </a:lnTo>
                    <a:lnTo>
                      <a:pt x="97" y="300"/>
                    </a:lnTo>
                    <a:lnTo>
                      <a:pt x="100" y="301"/>
                    </a:lnTo>
                    <a:lnTo>
                      <a:pt x="101" y="298"/>
                    </a:lnTo>
                    <a:lnTo>
                      <a:pt x="103" y="297"/>
                    </a:lnTo>
                    <a:lnTo>
                      <a:pt x="110" y="298"/>
                    </a:lnTo>
                    <a:lnTo>
                      <a:pt x="113" y="294"/>
                    </a:lnTo>
                    <a:lnTo>
                      <a:pt x="120" y="293"/>
                    </a:lnTo>
                    <a:lnTo>
                      <a:pt x="121" y="292"/>
                    </a:lnTo>
                    <a:lnTo>
                      <a:pt x="121" y="290"/>
                    </a:lnTo>
                    <a:lnTo>
                      <a:pt x="123" y="292"/>
                    </a:lnTo>
                    <a:lnTo>
                      <a:pt x="124" y="294"/>
                    </a:lnTo>
                    <a:lnTo>
                      <a:pt x="126" y="294"/>
                    </a:lnTo>
                    <a:lnTo>
                      <a:pt x="128" y="292"/>
                    </a:lnTo>
                    <a:lnTo>
                      <a:pt x="129" y="292"/>
                    </a:lnTo>
                    <a:lnTo>
                      <a:pt x="130" y="291"/>
                    </a:lnTo>
                    <a:lnTo>
                      <a:pt x="132" y="292"/>
                    </a:lnTo>
                    <a:lnTo>
                      <a:pt x="134" y="292"/>
                    </a:lnTo>
                    <a:lnTo>
                      <a:pt x="133" y="285"/>
                    </a:lnTo>
                    <a:lnTo>
                      <a:pt x="134" y="284"/>
                    </a:lnTo>
                    <a:lnTo>
                      <a:pt x="136" y="282"/>
                    </a:lnTo>
                    <a:lnTo>
                      <a:pt x="137" y="284"/>
                    </a:lnTo>
                    <a:lnTo>
                      <a:pt x="140" y="284"/>
                    </a:lnTo>
                    <a:lnTo>
                      <a:pt x="143" y="286"/>
                    </a:lnTo>
                    <a:lnTo>
                      <a:pt x="143" y="285"/>
                    </a:lnTo>
                    <a:lnTo>
                      <a:pt x="143" y="284"/>
                    </a:lnTo>
                    <a:lnTo>
                      <a:pt x="145" y="282"/>
                    </a:lnTo>
                    <a:lnTo>
                      <a:pt x="147" y="282"/>
                    </a:lnTo>
                    <a:lnTo>
                      <a:pt x="147" y="281"/>
                    </a:lnTo>
                    <a:lnTo>
                      <a:pt x="149" y="280"/>
                    </a:lnTo>
                    <a:lnTo>
                      <a:pt x="150" y="282"/>
                    </a:lnTo>
                    <a:lnTo>
                      <a:pt x="152" y="283"/>
                    </a:lnTo>
                    <a:lnTo>
                      <a:pt x="152" y="285"/>
                    </a:lnTo>
                    <a:lnTo>
                      <a:pt x="153" y="285"/>
                    </a:lnTo>
                    <a:lnTo>
                      <a:pt x="156" y="284"/>
                    </a:lnTo>
                    <a:lnTo>
                      <a:pt x="157" y="285"/>
                    </a:lnTo>
                    <a:lnTo>
                      <a:pt x="160" y="284"/>
                    </a:lnTo>
                    <a:lnTo>
                      <a:pt x="161" y="284"/>
                    </a:lnTo>
                    <a:lnTo>
                      <a:pt x="164" y="285"/>
                    </a:lnTo>
                    <a:lnTo>
                      <a:pt x="165" y="282"/>
                    </a:lnTo>
                    <a:lnTo>
                      <a:pt x="168" y="282"/>
                    </a:lnTo>
                    <a:lnTo>
                      <a:pt x="168" y="281"/>
                    </a:lnTo>
                    <a:lnTo>
                      <a:pt x="170" y="280"/>
                    </a:lnTo>
                    <a:lnTo>
                      <a:pt x="170" y="282"/>
                    </a:lnTo>
                    <a:lnTo>
                      <a:pt x="171" y="282"/>
                    </a:lnTo>
                    <a:lnTo>
                      <a:pt x="171" y="284"/>
                    </a:lnTo>
                    <a:lnTo>
                      <a:pt x="173" y="285"/>
                    </a:lnTo>
                    <a:lnTo>
                      <a:pt x="172" y="287"/>
                    </a:lnTo>
                    <a:lnTo>
                      <a:pt x="173" y="289"/>
                    </a:lnTo>
                    <a:lnTo>
                      <a:pt x="175" y="292"/>
                    </a:lnTo>
                    <a:lnTo>
                      <a:pt x="175" y="294"/>
                    </a:lnTo>
                    <a:lnTo>
                      <a:pt x="176" y="295"/>
                    </a:lnTo>
                    <a:lnTo>
                      <a:pt x="179" y="294"/>
                    </a:lnTo>
                    <a:lnTo>
                      <a:pt x="180" y="295"/>
                    </a:lnTo>
                    <a:lnTo>
                      <a:pt x="179" y="296"/>
                    </a:lnTo>
                    <a:lnTo>
                      <a:pt x="182" y="296"/>
                    </a:lnTo>
                    <a:lnTo>
                      <a:pt x="184" y="296"/>
                    </a:lnTo>
                    <a:lnTo>
                      <a:pt x="185" y="297"/>
                    </a:lnTo>
                    <a:lnTo>
                      <a:pt x="186" y="299"/>
                    </a:lnTo>
                    <a:lnTo>
                      <a:pt x="188" y="302"/>
                    </a:lnTo>
                    <a:lnTo>
                      <a:pt x="191" y="304"/>
                    </a:lnTo>
                    <a:lnTo>
                      <a:pt x="192" y="303"/>
                    </a:lnTo>
                    <a:lnTo>
                      <a:pt x="192" y="298"/>
                    </a:lnTo>
                    <a:lnTo>
                      <a:pt x="196" y="299"/>
                    </a:lnTo>
                    <a:lnTo>
                      <a:pt x="199" y="297"/>
                    </a:lnTo>
                    <a:lnTo>
                      <a:pt x="202" y="300"/>
                    </a:lnTo>
                    <a:lnTo>
                      <a:pt x="203" y="300"/>
                    </a:lnTo>
                    <a:lnTo>
                      <a:pt x="211" y="302"/>
                    </a:lnTo>
                    <a:lnTo>
                      <a:pt x="213" y="304"/>
                    </a:lnTo>
                    <a:lnTo>
                      <a:pt x="216" y="304"/>
                    </a:lnTo>
                    <a:lnTo>
                      <a:pt x="217" y="306"/>
                    </a:lnTo>
                    <a:lnTo>
                      <a:pt x="221" y="308"/>
                    </a:lnTo>
                    <a:lnTo>
                      <a:pt x="224" y="310"/>
                    </a:lnTo>
                    <a:lnTo>
                      <a:pt x="225" y="314"/>
                    </a:lnTo>
                    <a:lnTo>
                      <a:pt x="228" y="315"/>
                    </a:lnTo>
                    <a:lnTo>
                      <a:pt x="234" y="315"/>
                    </a:lnTo>
                    <a:lnTo>
                      <a:pt x="235" y="312"/>
                    </a:lnTo>
                    <a:lnTo>
                      <a:pt x="237" y="313"/>
                    </a:lnTo>
                    <a:lnTo>
                      <a:pt x="239" y="312"/>
                    </a:lnTo>
                    <a:lnTo>
                      <a:pt x="240" y="311"/>
                    </a:lnTo>
                    <a:lnTo>
                      <a:pt x="243" y="310"/>
                    </a:lnTo>
                    <a:lnTo>
                      <a:pt x="247" y="311"/>
                    </a:lnTo>
                    <a:lnTo>
                      <a:pt x="251" y="306"/>
                    </a:lnTo>
                    <a:lnTo>
                      <a:pt x="254" y="308"/>
                    </a:lnTo>
                    <a:lnTo>
                      <a:pt x="258" y="307"/>
                    </a:lnTo>
                    <a:lnTo>
                      <a:pt x="261" y="309"/>
                    </a:lnTo>
                    <a:lnTo>
                      <a:pt x="263" y="307"/>
                    </a:lnTo>
                    <a:lnTo>
                      <a:pt x="267" y="306"/>
                    </a:lnTo>
                    <a:lnTo>
                      <a:pt x="271" y="304"/>
                    </a:lnTo>
                    <a:lnTo>
                      <a:pt x="273" y="306"/>
                    </a:lnTo>
                    <a:lnTo>
                      <a:pt x="274" y="306"/>
                    </a:lnTo>
                    <a:lnTo>
                      <a:pt x="275" y="308"/>
                    </a:lnTo>
                    <a:lnTo>
                      <a:pt x="279" y="306"/>
                    </a:lnTo>
                    <a:lnTo>
                      <a:pt x="282" y="307"/>
                    </a:lnTo>
                    <a:lnTo>
                      <a:pt x="284" y="306"/>
                    </a:lnTo>
                    <a:lnTo>
                      <a:pt x="285" y="304"/>
                    </a:lnTo>
                    <a:lnTo>
                      <a:pt x="287" y="304"/>
                    </a:lnTo>
                    <a:lnTo>
                      <a:pt x="291" y="304"/>
                    </a:lnTo>
                    <a:lnTo>
                      <a:pt x="292" y="302"/>
                    </a:lnTo>
                    <a:lnTo>
                      <a:pt x="295" y="303"/>
                    </a:lnTo>
                    <a:lnTo>
                      <a:pt x="296" y="301"/>
                    </a:lnTo>
                    <a:lnTo>
                      <a:pt x="297" y="299"/>
                    </a:lnTo>
                    <a:lnTo>
                      <a:pt x="297" y="296"/>
                    </a:lnTo>
                    <a:lnTo>
                      <a:pt x="300" y="294"/>
                    </a:lnTo>
                    <a:lnTo>
                      <a:pt x="299" y="292"/>
                    </a:lnTo>
                    <a:lnTo>
                      <a:pt x="297" y="290"/>
                    </a:lnTo>
                    <a:lnTo>
                      <a:pt x="297" y="289"/>
                    </a:lnTo>
                    <a:lnTo>
                      <a:pt x="298" y="288"/>
                    </a:lnTo>
                    <a:lnTo>
                      <a:pt x="298" y="287"/>
                    </a:lnTo>
                    <a:lnTo>
                      <a:pt x="299" y="285"/>
                    </a:lnTo>
                    <a:lnTo>
                      <a:pt x="299" y="284"/>
                    </a:lnTo>
                    <a:lnTo>
                      <a:pt x="298" y="282"/>
                    </a:lnTo>
                    <a:lnTo>
                      <a:pt x="296" y="282"/>
                    </a:lnTo>
                    <a:lnTo>
                      <a:pt x="296" y="279"/>
                    </a:lnTo>
                    <a:lnTo>
                      <a:pt x="295" y="274"/>
                    </a:lnTo>
                    <a:lnTo>
                      <a:pt x="292" y="274"/>
                    </a:lnTo>
                    <a:lnTo>
                      <a:pt x="292" y="273"/>
                    </a:lnTo>
                    <a:lnTo>
                      <a:pt x="290" y="271"/>
                    </a:lnTo>
                    <a:lnTo>
                      <a:pt x="289" y="267"/>
                    </a:lnTo>
                    <a:lnTo>
                      <a:pt x="291" y="265"/>
                    </a:lnTo>
                    <a:lnTo>
                      <a:pt x="293" y="265"/>
                    </a:lnTo>
                    <a:lnTo>
                      <a:pt x="295" y="263"/>
                    </a:lnTo>
                    <a:lnTo>
                      <a:pt x="298" y="261"/>
                    </a:lnTo>
                    <a:lnTo>
                      <a:pt x="302" y="262"/>
                    </a:lnTo>
                    <a:lnTo>
                      <a:pt x="302" y="261"/>
                    </a:lnTo>
                    <a:lnTo>
                      <a:pt x="303" y="263"/>
                    </a:lnTo>
                    <a:lnTo>
                      <a:pt x="306" y="266"/>
                    </a:lnTo>
                    <a:lnTo>
                      <a:pt x="312" y="266"/>
                    </a:lnTo>
                    <a:lnTo>
                      <a:pt x="310" y="262"/>
                    </a:lnTo>
                    <a:lnTo>
                      <a:pt x="312" y="257"/>
                    </a:lnTo>
                    <a:lnTo>
                      <a:pt x="313" y="254"/>
                    </a:lnTo>
                    <a:lnTo>
                      <a:pt x="327" y="253"/>
                    </a:lnTo>
                    <a:lnTo>
                      <a:pt x="329" y="250"/>
                    </a:lnTo>
                    <a:lnTo>
                      <a:pt x="329" y="249"/>
                    </a:lnTo>
                    <a:lnTo>
                      <a:pt x="329" y="248"/>
                    </a:lnTo>
                    <a:lnTo>
                      <a:pt x="329" y="247"/>
                    </a:lnTo>
                    <a:lnTo>
                      <a:pt x="329" y="245"/>
                    </a:lnTo>
                    <a:lnTo>
                      <a:pt x="328" y="243"/>
                    </a:lnTo>
                    <a:lnTo>
                      <a:pt x="332" y="238"/>
                    </a:lnTo>
                    <a:lnTo>
                      <a:pt x="333" y="237"/>
                    </a:lnTo>
                    <a:lnTo>
                      <a:pt x="335" y="238"/>
                    </a:lnTo>
                    <a:lnTo>
                      <a:pt x="343" y="239"/>
                    </a:lnTo>
                    <a:lnTo>
                      <a:pt x="346" y="236"/>
                    </a:lnTo>
                    <a:lnTo>
                      <a:pt x="347" y="236"/>
                    </a:lnTo>
                    <a:lnTo>
                      <a:pt x="349" y="238"/>
                    </a:lnTo>
                    <a:lnTo>
                      <a:pt x="350" y="238"/>
                    </a:lnTo>
                    <a:lnTo>
                      <a:pt x="351" y="236"/>
                    </a:lnTo>
                    <a:lnTo>
                      <a:pt x="352" y="235"/>
                    </a:lnTo>
                    <a:lnTo>
                      <a:pt x="355" y="236"/>
                    </a:lnTo>
                    <a:lnTo>
                      <a:pt x="357" y="235"/>
                    </a:lnTo>
                    <a:lnTo>
                      <a:pt x="360" y="235"/>
                    </a:lnTo>
                    <a:lnTo>
                      <a:pt x="361" y="231"/>
                    </a:lnTo>
                    <a:lnTo>
                      <a:pt x="363" y="231"/>
                    </a:lnTo>
                    <a:lnTo>
                      <a:pt x="365" y="227"/>
                    </a:lnTo>
                    <a:lnTo>
                      <a:pt x="368" y="225"/>
                    </a:lnTo>
                    <a:lnTo>
                      <a:pt x="371" y="226"/>
                    </a:lnTo>
                    <a:lnTo>
                      <a:pt x="373" y="228"/>
                    </a:lnTo>
                    <a:lnTo>
                      <a:pt x="375" y="228"/>
                    </a:lnTo>
                    <a:lnTo>
                      <a:pt x="378" y="229"/>
                    </a:lnTo>
                    <a:lnTo>
                      <a:pt x="379" y="228"/>
                    </a:lnTo>
                    <a:lnTo>
                      <a:pt x="377" y="227"/>
                    </a:lnTo>
                    <a:lnTo>
                      <a:pt x="379" y="225"/>
                    </a:lnTo>
                    <a:lnTo>
                      <a:pt x="381" y="224"/>
                    </a:lnTo>
                    <a:lnTo>
                      <a:pt x="385" y="224"/>
                    </a:lnTo>
                    <a:lnTo>
                      <a:pt x="388" y="227"/>
                    </a:lnTo>
                    <a:lnTo>
                      <a:pt x="389" y="228"/>
                    </a:lnTo>
                    <a:lnTo>
                      <a:pt x="390" y="228"/>
                    </a:lnTo>
                    <a:lnTo>
                      <a:pt x="393" y="234"/>
                    </a:lnTo>
                    <a:lnTo>
                      <a:pt x="394" y="235"/>
                    </a:lnTo>
                    <a:lnTo>
                      <a:pt x="396" y="236"/>
                    </a:lnTo>
                    <a:lnTo>
                      <a:pt x="397" y="237"/>
                    </a:lnTo>
                    <a:lnTo>
                      <a:pt x="399" y="238"/>
                    </a:lnTo>
                    <a:lnTo>
                      <a:pt x="399" y="240"/>
                    </a:lnTo>
                    <a:lnTo>
                      <a:pt x="402" y="240"/>
                    </a:lnTo>
                    <a:lnTo>
                      <a:pt x="405" y="243"/>
                    </a:lnTo>
                    <a:lnTo>
                      <a:pt x="407" y="245"/>
                    </a:lnTo>
                    <a:lnTo>
                      <a:pt x="408" y="244"/>
                    </a:lnTo>
                    <a:lnTo>
                      <a:pt x="407" y="244"/>
                    </a:lnTo>
                    <a:lnTo>
                      <a:pt x="408" y="243"/>
                    </a:lnTo>
                    <a:lnTo>
                      <a:pt x="407" y="243"/>
                    </a:lnTo>
                    <a:lnTo>
                      <a:pt x="408" y="241"/>
                    </a:lnTo>
                    <a:lnTo>
                      <a:pt x="409" y="242"/>
                    </a:lnTo>
                    <a:lnTo>
                      <a:pt x="410" y="241"/>
                    </a:lnTo>
                    <a:lnTo>
                      <a:pt x="411" y="241"/>
                    </a:lnTo>
                    <a:lnTo>
                      <a:pt x="411" y="240"/>
                    </a:lnTo>
                    <a:lnTo>
                      <a:pt x="415" y="240"/>
                    </a:lnTo>
                    <a:lnTo>
                      <a:pt x="418" y="237"/>
                    </a:lnTo>
                    <a:lnTo>
                      <a:pt x="420" y="238"/>
                    </a:lnTo>
                    <a:lnTo>
                      <a:pt x="421" y="237"/>
                    </a:lnTo>
                    <a:lnTo>
                      <a:pt x="421" y="238"/>
                    </a:lnTo>
                    <a:lnTo>
                      <a:pt x="423" y="239"/>
                    </a:lnTo>
                    <a:lnTo>
                      <a:pt x="424" y="240"/>
                    </a:lnTo>
                    <a:lnTo>
                      <a:pt x="428" y="241"/>
                    </a:lnTo>
                    <a:lnTo>
                      <a:pt x="428" y="240"/>
                    </a:lnTo>
                    <a:lnTo>
                      <a:pt x="427" y="239"/>
                    </a:lnTo>
                    <a:lnTo>
                      <a:pt x="427" y="237"/>
                    </a:lnTo>
                    <a:lnTo>
                      <a:pt x="426" y="237"/>
                    </a:lnTo>
                    <a:lnTo>
                      <a:pt x="427" y="235"/>
                    </a:lnTo>
                    <a:lnTo>
                      <a:pt x="429" y="235"/>
                    </a:lnTo>
                    <a:lnTo>
                      <a:pt x="430" y="235"/>
                    </a:lnTo>
                    <a:lnTo>
                      <a:pt x="433" y="235"/>
                    </a:lnTo>
                    <a:lnTo>
                      <a:pt x="435" y="237"/>
                    </a:lnTo>
                    <a:lnTo>
                      <a:pt x="438" y="237"/>
                    </a:lnTo>
                    <a:lnTo>
                      <a:pt x="439" y="236"/>
                    </a:lnTo>
                    <a:lnTo>
                      <a:pt x="442" y="237"/>
                    </a:lnTo>
                    <a:close/>
                  </a:path>
                </a:pathLst>
              </a:custGeom>
              <a:solidFill>
                <a:schemeClr val="tx1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50" name="Albania">
                <a:extLst>
                  <a:ext uri="{FF2B5EF4-FFF2-40B4-BE49-F238E27FC236}">
                    <a16:creationId xmlns:a16="http://schemas.microsoft.com/office/drawing/2014/main" id="{4005D534-E9ED-449F-9B26-86959FB8C8F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527418" y="4542953"/>
                <a:ext cx="156074" cy="408402"/>
              </a:xfrm>
              <a:custGeom>
                <a:avLst/>
                <a:gdLst>
                  <a:gd name="T0" fmla="*/ 54 w 139"/>
                  <a:gd name="T1" fmla="*/ 307 h 319"/>
                  <a:gd name="T2" fmla="*/ 58 w 139"/>
                  <a:gd name="T3" fmla="*/ 297 h 319"/>
                  <a:gd name="T4" fmla="*/ 51 w 139"/>
                  <a:gd name="T5" fmla="*/ 288 h 319"/>
                  <a:gd name="T6" fmla="*/ 41 w 139"/>
                  <a:gd name="T7" fmla="*/ 275 h 319"/>
                  <a:gd name="T8" fmla="*/ 36 w 139"/>
                  <a:gd name="T9" fmla="*/ 270 h 319"/>
                  <a:gd name="T10" fmla="*/ 18 w 139"/>
                  <a:gd name="T11" fmla="*/ 261 h 319"/>
                  <a:gd name="T12" fmla="*/ 0 w 139"/>
                  <a:gd name="T13" fmla="*/ 237 h 319"/>
                  <a:gd name="T14" fmla="*/ 13 w 139"/>
                  <a:gd name="T15" fmla="*/ 246 h 319"/>
                  <a:gd name="T16" fmla="*/ 8 w 139"/>
                  <a:gd name="T17" fmla="*/ 225 h 319"/>
                  <a:gd name="T18" fmla="*/ 13 w 139"/>
                  <a:gd name="T19" fmla="*/ 228 h 319"/>
                  <a:gd name="T20" fmla="*/ 8 w 139"/>
                  <a:gd name="T21" fmla="*/ 224 h 319"/>
                  <a:gd name="T22" fmla="*/ 6 w 139"/>
                  <a:gd name="T23" fmla="*/ 206 h 319"/>
                  <a:gd name="T24" fmla="*/ 8 w 139"/>
                  <a:gd name="T25" fmla="*/ 187 h 319"/>
                  <a:gd name="T26" fmla="*/ 12 w 139"/>
                  <a:gd name="T27" fmla="*/ 184 h 319"/>
                  <a:gd name="T28" fmla="*/ 12 w 139"/>
                  <a:gd name="T29" fmla="*/ 189 h 319"/>
                  <a:gd name="T30" fmla="*/ 17 w 139"/>
                  <a:gd name="T31" fmla="*/ 177 h 319"/>
                  <a:gd name="T32" fmla="*/ 15 w 139"/>
                  <a:gd name="T33" fmla="*/ 177 h 319"/>
                  <a:gd name="T34" fmla="*/ 14 w 139"/>
                  <a:gd name="T35" fmla="*/ 163 h 319"/>
                  <a:gd name="T36" fmla="*/ 16 w 139"/>
                  <a:gd name="T37" fmla="*/ 144 h 319"/>
                  <a:gd name="T38" fmla="*/ 10 w 139"/>
                  <a:gd name="T39" fmla="*/ 134 h 319"/>
                  <a:gd name="T40" fmla="*/ 18 w 139"/>
                  <a:gd name="T41" fmla="*/ 119 h 319"/>
                  <a:gd name="T42" fmla="*/ 24 w 139"/>
                  <a:gd name="T43" fmla="*/ 113 h 319"/>
                  <a:gd name="T44" fmla="*/ 24 w 139"/>
                  <a:gd name="T45" fmla="*/ 109 h 319"/>
                  <a:gd name="T46" fmla="*/ 24 w 139"/>
                  <a:gd name="T47" fmla="*/ 96 h 319"/>
                  <a:gd name="T48" fmla="*/ 7 w 139"/>
                  <a:gd name="T49" fmla="*/ 86 h 319"/>
                  <a:gd name="T50" fmla="*/ 8 w 139"/>
                  <a:gd name="T51" fmla="*/ 74 h 319"/>
                  <a:gd name="T52" fmla="*/ 0 w 139"/>
                  <a:gd name="T53" fmla="*/ 50 h 319"/>
                  <a:gd name="T54" fmla="*/ 15 w 139"/>
                  <a:gd name="T55" fmla="*/ 28 h 319"/>
                  <a:gd name="T56" fmla="*/ 28 w 139"/>
                  <a:gd name="T57" fmla="*/ 5 h 319"/>
                  <a:gd name="T58" fmla="*/ 37 w 139"/>
                  <a:gd name="T59" fmla="*/ 9 h 319"/>
                  <a:gd name="T60" fmla="*/ 43 w 139"/>
                  <a:gd name="T61" fmla="*/ 21 h 319"/>
                  <a:gd name="T62" fmla="*/ 52 w 139"/>
                  <a:gd name="T63" fmla="*/ 15 h 319"/>
                  <a:gd name="T64" fmla="*/ 70 w 139"/>
                  <a:gd name="T65" fmla="*/ 17 h 319"/>
                  <a:gd name="T66" fmla="*/ 75 w 139"/>
                  <a:gd name="T67" fmla="*/ 31 h 319"/>
                  <a:gd name="T68" fmla="*/ 84 w 139"/>
                  <a:gd name="T69" fmla="*/ 38 h 319"/>
                  <a:gd name="T70" fmla="*/ 101 w 139"/>
                  <a:gd name="T71" fmla="*/ 57 h 319"/>
                  <a:gd name="T72" fmla="*/ 105 w 139"/>
                  <a:gd name="T73" fmla="*/ 76 h 319"/>
                  <a:gd name="T74" fmla="*/ 101 w 139"/>
                  <a:gd name="T75" fmla="*/ 92 h 319"/>
                  <a:gd name="T76" fmla="*/ 97 w 139"/>
                  <a:gd name="T77" fmla="*/ 106 h 319"/>
                  <a:gd name="T78" fmla="*/ 93 w 139"/>
                  <a:gd name="T79" fmla="*/ 119 h 319"/>
                  <a:gd name="T80" fmla="*/ 99 w 139"/>
                  <a:gd name="T81" fmla="*/ 130 h 319"/>
                  <a:gd name="T82" fmla="*/ 95 w 139"/>
                  <a:gd name="T83" fmla="*/ 141 h 319"/>
                  <a:gd name="T84" fmla="*/ 102 w 139"/>
                  <a:gd name="T85" fmla="*/ 163 h 319"/>
                  <a:gd name="T86" fmla="*/ 123 w 139"/>
                  <a:gd name="T87" fmla="*/ 182 h 319"/>
                  <a:gd name="T88" fmla="*/ 133 w 139"/>
                  <a:gd name="T89" fmla="*/ 198 h 319"/>
                  <a:gd name="T90" fmla="*/ 139 w 139"/>
                  <a:gd name="T91" fmla="*/ 216 h 319"/>
                  <a:gd name="T92" fmla="*/ 133 w 139"/>
                  <a:gd name="T93" fmla="*/ 226 h 319"/>
                  <a:gd name="T94" fmla="*/ 125 w 139"/>
                  <a:gd name="T95" fmla="*/ 231 h 319"/>
                  <a:gd name="T96" fmla="*/ 116 w 139"/>
                  <a:gd name="T97" fmla="*/ 246 h 319"/>
                  <a:gd name="T98" fmla="*/ 113 w 139"/>
                  <a:gd name="T99" fmla="*/ 255 h 319"/>
                  <a:gd name="T100" fmla="*/ 109 w 139"/>
                  <a:gd name="T101" fmla="*/ 270 h 319"/>
                  <a:gd name="T102" fmla="*/ 88 w 139"/>
                  <a:gd name="T103" fmla="*/ 276 h 319"/>
                  <a:gd name="T104" fmla="*/ 83 w 139"/>
                  <a:gd name="T105" fmla="*/ 286 h 319"/>
                  <a:gd name="T106" fmla="*/ 88 w 139"/>
                  <a:gd name="T107" fmla="*/ 302 h 319"/>
                  <a:gd name="T108" fmla="*/ 79 w 139"/>
                  <a:gd name="T109" fmla="*/ 306 h 319"/>
                  <a:gd name="T110" fmla="*/ 74 w 139"/>
                  <a:gd name="T111" fmla="*/ 319 h 319"/>
                  <a:gd name="T112" fmla="*/ 57 w 139"/>
                  <a:gd name="T113" fmla="*/ 313 h 31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39"/>
                  <a:gd name="T172" fmla="*/ 0 h 319"/>
                  <a:gd name="T173" fmla="*/ 139 w 139"/>
                  <a:gd name="T174" fmla="*/ 319 h 31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39" h="319">
                    <a:moveTo>
                      <a:pt x="57" y="313"/>
                    </a:moveTo>
                    <a:lnTo>
                      <a:pt x="56" y="314"/>
                    </a:lnTo>
                    <a:lnTo>
                      <a:pt x="55" y="313"/>
                    </a:lnTo>
                    <a:lnTo>
                      <a:pt x="56" y="308"/>
                    </a:lnTo>
                    <a:lnTo>
                      <a:pt x="55" y="308"/>
                    </a:lnTo>
                    <a:lnTo>
                      <a:pt x="54" y="307"/>
                    </a:lnTo>
                    <a:lnTo>
                      <a:pt x="56" y="306"/>
                    </a:lnTo>
                    <a:lnTo>
                      <a:pt x="56" y="304"/>
                    </a:lnTo>
                    <a:lnTo>
                      <a:pt x="56" y="303"/>
                    </a:lnTo>
                    <a:lnTo>
                      <a:pt x="57" y="300"/>
                    </a:lnTo>
                    <a:lnTo>
                      <a:pt x="57" y="299"/>
                    </a:lnTo>
                    <a:lnTo>
                      <a:pt x="58" y="297"/>
                    </a:lnTo>
                    <a:lnTo>
                      <a:pt x="57" y="295"/>
                    </a:lnTo>
                    <a:lnTo>
                      <a:pt x="55" y="295"/>
                    </a:lnTo>
                    <a:lnTo>
                      <a:pt x="53" y="293"/>
                    </a:lnTo>
                    <a:lnTo>
                      <a:pt x="49" y="291"/>
                    </a:lnTo>
                    <a:lnTo>
                      <a:pt x="50" y="289"/>
                    </a:lnTo>
                    <a:lnTo>
                      <a:pt x="51" y="288"/>
                    </a:lnTo>
                    <a:lnTo>
                      <a:pt x="46" y="277"/>
                    </a:lnTo>
                    <a:lnTo>
                      <a:pt x="43" y="275"/>
                    </a:lnTo>
                    <a:lnTo>
                      <a:pt x="41" y="276"/>
                    </a:lnTo>
                    <a:lnTo>
                      <a:pt x="40" y="276"/>
                    </a:lnTo>
                    <a:lnTo>
                      <a:pt x="41" y="275"/>
                    </a:lnTo>
                    <a:lnTo>
                      <a:pt x="40" y="275"/>
                    </a:lnTo>
                    <a:lnTo>
                      <a:pt x="39" y="274"/>
                    </a:lnTo>
                    <a:lnTo>
                      <a:pt x="38" y="275"/>
                    </a:lnTo>
                    <a:lnTo>
                      <a:pt x="37" y="273"/>
                    </a:lnTo>
                    <a:lnTo>
                      <a:pt x="36" y="273"/>
                    </a:lnTo>
                    <a:lnTo>
                      <a:pt x="36" y="270"/>
                    </a:lnTo>
                    <a:lnTo>
                      <a:pt x="35" y="270"/>
                    </a:lnTo>
                    <a:lnTo>
                      <a:pt x="33" y="269"/>
                    </a:lnTo>
                    <a:lnTo>
                      <a:pt x="32" y="269"/>
                    </a:lnTo>
                    <a:lnTo>
                      <a:pt x="29" y="267"/>
                    </a:lnTo>
                    <a:lnTo>
                      <a:pt x="23" y="263"/>
                    </a:lnTo>
                    <a:lnTo>
                      <a:pt x="18" y="261"/>
                    </a:lnTo>
                    <a:lnTo>
                      <a:pt x="14" y="258"/>
                    </a:lnTo>
                    <a:lnTo>
                      <a:pt x="9" y="252"/>
                    </a:lnTo>
                    <a:lnTo>
                      <a:pt x="8" y="250"/>
                    </a:lnTo>
                    <a:lnTo>
                      <a:pt x="6" y="246"/>
                    </a:lnTo>
                    <a:lnTo>
                      <a:pt x="5" y="243"/>
                    </a:lnTo>
                    <a:lnTo>
                      <a:pt x="0" y="237"/>
                    </a:lnTo>
                    <a:lnTo>
                      <a:pt x="3" y="235"/>
                    </a:lnTo>
                    <a:lnTo>
                      <a:pt x="3" y="236"/>
                    </a:lnTo>
                    <a:lnTo>
                      <a:pt x="5" y="236"/>
                    </a:lnTo>
                    <a:lnTo>
                      <a:pt x="9" y="240"/>
                    </a:lnTo>
                    <a:lnTo>
                      <a:pt x="11" y="246"/>
                    </a:lnTo>
                    <a:lnTo>
                      <a:pt x="13" y="246"/>
                    </a:lnTo>
                    <a:lnTo>
                      <a:pt x="15" y="244"/>
                    </a:lnTo>
                    <a:lnTo>
                      <a:pt x="15" y="238"/>
                    </a:lnTo>
                    <a:lnTo>
                      <a:pt x="16" y="234"/>
                    </a:lnTo>
                    <a:lnTo>
                      <a:pt x="11" y="229"/>
                    </a:lnTo>
                    <a:lnTo>
                      <a:pt x="9" y="228"/>
                    </a:lnTo>
                    <a:lnTo>
                      <a:pt x="8" y="225"/>
                    </a:lnTo>
                    <a:lnTo>
                      <a:pt x="8" y="224"/>
                    </a:lnTo>
                    <a:lnTo>
                      <a:pt x="9" y="227"/>
                    </a:lnTo>
                    <a:lnTo>
                      <a:pt x="10" y="226"/>
                    </a:lnTo>
                    <a:lnTo>
                      <a:pt x="11" y="227"/>
                    </a:lnTo>
                    <a:lnTo>
                      <a:pt x="11" y="228"/>
                    </a:lnTo>
                    <a:lnTo>
                      <a:pt x="13" y="228"/>
                    </a:lnTo>
                    <a:lnTo>
                      <a:pt x="14" y="227"/>
                    </a:lnTo>
                    <a:lnTo>
                      <a:pt x="14" y="224"/>
                    </a:lnTo>
                    <a:lnTo>
                      <a:pt x="14" y="222"/>
                    </a:lnTo>
                    <a:lnTo>
                      <a:pt x="9" y="220"/>
                    </a:lnTo>
                    <a:lnTo>
                      <a:pt x="8" y="221"/>
                    </a:lnTo>
                    <a:lnTo>
                      <a:pt x="8" y="224"/>
                    </a:lnTo>
                    <a:lnTo>
                      <a:pt x="8" y="221"/>
                    </a:lnTo>
                    <a:lnTo>
                      <a:pt x="6" y="220"/>
                    </a:lnTo>
                    <a:lnTo>
                      <a:pt x="5" y="216"/>
                    </a:lnTo>
                    <a:lnTo>
                      <a:pt x="2" y="212"/>
                    </a:lnTo>
                    <a:lnTo>
                      <a:pt x="6" y="208"/>
                    </a:lnTo>
                    <a:lnTo>
                      <a:pt x="6" y="206"/>
                    </a:lnTo>
                    <a:lnTo>
                      <a:pt x="7" y="197"/>
                    </a:lnTo>
                    <a:lnTo>
                      <a:pt x="9" y="195"/>
                    </a:lnTo>
                    <a:lnTo>
                      <a:pt x="9" y="192"/>
                    </a:lnTo>
                    <a:lnTo>
                      <a:pt x="11" y="189"/>
                    </a:lnTo>
                    <a:lnTo>
                      <a:pt x="9" y="188"/>
                    </a:lnTo>
                    <a:lnTo>
                      <a:pt x="8" y="187"/>
                    </a:lnTo>
                    <a:lnTo>
                      <a:pt x="8" y="186"/>
                    </a:lnTo>
                    <a:lnTo>
                      <a:pt x="9" y="185"/>
                    </a:lnTo>
                    <a:lnTo>
                      <a:pt x="11" y="182"/>
                    </a:lnTo>
                    <a:lnTo>
                      <a:pt x="13" y="182"/>
                    </a:lnTo>
                    <a:lnTo>
                      <a:pt x="11" y="183"/>
                    </a:lnTo>
                    <a:lnTo>
                      <a:pt x="12" y="184"/>
                    </a:lnTo>
                    <a:lnTo>
                      <a:pt x="12" y="185"/>
                    </a:lnTo>
                    <a:lnTo>
                      <a:pt x="11" y="187"/>
                    </a:lnTo>
                    <a:lnTo>
                      <a:pt x="11" y="189"/>
                    </a:lnTo>
                    <a:lnTo>
                      <a:pt x="12" y="187"/>
                    </a:lnTo>
                    <a:lnTo>
                      <a:pt x="12" y="189"/>
                    </a:lnTo>
                    <a:lnTo>
                      <a:pt x="14" y="188"/>
                    </a:lnTo>
                    <a:lnTo>
                      <a:pt x="19" y="185"/>
                    </a:lnTo>
                    <a:lnTo>
                      <a:pt x="19" y="182"/>
                    </a:lnTo>
                    <a:lnTo>
                      <a:pt x="18" y="179"/>
                    </a:lnTo>
                    <a:lnTo>
                      <a:pt x="17" y="177"/>
                    </a:lnTo>
                    <a:lnTo>
                      <a:pt x="17" y="175"/>
                    </a:lnTo>
                    <a:lnTo>
                      <a:pt x="16" y="177"/>
                    </a:lnTo>
                    <a:lnTo>
                      <a:pt x="14" y="185"/>
                    </a:lnTo>
                    <a:lnTo>
                      <a:pt x="14" y="183"/>
                    </a:lnTo>
                    <a:lnTo>
                      <a:pt x="15" y="180"/>
                    </a:lnTo>
                    <a:lnTo>
                      <a:pt x="15" y="177"/>
                    </a:lnTo>
                    <a:lnTo>
                      <a:pt x="14" y="175"/>
                    </a:lnTo>
                    <a:lnTo>
                      <a:pt x="13" y="175"/>
                    </a:lnTo>
                    <a:lnTo>
                      <a:pt x="12" y="174"/>
                    </a:lnTo>
                    <a:lnTo>
                      <a:pt x="13" y="171"/>
                    </a:lnTo>
                    <a:lnTo>
                      <a:pt x="14" y="165"/>
                    </a:lnTo>
                    <a:lnTo>
                      <a:pt x="14" y="163"/>
                    </a:lnTo>
                    <a:lnTo>
                      <a:pt x="12" y="161"/>
                    </a:lnTo>
                    <a:lnTo>
                      <a:pt x="14" y="159"/>
                    </a:lnTo>
                    <a:lnTo>
                      <a:pt x="15" y="155"/>
                    </a:lnTo>
                    <a:lnTo>
                      <a:pt x="18" y="150"/>
                    </a:lnTo>
                    <a:lnTo>
                      <a:pt x="18" y="147"/>
                    </a:lnTo>
                    <a:lnTo>
                      <a:pt x="16" y="144"/>
                    </a:lnTo>
                    <a:lnTo>
                      <a:pt x="14" y="143"/>
                    </a:lnTo>
                    <a:lnTo>
                      <a:pt x="11" y="143"/>
                    </a:lnTo>
                    <a:lnTo>
                      <a:pt x="11" y="141"/>
                    </a:lnTo>
                    <a:lnTo>
                      <a:pt x="11" y="135"/>
                    </a:lnTo>
                    <a:lnTo>
                      <a:pt x="8" y="133"/>
                    </a:lnTo>
                    <a:lnTo>
                      <a:pt x="10" y="134"/>
                    </a:lnTo>
                    <a:lnTo>
                      <a:pt x="12" y="133"/>
                    </a:lnTo>
                    <a:lnTo>
                      <a:pt x="13" y="132"/>
                    </a:lnTo>
                    <a:lnTo>
                      <a:pt x="12" y="129"/>
                    </a:lnTo>
                    <a:lnTo>
                      <a:pt x="16" y="128"/>
                    </a:lnTo>
                    <a:lnTo>
                      <a:pt x="18" y="122"/>
                    </a:lnTo>
                    <a:lnTo>
                      <a:pt x="18" y="119"/>
                    </a:lnTo>
                    <a:lnTo>
                      <a:pt x="14" y="117"/>
                    </a:lnTo>
                    <a:lnTo>
                      <a:pt x="13" y="114"/>
                    </a:lnTo>
                    <a:lnTo>
                      <a:pt x="18" y="116"/>
                    </a:lnTo>
                    <a:lnTo>
                      <a:pt x="22" y="114"/>
                    </a:lnTo>
                    <a:lnTo>
                      <a:pt x="24" y="111"/>
                    </a:lnTo>
                    <a:lnTo>
                      <a:pt x="24" y="113"/>
                    </a:lnTo>
                    <a:lnTo>
                      <a:pt x="26" y="112"/>
                    </a:lnTo>
                    <a:lnTo>
                      <a:pt x="25" y="111"/>
                    </a:lnTo>
                    <a:lnTo>
                      <a:pt x="25" y="109"/>
                    </a:lnTo>
                    <a:lnTo>
                      <a:pt x="25" y="108"/>
                    </a:lnTo>
                    <a:lnTo>
                      <a:pt x="24" y="108"/>
                    </a:lnTo>
                    <a:lnTo>
                      <a:pt x="24" y="109"/>
                    </a:lnTo>
                    <a:lnTo>
                      <a:pt x="24" y="108"/>
                    </a:lnTo>
                    <a:lnTo>
                      <a:pt x="22" y="107"/>
                    </a:lnTo>
                    <a:lnTo>
                      <a:pt x="24" y="101"/>
                    </a:lnTo>
                    <a:lnTo>
                      <a:pt x="22" y="96"/>
                    </a:lnTo>
                    <a:lnTo>
                      <a:pt x="23" y="95"/>
                    </a:lnTo>
                    <a:lnTo>
                      <a:pt x="24" y="96"/>
                    </a:lnTo>
                    <a:lnTo>
                      <a:pt x="25" y="95"/>
                    </a:lnTo>
                    <a:lnTo>
                      <a:pt x="25" y="90"/>
                    </a:lnTo>
                    <a:lnTo>
                      <a:pt x="23" y="90"/>
                    </a:lnTo>
                    <a:lnTo>
                      <a:pt x="13" y="85"/>
                    </a:lnTo>
                    <a:lnTo>
                      <a:pt x="11" y="84"/>
                    </a:lnTo>
                    <a:lnTo>
                      <a:pt x="7" y="86"/>
                    </a:lnTo>
                    <a:lnTo>
                      <a:pt x="8" y="82"/>
                    </a:lnTo>
                    <a:lnTo>
                      <a:pt x="5" y="81"/>
                    </a:lnTo>
                    <a:lnTo>
                      <a:pt x="6" y="78"/>
                    </a:lnTo>
                    <a:lnTo>
                      <a:pt x="5" y="76"/>
                    </a:lnTo>
                    <a:lnTo>
                      <a:pt x="5" y="75"/>
                    </a:lnTo>
                    <a:lnTo>
                      <a:pt x="8" y="74"/>
                    </a:lnTo>
                    <a:lnTo>
                      <a:pt x="7" y="72"/>
                    </a:lnTo>
                    <a:lnTo>
                      <a:pt x="8" y="70"/>
                    </a:lnTo>
                    <a:lnTo>
                      <a:pt x="7" y="68"/>
                    </a:lnTo>
                    <a:lnTo>
                      <a:pt x="7" y="63"/>
                    </a:lnTo>
                    <a:lnTo>
                      <a:pt x="9" y="59"/>
                    </a:lnTo>
                    <a:lnTo>
                      <a:pt x="0" y="50"/>
                    </a:lnTo>
                    <a:lnTo>
                      <a:pt x="5" y="45"/>
                    </a:lnTo>
                    <a:lnTo>
                      <a:pt x="8" y="38"/>
                    </a:lnTo>
                    <a:lnTo>
                      <a:pt x="11" y="36"/>
                    </a:lnTo>
                    <a:lnTo>
                      <a:pt x="11" y="33"/>
                    </a:lnTo>
                    <a:lnTo>
                      <a:pt x="11" y="30"/>
                    </a:lnTo>
                    <a:lnTo>
                      <a:pt x="15" y="28"/>
                    </a:lnTo>
                    <a:lnTo>
                      <a:pt x="17" y="24"/>
                    </a:lnTo>
                    <a:lnTo>
                      <a:pt x="20" y="21"/>
                    </a:lnTo>
                    <a:lnTo>
                      <a:pt x="22" y="15"/>
                    </a:lnTo>
                    <a:lnTo>
                      <a:pt x="26" y="13"/>
                    </a:lnTo>
                    <a:lnTo>
                      <a:pt x="26" y="9"/>
                    </a:lnTo>
                    <a:lnTo>
                      <a:pt x="28" y="5"/>
                    </a:lnTo>
                    <a:lnTo>
                      <a:pt x="34" y="0"/>
                    </a:lnTo>
                    <a:lnTo>
                      <a:pt x="37" y="2"/>
                    </a:lnTo>
                    <a:lnTo>
                      <a:pt x="37" y="4"/>
                    </a:lnTo>
                    <a:lnTo>
                      <a:pt x="38" y="7"/>
                    </a:lnTo>
                    <a:lnTo>
                      <a:pt x="38" y="8"/>
                    </a:lnTo>
                    <a:lnTo>
                      <a:pt x="37" y="9"/>
                    </a:lnTo>
                    <a:lnTo>
                      <a:pt x="37" y="10"/>
                    </a:lnTo>
                    <a:lnTo>
                      <a:pt x="36" y="13"/>
                    </a:lnTo>
                    <a:lnTo>
                      <a:pt x="37" y="14"/>
                    </a:lnTo>
                    <a:lnTo>
                      <a:pt x="38" y="17"/>
                    </a:lnTo>
                    <a:lnTo>
                      <a:pt x="40" y="19"/>
                    </a:lnTo>
                    <a:lnTo>
                      <a:pt x="43" y="21"/>
                    </a:lnTo>
                    <a:lnTo>
                      <a:pt x="44" y="20"/>
                    </a:lnTo>
                    <a:lnTo>
                      <a:pt x="46" y="19"/>
                    </a:lnTo>
                    <a:lnTo>
                      <a:pt x="47" y="18"/>
                    </a:lnTo>
                    <a:lnTo>
                      <a:pt x="48" y="19"/>
                    </a:lnTo>
                    <a:lnTo>
                      <a:pt x="49" y="17"/>
                    </a:lnTo>
                    <a:lnTo>
                      <a:pt x="52" y="15"/>
                    </a:lnTo>
                    <a:lnTo>
                      <a:pt x="56" y="15"/>
                    </a:lnTo>
                    <a:lnTo>
                      <a:pt x="58" y="13"/>
                    </a:lnTo>
                    <a:lnTo>
                      <a:pt x="61" y="11"/>
                    </a:lnTo>
                    <a:lnTo>
                      <a:pt x="62" y="11"/>
                    </a:lnTo>
                    <a:lnTo>
                      <a:pt x="65" y="14"/>
                    </a:lnTo>
                    <a:lnTo>
                      <a:pt x="70" y="17"/>
                    </a:lnTo>
                    <a:lnTo>
                      <a:pt x="72" y="21"/>
                    </a:lnTo>
                    <a:lnTo>
                      <a:pt x="72" y="22"/>
                    </a:lnTo>
                    <a:lnTo>
                      <a:pt x="74" y="24"/>
                    </a:lnTo>
                    <a:lnTo>
                      <a:pt x="74" y="26"/>
                    </a:lnTo>
                    <a:lnTo>
                      <a:pt x="73" y="28"/>
                    </a:lnTo>
                    <a:lnTo>
                      <a:pt x="75" y="31"/>
                    </a:lnTo>
                    <a:lnTo>
                      <a:pt x="75" y="33"/>
                    </a:lnTo>
                    <a:lnTo>
                      <a:pt x="76" y="36"/>
                    </a:lnTo>
                    <a:lnTo>
                      <a:pt x="81" y="36"/>
                    </a:lnTo>
                    <a:lnTo>
                      <a:pt x="84" y="36"/>
                    </a:lnTo>
                    <a:lnTo>
                      <a:pt x="84" y="38"/>
                    </a:lnTo>
                    <a:lnTo>
                      <a:pt x="87" y="38"/>
                    </a:lnTo>
                    <a:lnTo>
                      <a:pt x="88" y="40"/>
                    </a:lnTo>
                    <a:lnTo>
                      <a:pt x="92" y="41"/>
                    </a:lnTo>
                    <a:lnTo>
                      <a:pt x="98" y="48"/>
                    </a:lnTo>
                    <a:lnTo>
                      <a:pt x="98" y="50"/>
                    </a:lnTo>
                    <a:lnTo>
                      <a:pt x="101" y="57"/>
                    </a:lnTo>
                    <a:lnTo>
                      <a:pt x="101" y="58"/>
                    </a:lnTo>
                    <a:lnTo>
                      <a:pt x="101" y="62"/>
                    </a:lnTo>
                    <a:lnTo>
                      <a:pt x="103" y="66"/>
                    </a:lnTo>
                    <a:lnTo>
                      <a:pt x="104" y="72"/>
                    </a:lnTo>
                    <a:lnTo>
                      <a:pt x="105" y="74"/>
                    </a:lnTo>
                    <a:lnTo>
                      <a:pt x="105" y="76"/>
                    </a:lnTo>
                    <a:lnTo>
                      <a:pt x="102" y="78"/>
                    </a:lnTo>
                    <a:lnTo>
                      <a:pt x="103" y="82"/>
                    </a:lnTo>
                    <a:lnTo>
                      <a:pt x="101" y="83"/>
                    </a:lnTo>
                    <a:lnTo>
                      <a:pt x="100" y="84"/>
                    </a:lnTo>
                    <a:lnTo>
                      <a:pt x="100" y="87"/>
                    </a:lnTo>
                    <a:lnTo>
                      <a:pt x="101" y="92"/>
                    </a:lnTo>
                    <a:lnTo>
                      <a:pt x="99" y="93"/>
                    </a:lnTo>
                    <a:lnTo>
                      <a:pt x="97" y="97"/>
                    </a:lnTo>
                    <a:lnTo>
                      <a:pt x="97" y="99"/>
                    </a:lnTo>
                    <a:lnTo>
                      <a:pt x="98" y="102"/>
                    </a:lnTo>
                    <a:lnTo>
                      <a:pt x="98" y="105"/>
                    </a:lnTo>
                    <a:lnTo>
                      <a:pt x="97" y="106"/>
                    </a:lnTo>
                    <a:lnTo>
                      <a:pt x="98" y="108"/>
                    </a:lnTo>
                    <a:lnTo>
                      <a:pt x="99" y="109"/>
                    </a:lnTo>
                    <a:lnTo>
                      <a:pt x="100" y="114"/>
                    </a:lnTo>
                    <a:lnTo>
                      <a:pt x="97" y="116"/>
                    </a:lnTo>
                    <a:lnTo>
                      <a:pt x="93" y="117"/>
                    </a:lnTo>
                    <a:lnTo>
                      <a:pt x="93" y="119"/>
                    </a:lnTo>
                    <a:lnTo>
                      <a:pt x="92" y="120"/>
                    </a:lnTo>
                    <a:lnTo>
                      <a:pt x="93" y="123"/>
                    </a:lnTo>
                    <a:lnTo>
                      <a:pt x="95" y="124"/>
                    </a:lnTo>
                    <a:lnTo>
                      <a:pt x="96" y="127"/>
                    </a:lnTo>
                    <a:lnTo>
                      <a:pt x="96" y="129"/>
                    </a:lnTo>
                    <a:lnTo>
                      <a:pt x="99" y="130"/>
                    </a:lnTo>
                    <a:lnTo>
                      <a:pt x="101" y="133"/>
                    </a:lnTo>
                    <a:lnTo>
                      <a:pt x="100" y="136"/>
                    </a:lnTo>
                    <a:lnTo>
                      <a:pt x="99" y="138"/>
                    </a:lnTo>
                    <a:lnTo>
                      <a:pt x="97" y="139"/>
                    </a:lnTo>
                    <a:lnTo>
                      <a:pt x="96" y="139"/>
                    </a:lnTo>
                    <a:lnTo>
                      <a:pt x="95" y="141"/>
                    </a:lnTo>
                    <a:lnTo>
                      <a:pt x="97" y="146"/>
                    </a:lnTo>
                    <a:lnTo>
                      <a:pt x="97" y="151"/>
                    </a:lnTo>
                    <a:lnTo>
                      <a:pt x="99" y="155"/>
                    </a:lnTo>
                    <a:lnTo>
                      <a:pt x="102" y="159"/>
                    </a:lnTo>
                    <a:lnTo>
                      <a:pt x="103" y="162"/>
                    </a:lnTo>
                    <a:lnTo>
                      <a:pt x="102" y="163"/>
                    </a:lnTo>
                    <a:lnTo>
                      <a:pt x="103" y="165"/>
                    </a:lnTo>
                    <a:lnTo>
                      <a:pt x="104" y="166"/>
                    </a:lnTo>
                    <a:lnTo>
                      <a:pt x="109" y="166"/>
                    </a:lnTo>
                    <a:lnTo>
                      <a:pt x="114" y="185"/>
                    </a:lnTo>
                    <a:lnTo>
                      <a:pt x="120" y="186"/>
                    </a:lnTo>
                    <a:lnTo>
                      <a:pt x="123" y="182"/>
                    </a:lnTo>
                    <a:lnTo>
                      <a:pt x="127" y="184"/>
                    </a:lnTo>
                    <a:lnTo>
                      <a:pt x="130" y="184"/>
                    </a:lnTo>
                    <a:lnTo>
                      <a:pt x="133" y="186"/>
                    </a:lnTo>
                    <a:lnTo>
                      <a:pt x="133" y="187"/>
                    </a:lnTo>
                    <a:lnTo>
                      <a:pt x="133" y="191"/>
                    </a:lnTo>
                    <a:lnTo>
                      <a:pt x="133" y="198"/>
                    </a:lnTo>
                    <a:lnTo>
                      <a:pt x="132" y="200"/>
                    </a:lnTo>
                    <a:lnTo>
                      <a:pt x="133" y="201"/>
                    </a:lnTo>
                    <a:lnTo>
                      <a:pt x="133" y="204"/>
                    </a:lnTo>
                    <a:lnTo>
                      <a:pt x="136" y="206"/>
                    </a:lnTo>
                    <a:lnTo>
                      <a:pt x="139" y="210"/>
                    </a:lnTo>
                    <a:lnTo>
                      <a:pt x="139" y="216"/>
                    </a:lnTo>
                    <a:lnTo>
                      <a:pt x="138" y="218"/>
                    </a:lnTo>
                    <a:lnTo>
                      <a:pt x="138" y="222"/>
                    </a:lnTo>
                    <a:lnTo>
                      <a:pt x="137" y="222"/>
                    </a:lnTo>
                    <a:lnTo>
                      <a:pt x="136" y="223"/>
                    </a:lnTo>
                    <a:lnTo>
                      <a:pt x="135" y="225"/>
                    </a:lnTo>
                    <a:lnTo>
                      <a:pt x="133" y="226"/>
                    </a:lnTo>
                    <a:lnTo>
                      <a:pt x="133" y="227"/>
                    </a:lnTo>
                    <a:lnTo>
                      <a:pt x="133" y="229"/>
                    </a:lnTo>
                    <a:lnTo>
                      <a:pt x="131" y="232"/>
                    </a:lnTo>
                    <a:lnTo>
                      <a:pt x="128" y="232"/>
                    </a:lnTo>
                    <a:lnTo>
                      <a:pt x="127" y="231"/>
                    </a:lnTo>
                    <a:lnTo>
                      <a:pt x="125" y="231"/>
                    </a:lnTo>
                    <a:lnTo>
                      <a:pt x="123" y="230"/>
                    </a:lnTo>
                    <a:lnTo>
                      <a:pt x="122" y="232"/>
                    </a:lnTo>
                    <a:lnTo>
                      <a:pt x="122" y="234"/>
                    </a:lnTo>
                    <a:lnTo>
                      <a:pt x="118" y="236"/>
                    </a:lnTo>
                    <a:lnTo>
                      <a:pt x="119" y="243"/>
                    </a:lnTo>
                    <a:lnTo>
                      <a:pt x="116" y="246"/>
                    </a:lnTo>
                    <a:lnTo>
                      <a:pt x="116" y="248"/>
                    </a:lnTo>
                    <a:lnTo>
                      <a:pt x="114" y="249"/>
                    </a:lnTo>
                    <a:lnTo>
                      <a:pt x="114" y="250"/>
                    </a:lnTo>
                    <a:lnTo>
                      <a:pt x="113" y="252"/>
                    </a:lnTo>
                    <a:lnTo>
                      <a:pt x="112" y="253"/>
                    </a:lnTo>
                    <a:lnTo>
                      <a:pt x="113" y="255"/>
                    </a:lnTo>
                    <a:lnTo>
                      <a:pt x="113" y="258"/>
                    </a:lnTo>
                    <a:lnTo>
                      <a:pt x="112" y="261"/>
                    </a:lnTo>
                    <a:lnTo>
                      <a:pt x="110" y="262"/>
                    </a:lnTo>
                    <a:lnTo>
                      <a:pt x="110" y="263"/>
                    </a:lnTo>
                    <a:lnTo>
                      <a:pt x="111" y="265"/>
                    </a:lnTo>
                    <a:lnTo>
                      <a:pt x="109" y="270"/>
                    </a:lnTo>
                    <a:lnTo>
                      <a:pt x="100" y="274"/>
                    </a:lnTo>
                    <a:lnTo>
                      <a:pt x="97" y="273"/>
                    </a:lnTo>
                    <a:lnTo>
                      <a:pt x="94" y="275"/>
                    </a:lnTo>
                    <a:lnTo>
                      <a:pt x="93" y="273"/>
                    </a:lnTo>
                    <a:lnTo>
                      <a:pt x="91" y="273"/>
                    </a:lnTo>
                    <a:lnTo>
                      <a:pt x="88" y="276"/>
                    </a:lnTo>
                    <a:lnTo>
                      <a:pt x="88" y="278"/>
                    </a:lnTo>
                    <a:lnTo>
                      <a:pt x="88" y="279"/>
                    </a:lnTo>
                    <a:lnTo>
                      <a:pt x="87" y="281"/>
                    </a:lnTo>
                    <a:lnTo>
                      <a:pt x="85" y="282"/>
                    </a:lnTo>
                    <a:lnTo>
                      <a:pt x="81" y="282"/>
                    </a:lnTo>
                    <a:lnTo>
                      <a:pt x="83" y="286"/>
                    </a:lnTo>
                    <a:lnTo>
                      <a:pt x="82" y="289"/>
                    </a:lnTo>
                    <a:lnTo>
                      <a:pt x="85" y="291"/>
                    </a:lnTo>
                    <a:lnTo>
                      <a:pt x="85" y="293"/>
                    </a:lnTo>
                    <a:lnTo>
                      <a:pt x="88" y="297"/>
                    </a:lnTo>
                    <a:lnTo>
                      <a:pt x="88" y="299"/>
                    </a:lnTo>
                    <a:lnTo>
                      <a:pt x="88" y="302"/>
                    </a:lnTo>
                    <a:lnTo>
                      <a:pt x="86" y="303"/>
                    </a:lnTo>
                    <a:lnTo>
                      <a:pt x="84" y="302"/>
                    </a:lnTo>
                    <a:lnTo>
                      <a:pt x="81" y="301"/>
                    </a:lnTo>
                    <a:lnTo>
                      <a:pt x="79" y="301"/>
                    </a:lnTo>
                    <a:lnTo>
                      <a:pt x="80" y="303"/>
                    </a:lnTo>
                    <a:lnTo>
                      <a:pt x="79" y="306"/>
                    </a:lnTo>
                    <a:lnTo>
                      <a:pt x="82" y="309"/>
                    </a:lnTo>
                    <a:lnTo>
                      <a:pt x="77" y="314"/>
                    </a:lnTo>
                    <a:lnTo>
                      <a:pt x="77" y="316"/>
                    </a:lnTo>
                    <a:lnTo>
                      <a:pt x="75" y="315"/>
                    </a:lnTo>
                    <a:lnTo>
                      <a:pt x="73" y="317"/>
                    </a:lnTo>
                    <a:lnTo>
                      <a:pt x="74" y="319"/>
                    </a:lnTo>
                    <a:lnTo>
                      <a:pt x="72" y="319"/>
                    </a:lnTo>
                    <a:lnTo>
                      <a:pt x="67" y="317"/>
                    </a:lnTo>
                    <a:lnTo>
                      <a:pt x="63" y="315"/>
                    </a:lnTo>
                    <a:lnTo>
                      <a:pt x="61" y="314"/>
                    </a:lnTo>
                    <a:lnTo>
                      <a:pt x="58" y="313"/>
                    </a:lnTo>
                    <a:lnTo>
                      <a:pt x="57" y="313"/>
                    </a:lnTo>
                    <a:close/>
                  </a:path>
                </a:pathLst>
              </a:custGeom>
              <a:solidFill>
                <a:srgbClr val="E7E7E4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51" name="Macedonia">
                <a:extLst>
                  <a:ext uri="{FF2B5EF4-FFF2-40B4-BE49-F238E27FC236}">
                    <a16:creationId xmlns:a16="http://schemas.microsoft.com/office/drawing/2014/main" id="{0BB00D48-204C-4185-9FAB-E546F92F601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630918" y="4591294"/>
                <a:ext cx="226715" cy="196700"/>
              </a:xfrm>
              <a:custGeom>
                <a:avLst/>
                <a:gdLst>
                  <a:gd name="T0" fmla="*/ 158 w 202"/>
                  <a:gd name="T1" fmla="*/ 11 h 154"/>
                  <a:gd name="T2" fmla="*/ 170 w 202"/>
                  <a:gd name="T3" fmla="*/ 23 h 154"/>
                  <a:gd name="T4" fmla="*/ 176 w 202"/>
                  <a:gd name="T5" fmla="*/ 25 h 154"/>
                  <a:gd name="T6" fmla="*/ 181 w 202"/>
                  <a:gd name="T7" fmla="*/ 29 h 154"/>
                  <a:gd name="T8" fmla="*/ 189 w 202"/>
                  <a:gd name="T9" fmla="*/ 30 h 154"/>
                  <a:gd name="T10" fmla="*/ 190 w 202"/>
                  <a:gd name="T11" fmla="*/ 36 h 154"/>
                  <a:gd name="T12" fmla="*/ 191 w 202"/>
                  <a:gd name="T13" fmla="*/ 46 h 154"/>
                  <a:gd name="T14" fmla="*/ 196 w 202"/>
                  <a:gd name="T15" fmla="*/ 56 h 154"/>
                  <a:gd name="T16" fmla="*/ 202 w 202"/>
                  <a:gd name="T17" fmla="*/ 63 h 154"/>
                  <a:gd name="T18" fmla="*/ 196 w 202"/>
                  <a:gd name="T19" fmla="*/ 71 h 154"/>
                  <a:gd name="T20" fmla="*/ 197 w 202"/>
                  <a:gd name="T21" fmla="*/ 80 h 154"/>
                  <a:gd name="T22" fmla="*/ 196 w 202"/>
                  <a:gd name="T23" fmla="*/ 86 h 154"/>
                  <a:gd name="T24" fmla="*/ 196 w 202"/>
                  <a:gd name="T25" fmla="*/ 94 h 154"/>
                  <a:gd name="T26" fmla="*/ 194 w 202"/>
                  <a:gd name="T27" fmla="*/ 102 h 154"/>
                  <a:gd name="T28" fmla="*/ 181 w 202"/>
                  <a:gd name="T29" fmla="*/ 104 h 154"/>
                  <a:gd name="T30" fmla="*/ 179 w 202"/>
                  <a:gd name="T31" fmla="*/ 121 h 154"/>
                  <a:gd name="T32" fmla="*/ 173 w 202"/>
                  <a:gd name="T33" fmla="*/ 119 h 154"/>
                  <a:gd name="T34" fmla="*/ 167 w 202"/>
                  <a:gd name="T35" fmla="*/ 126 h 154"/>
                  <a:gd name="T36" fmla="*/ 155 w 202"/>
                  <a:gd name="T37" fmla="*/ 126 h 154"/>
                  <a:gd name="T38" fmla="*/ 147 w 202"/>
                  <a:gd name="T39" fmla="*/ 125 h 154"/>
                  <a:gd name="T40" fmla="*/ 143 w 202"/>
                  <a:gd name="T41" fmla="*/ 122 h 154"/>
                  <a:gd name="T42" fmla="*/ 137 w 202"/>
                  <a:gd name="T43" fmla="*/ 121 h 154"/>
                  <a:gd name="T44" fmla="*/ 131 w 202"/>
                  <a:gd name="T45" fmla="*/ 126 h 154"/>
                  <a:gd name="T46" fmla="*/ 127 w 202"/>
                  <a:gd name="T47" fmla="*/ 122 h 154"/>
                  <a:gd name="T48" fmla="*/ 114 w 202"/>
                  <a:gd name="T49" fmla="*/ 128 h 154"/>
                  <a:gd name="T50" fmla="*/ 112 w 202"/>
                  <a:gd name="T51" fmla="*/ 136 h 154"/>
                  <a:gd name="T52" fmla="*/ 105 w 202"/>
                  <a:gd name="T53" fmla="*/ 141 h 154"/>
                  <a:gd name="T54" fmla="*/ 102 w 202"/>
                  <a:gd name="T55" fmla="*/ 146 h 154"/>
                  <a:gd name="T56" fmla="*/ 96 w 202"/>
                  <a:gd name="T57" fmla="*/ 146 h 154"/>
                  <a:gd name="T58" fmla="*/ 90 w 202"/>
                  <a:gd name="T59" fmla="*/ 151 h 154"/>
                  <a:gd name="T60" fmla="*/ 84 w 202"/>
                  <a:gd name="T61" fmla="*/ 149 h 154"/>
                  <a:gd name="T62" fmla="*/ 72 w 202"/>
                  <a:gd name="T63" fmla="*/ 151 h 154"/>
                  <a:gd name="T64" fmla="*/ 62 w 202"/>
                  <a:gd name="T65" fmla="*/ 152 h 154"/>
                  <a:gd name="T66" fmla="*/ 54 w 202"/>
                  <a:gd name="T67" fmla="*/ 154 h 154"/>
                  <a:gd name="T68" fmla="*/ 40 w 202"/>
                  <a:gd name="T69" fmla="*/ 149 h 154"/>
                  <a:gd name="T70" fmla="*/ 31 w 202"/>
                  <a:gd name="T71" fmla="*/ 145 h 154"/>
                  <a:gd name="T72" fmla="*/ 17 w 202"/>
                  <a:gd name="T73" fmla="*/ 129 h 154"/>
                  <a:gd name="T74" fmla="*/ 9 w 202"/>
                  <a:gd name="T75" fmla="*/ 126 h 154"/>
                  <a:gd name="T76" fmla="*/ 6 w 202"/>
                  <a:gd name="T77" fmla="*/ 118 h 154"/>
                  <a:gd name="T78" fmla="*/ 3 w 202"/>
                  <a:gd name="T79" fmla="*/ 104 h 154"/>
                  <a:gd name="T80" fmla="*/ 6 w 202"/>
                  <a:gd name="T81" fmla="*/ 101 h 154"/>
                  <a:gd name="T82" fmla="*/ 6 w 202"/>
                  <a:gd name="T83" fmla="*/ 93 h 154"/>
                  <a:gd name="T84" fmla="*/ 3 w 202"/>
                  <a:gd name="T85" fmla="*/ 87 h 154"/>
                  <a:gd name="T86" fmla="*/ 1 w 202"/>
                  <a:gd name="T87" fmla="*/ 82 h 154"/>
                  <a:gd name="T88" fmla="*/ 8 w 202"/>
                  <a:gd name="T89" fmla="*/ 77 h 154"/>
                  <a:gd name="T90" fmla="*/ 5 w 202"/>
                  <a:gd name="T91" fmla="*/ 69 h 154"/>
                  <a:gd name="T92" fmla="*/ 11 w 202"/>
                  <a:gd name="T93" fmla="*/ 62 h 154"/>
                  <a:gd name="T94" fmla="*/ 17 w 202"/>
                  <a:gd name="T95" fmla="*/ 33 h 154"/>
                  <a:gd name="T96" fmla="*/ 35 w 202"/>
                  <a:gd name="T97" fmla="*/ 22 h 154"/>
                  <a:gd name="T98" fmla="*/ 54 w 202"/>
                  <a:gd name="T99" fmla="*/ 21 h 154"/>
                  <a:gd name="T100" fmla="*/ 71 w 202"/>
                  <a:gd name="T101" fmla="*/ 28 h 154"/>
                  <a:gd name="T102" fmla="*/ 88 w 202"/>
                  <a:gd name="T103" fmla="*/ 17 h 154"/>
                  <a:gd name="T104" fmla="*/ 108 w 202"/>
                  <a:gd name="T105" fmla="*/ 15 h 154"/>
                  <a:gd name="T106" fmla="*/ 126 w 202"/>
                  <a:gd name="T107" fmla="*/ 3 h 154"/>
                  <a:gd name="T108" fmla="*/ 153 w 202"/>
                  <a:gd name="T109" fmla="*/ 5 h 15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202"/>
                  <a:gd name="T166" fmla="*/ 0 h 154"/>
                  <a:gd name="T167" fmla="*/ 202 w 202"/>
                  <a:gd name="T168" fmla="*/ 154 h 154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202" h="154">
                    <a:moveTo>
                      <a:pt x="154" y="5"/>
                    </a:moveTo>
                    <a:lnTo>
                      <a:pt x="155" y="6"/>
                    </a:lnTo>
                    <a:lnTo>
                      <a:pt x="158" y="11"/>
                    </a:lnTo>
                    <a:lnTo>
                      <a:pt x="161" y="12"/>
                    </a:lnTo>
                    <a:lnTo>
                      <a:pt x="162" y="17"/>
                    </a:lnTo>
                    <a:lnTo>
                      <a:pt x="170" y="23"/>
                    </a:lnTo>
                    <a:lnTo>
                      <a:pt x="174" y="26"/>
                    </a:lnTo>
                    <a:lnTo>
                      <a:pt x="175" y="26"/>
                    </a:lnTo>
                    <a:lnTo>
                      <a:pt x="176" y="25"/>
                    </a:lnTo>
                    <a:lnTo>
                      <a:pt x="178" y="26"/>
                    </a:lnTo>
                    <a:lnTo>
                      <a:pt x="178" y="28"/>
                    </a:lnTo>
                    <a:lnTo>
                      <a:pt x="181" y="29"/>
                    </a:lnTo>
                    <a:lnTo>
                      <a:pt x="183" y="28"/>
                    </a:lnTo>
                    <a:lnTo>
                      <a:pt x="184" y="30"/>
                    </a:lnTo>
                    <a:lnTo>
                      <a:pt x="189" y="30"/>
                    </a:lnTo>
                    <a:lnTo>
                      <a:pt x="189" y="31"/>
                    </a:lnTo>
                    <a:lnTo>
                      <a:pt x="189" y="33"/>
                    </a:lnTo>
                    <a:lnTo>
                      <a:pt x="190" y="36"/>
                    </a:lnTo>
                    <a:lnTo>
                      <a:pt x="190" y="40"/>
                    </a:lnTo>
                    <a:lnTo>
                      <a:pt x="191" y="42"/>
                    </a:lnTo>
                    <a:lnTo>
                      <a:pt x="191" y="46"/>
                    </a:lnTo>
                    <a:lnTo>
                      <a:pt x="194" y="49"/>
                    </a:lnTo>
                    <a:lnTo>
                      <a:pt x="194" y="52"/>
                    </a:lnTo>
                    <a:lnTo>
                      <a:pt x="196" y="56"/>
                    </a:lnTo>
                    <a:lnTo>
                      <a:pt x="200" y="58"/>
                    </a:lnTo>
                    <a:lnTo>
                      <a:pt x="202" y="62"/>
                    </a:lnTo>
                    <a:lnTo>
                      <a:pt x="202" y="63"/>
                    </a:lnTo>
                    <a:lnTo>
                      <a:pt x="198" y="68"/>
                    </a:lnTo>
                    <a:lnTo>
                      <a:pt x="198" y="70"/>
                    </a:lnTo>
                    <a:lnTo>
                      <a:pt x="196" y="71"/>
                    </a:lnTo>
                    <a:lnTo>
                      <a:pt x="195" y="71"/>
                    </a:lnTo>
                    <a:lnTo>
                      <a:pt x="195" y="76"/>
                    </a:lnTo>
                    <a:lnTo>
                      <a:pt x="197" y="80"/>
                    </a:lnTo>
                    <a:lnTo>
                      <a:pt x="196" y="82"/>
                    </a:lnTo>
                    <a:lnTo>
                      <a:pt x="197" y="85"/>
                    </a:lnTo>
                    <a:lnTo>
                      <a:pt x="196" y="86"/>
                    </a:lnTo>
                    <a:lnTo>
                      <a:pt x="196" y="88"/>
                    </a:lnTo>
                    <a:lnTo>
                      <a:pt x="197" y="92"/>
                    </a:lnTo>
                    <a:lnTo>
                      <a:pt x="196" y="94"/>
                    </a:lnTo>
                    <a:lnTo>
                      <a:pt x="196" y="96"/>
                    </a:lnTo>
                    <a:lnTo>
                      <a:pt x="196" y="100"/>
                    </a:lnTo>
                    <a:lnTo>
                      <a:pt x="194" y="102"/>
                    </a:lnTo>
                    <a:lnTo>
                      <a:pt x="186" y="103"/>
                    </a:lnTo>
                    <a:lnTo>
                      <a:pt x="184" y="102"/>
                    </a:lnTo>
                    <a:lnTo>
                      <a:pt x="181" y="104"/>
                    </a:lnTo>
                    <a:lnTo>
                      <a:pt x="181" y="106"/>
                    </a:lnTo>
                    <a:lnTo>
                      <a:pt x="181" y="112"/>
                    </a:lnTo>
                    <a:lnTo>
                      <a:pt x="179" y="121"/>
                    </a:lnTo>
                    <a:lnTo>
                      <a:pt x="178" y="124"/>
                    </a:lnTo>
                    <a:lnTo>
                      <a:pt x="176" y="123"/>
                    </a:lnTo>
                    <a:lnTo>
                      <a:pt x="173" y="119"/>
                    </a:lnTo>
                    <a:lnTo>
                      <a:pt x="172" y="120"/>
                    </a:lnTo>
                    <a:lnTo>
                      <a:pt x="171" y="123"/>
                    </a:lnTo>
                    <a:lnTo>
                      <a:pt x="167" y="126"/>
                    </a:lnTo>
                    <a:lnTo>
                      <a:pt x="164" y="125"/>
                    </a:lnTo>
                    <a:lnTo>
                      <a:pt x="159" y="126"/>
                    </a:lnTo>
                    <a:lnTo>
                      <a:pt x="155" y="126"/>
                    </a:lnTo>
                    <a:lnTo>
                      <a:pt x="152" y="124"/>
                    </a:lnTo>
                    <a:lnTo>
                      <a:pt x="148" y="125"/>
                    </a:lnTo>
                    <a:lnTo>
                      <a:pt x="147" y="125"/>
                    </a:lnTo>
                    <a:lnTo>
                      <a:pt x="146" y="122"/>
                    </a:lnTo>
                    <a:lnTo>
                      <a:pt x="143" y="122"/>
                    </a:lnTo>
                    <a:lnTo>
                      <a:pt x="141" y="120"/>
                    </a:lnTo>
                    <a:lnTo>
                      <a:pt x="140" y="121"/>
                    </a:lnTo>
                    <a:lnTo>
                      <a:pt x="137" y="121"/>
                    </a:lnTo>
                    <a:lnTo>
                      <a:pt x="134" y="122"/>
                    </a:lnTo>
                    <a:lnTo>
                      <a:pt x="132" y="125"/>
                    </a:lnTo>
                    <a:lnTo>
                      <a:pt x="131" y="126"/>
                    </a:lnTo>
                    <a:lnTo>
                      <a:pt x="130" y="124"/>
                    </a:lnTo>
                    <a:lnTo>
                      <a:pt x="127" y="124"/>
                    </a:lnTo>
                    <a:lnTo>
                      <a:pt x="127" y="122"/>
                    </a:lnTo>
                    <a:lnTo>
                      <a:pt x="123" y="125"/>
                    </a:lnTo>
                    <a:lnTo>
                      <a:pt x="120" y="125"/>
                    </a:lnTo>
                    <a:lnTo>
                      <a:pt x="114" y="128"/>
                    </a:lnTo>
                    <a:lnTo>
                      <a:pt x="114" y="133"/>
                    </a:lnTo>
                    <a:lnTo>
                      <a:pt x="112" y="134"/>
                    </a:lnTo>
                    <a:lnTo>
                      <a:pt x="112" y="136"/>
                    </a:lnTo>
                    <a:lnTo>
                      <a:pt x="110" y="137"/>
                    </a:lnTo>
                    <a:lnTo>
                      <a:pt x="109" y="139"/>
                    </a:lnTo>
                    <a:lnTo>
                      <a:pt x="105" y="141"/>
                    </a:lnTo>
                    <a:lnTo>
                      <a:pt x="106" y="143"/>
                    </a:lnTo>
                    <a:lnTo>
                      <a:pt x="105" y="146"/>
                    </a:lnTo>
                    <a:lnTo>
                      <a:pt x="102" y="146"/>
                    </a:lnTo>
                    <a:lnTo>
                      <a:pt x="99" y="145"/>
                    </a:lnTo>
                    <a:lnTo>
                      <a:pt x="97" y="145"/>
                    </a:lnTo>
                    <a:lnTo>
                      <a:pt x="96" y="146"/>
                    </a:lnTo>
                    <a:lnTo>
                      <a:pt x="96" y="149"/>
                    </a:lnTo>
                    <a:lnTo>
                      <a:pt x="93" y="149"/>
                    </a:lnTo>
                    <a:lnTo>
                      <a:pt x="90" y="151"/>
                    </a:lnTo>
                    <a:lnTo>
                      <a:pt x="89" y="152"/>
                    </a:lnTo>
                    <a:lnTo>
                      <a:pt x="88" y="152"/>
                    </a:lnTo>
                    <a:lnTo>
                      <a:pt x="84" y="149"/>
                    </a:lnTo>
                    <a:lnTo>
                      <a:pt x="79" y="148"/>
                    </a:lnTo>
                    <a:lnTo>
                      <a:pt x="76" y="147"/>
                    </a:lnTo>
                    <a:lnTo>
                      <a:pt x="72" y="151"/>
                    </a:lnTo>
                    <a:lnTo>
                      <a:pt x="70" y="152"/>
                    </a:lnTo>
                    <a:lnTo>
                      <a:pt x="63" y="153"/>
                    </a:lnTo>
                    <a:lnTo>
                      <a:pt x="62" y="152"/>
                    </a:lnTo>
                    <a:lnTo>
                      <a:pt x="59" y="151"/>
                    </a:lnTo>
                    <a:lnTo>
                      <a:pt x="56" y="152"/>
                    </a:lnTo>
                    <a:lnTo>
                      <a:pt x="54" y="154"/>
                    </a:lnTo>
                    <a:lnTo>
                      <a:pt x="41" y="154"/>
                    </a:lnTo>
                    <a:lnTo>
                      <a:pt x="41" y="150"/>
                    </a:lnTo>
                    <a:lnTo>
                      <a:pt x="40" y="149"/>
                    </a:lnTo>
                    <a:lnTo>
                      <a:pt x="38" y="147"/>
                    </a:lnTo>
                    <a:lnTo>
                      <a:pt x="35" y="147"/>
                    </a:lnTo>
                    <a:lnTo>
                      <a:pt x="31" y="145"/>
                    </a:lnTo>
                    <a:lnTo>
                      <a:pt x="28" y="149"/>
                    </a:lnTo>
                    <a:lnTo>
                      <a:pt x="22" y="148"/>
                    </a:lnTo>
                    <a:lnTo>
                      <a:pt x="17" y="129"/>
                    </a:lnTo>
                    <a:lnTo>
                      <a:pt x="12" y="129"/>
                    </a:lnTo>
                    <a:lnTo>
                      <a:pt x="11" y="128"/>
                    </a:lnTo>
                    <a:lnTo>
                      <a:pt x="9" y="126"/>
                    </a:lnTo>
                    <a:lnTo>
                      <a:pt x="11" y="125"/>
                    </a:lnTo>
                    <a:lnTo>
                      <a:pt x="9" y="122"/>
                    </a:lnTo>
                    <a:lnTo>
                      <a:pt x="6" y="118"/>
                    </a:lnTo>
                    <a:lnTo>
                      <a:pt x="5" y="114"/>
                    </a:lnTo>
                    <a:lnTo>
                      <a:pt x="4" y="109"/>
                    </a:lnTo>
                    <a:lnTo>
                      <a:pt x="3" y="104"/>
                    </a:lnTo>
                    <a:lnTo>
                      <a:pt x="4" y="102"/>
                    </a:lnTo>
                    <a:lnTo>
                      <a:pt x="5" y="102"/>
                    </a:lnTo>
                    <a:lnTo>
                      <a:pt x="6" y="101"/>
                    </a:lnTo>
                    <a:lnTo>
                      <a:pt x="7" y="99"/>
                    </a:lnTo>
                    <a:lnTo>
                      <a:pt x="9" y="96"/>
                    </a:lnTo>
                    <a:lnTo>
                      <a:pt x="6" y="93"/>
                    </a:lnTo>
                    <a:lnTo>
                      <a:pt x="4" y="92"/>
                    </a:lnTo>
                    <a:lnTo>
                      <a:pt x="4" y="90"/>
                    </a:lnTo>
                    <a:lnTo>
                      <a:pt x="3" y="87"/>
                    </a:lnTo>
                    <a:lnTo>
                      <a:pt x="1" y="86"/>
                    </a:lnTo>
                    <a:lnTo>
                      <a:pt x="0" y="83"/>
                    </a:lnTo>
                    <a:lnTo>
                      <a:pt x="1" y="82"/>
                    </a:lnTo>
                    <a:lnTo>
                      <a:pt x="1" y="80"/>
                    </a:lnTo>
                    <a:lnTo>
                      <a:pt x="5" y="79"/>
                    </a:lnTo>
                    <a:lnTo>
                      <a:pt x="8" y="77"/>
                    </a:lnTo>
                    <a:lnTo>
                      <a:pt x="6" y="72"/>
                    </a:lnTo>
                    <a:lnTo>
                      <a:pt x="6" y="71"/>
                    </a:lnTo>
                    <a:lnTo>
                      <a:pt x="5" y="69"/>
                    </a:lnTo>
                    <a:lnTo>
                      <a:pt x="6" y="68"/>
                    </a:lnTo>
                    <a:lnTo>
                      <a:pt x="6" y="67"/>
                    </a:lnTo>
                    <a:lnTo>
                      <a:pt x="11" y="62"/>
                    </a:lnTo>
                    <a:lnTo>
                      <a:pt x="18" y="59"/>
                    </a:lnTo>
                    <a:lnTo>
                      <a:pt x="23" y="55"/>
                    </a:lnTo>
                    <a:lnTo>
                      <a:pt x="17" y="33"/>
                    </a:lnTo>
                    <a:lnTo>
                      <a:pt x="23" y="29"/>
                    </a:lnTo>
                    <a:lnTo>
                      <a:pt x="29" y="26"/>
                    </a:lnTo>
                    <a:lnTo>
                      <a:pt x="35" y="22"/>
                    </a:lnTo>
                    <a:lnTo>
                      <a:pt x="41" y="19"/>
                    </a:lnTo>
                    <a:lnTo>
                      <a:pt x="48" y="17"/>
                    </a:lnTo>
                    <a:lnTo>
                      <a:pt x="54" y="21"/>
                    </a:lnTo>
                    <a:lnTo>
                      <a:pt x="57" y="27"/>
                    </a:lnTo>
                    <a:lnTo>
                      <a:pt x="64" y="31"/>
                    </a:lnTo>
                    <a:lnTo>
                      <a:pt x="71" y="28"/>
                    </a:lnTo>
                    <a:lnTo>
                      <a:pt x="74" y="21"/>
                    </a:lnTo>
                    <a:lnTo>
                      <a:pt x="80" y="17"/>
                    </a:lnTo>
                    <a:lnTo>
                      <a:pt x="88" y="17"/>
                    </a:lnTo>
                    <a:lnTo>
                      <a:pt x="94" y="19"/>
                    </a:lnTo>
                    <a:lnTo>
                      <a:pt x="102" y="18"/>
                    </a:lnTo>
                    <a:lnTo>
                      <a:pt x="108" y="15"/>
                    </a:lnTo>
                    <a:lnTo>
                      <a:pt x="113" y="9"/>
                    </a:lnTo>
                    <a:lnTo>
                      <a:pt x="119" y="5"/>
                    </a:lnTo>
                    <a:lnTo>
                      <a:pt x="126" y="3"/>
                    </a:lnTo>
                    <a:lnTo>
                      <a:pt x="133" y="2"/>
                    </a:lnTo>
                    <a:lnTo>
                      <a:pt x="141" y="0"/>
                    </a:lnTo>
                    <a:lnTo>
                      <a:pt x="153" y="5"/>
                    </a:lnTo>
                    <a:lnTo>
                      <a:pt x="154" y="5"/>
                    </a:lnTo>
                    <a:close/>
                  </a:path>
                </a:pathLst>
              </a:custGeom>
              <a:solidFill>
                <a:srgbClr val="E7E7E4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52" name="Croatia">
                <a:extLst>
                  <a:ext uri="{FF2B5EF4-FFF2-40B4-BE49-F238E27FC236}">
                    <a16:creationId xmlns:a16="http://schemas.microsoft.com/office/drawing/2014/main" id="{AB2ED0F9-E5ED-4918-923C-AFFE55FDB491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5019774" y="4029533"/>
                <a:ext cx="529002" cy="548425"/>
              </a:xfrm>
              <a:custGeom>
                <a:avLst/>
                <a:gdLst>
                  <a:gd name="T0" fmla="*/ 192 w 471"/>
                  <a:gd name="T1" fmla="*/ 313 h 431"/>
                  <a:gd name="T2" fmla="*/ 191 w 471"/>
                  <a:gd name="T3" fmla="*/ 297 h 431"/>
                  <a:gd name="T4" fmla="*/ 171 w 471"/>
                  <a:gd name="T5" fmla="*/ 282 h 431"/>
                  <a:gd name="T6" fmla="*/ 134 w 471"/>
                  <a:gd name="T7" fmla="*/ 246 h 431"/>
                  <a:gd name="T8" fmla="*/ 139 w 471"/>
                  <a:gd name="T9" fmla="*/ 228 h 431"/>
                  <a:gd name="T10" fmla="*/ 115 w 471"/>
                  <a:gd name="T11" fmla="*/ 198 h 431"/>
                  <a:gd name="T12" fmla="*/ 81 w 471"/>
                  <a:gd name="T13" fmla="*/ 124 h 431"/>
                  <a:gd name="T14" fmla="*/ 51 w 471"/>
                  <a:gd name="T15" fmla="*/ 151 h 431"/>
                  <a:gd name="T16" fmla="*/ 44 w 471"/>
                  <a:gd name="T17" fmla="*/ 162 h 431"/>
                  <a:gd name="T18" fmla="*/ 33 w 471"/>
                  <a:gd name="T19" fmla="*/ 181 h 431"/>
                  <a:gd name="T20" fmla="*/ 22 w 471"/>
                  <a:gd name="T21" fmla="*/ 160 h 431"/>
                  <a:gd name="T22" fmla="*/ 7 w 471"/>
                  <a:gd name="T23" fmla="*/ 138 h 431"/>
                  <a:gd name="T24" fmla="*/ 2 w 471"/>
                  <a:gd name="T25" fmla="*/ 110 h 431"/>
                  <a:gd name="T26" fmla="*/ 44 w 471"/>
                  <a:gd name="T27" fmla="*/ 110 h 431"/>
                  <a:gd name="T28" fmla="*/ 151 w 471"/>
                  <a:gd name="T29" fmla="*/ 88 h 431"/>
                  <a:gd name="T30" fmla="*/ 234 w 471"/>
                  <a:gd name="T31" fmla="*/ 0 h 431"/>
                  <a:gd name="T32" fmla="*/ 264 w 471"/>
                  <a:gd name="T33" fmla="*/ 15 h 431"/>
                  <a:gd name="T34" fmla="*/ 293 w 471"/>
                  <a:gd name="T35" fmla="*/ 42 h 431"/>
                  <a:gd name="T36" fmla="*/ 305 w 471"/>
                  <a:gd name="T37" fmla="*/ 54 h 431"/>
                  <a:gd name="T38" fmla="*/ 344 w 471"/>
                  <a:gd name="T39" fmla="*/ 73 h 431"/>
                  <a:gd name="T40" fmla="*/ 390 w 471"/>
                  <a:gd name="T41" fmla="*/ 72 h 431"/>
                  <a:gd name="T42" fmla="*/ 422 w 471"/>
                  <a:gd name="T43" fmla="*/ 67 h 431"/>
                  <a:gd name="T44" fmla="*/ 433 w 471"/>
                  <a:gd name="T45" fmla="*/ 177 h 431"/>
                  <a:gd name="T46" fmla="*/ 313 w 471"/>
                  <a:gd name="T47" fmla="*/ 142 h 431"/>
                  <a:gd name="T48" fmla="*/ 182 w 471"/>
                  <a:gd name="T49" fmla="*/ 179 h 431"/>
                  <a:gd name="T50" fmla="*/ 288 w 471"/>
                  <a:gd name="T51" fmla="*/ 308 h 431"/>
                  <a:gd name="T52" fmla="*/ 314 w 471"/>
                  <a:gd name="T53" fmla="*/ 373 h 431"/>
                  <a:gd name="T54" fmla="*/ 280 w 471"/>
                  <a:gd name="T55" fmla="*/ 343 h 431"/>
                  <a:gd name="T56" fmla="*/ 223 w 471"/>
                  <a:gd name="T57" fmla="*/ 309 h 431"/>
                  <a:gd name="T58" fmla="*/ 370 w 471"/>
                  <a:gd name="T59" fmla="*/ 413 h 431"/>
                  <a:gd name="T60" fmla="*/ 341 w 471"/>
                  <a:gd name="T61" fmla="*/ 389 h 431"/>
                  <a:gd name="T62" fmla="*/ 285 w 471"/>
                  <a:gd name="T63" fmla="*/ 370 h 431"/>
                  <a:gd name="T64" fmla="*/ 342 w 471"/>
                  <a:gd name="T65" fmla="*/ 377 h 431"/>
                  <a:gd name="T66" fmla="*/ 123 w 471"/>
                  <a:gd name="T67" fmla="*/ 231 h 431"/>
                  <a:gd name="T68" fmla="*/ 129 w 471"/>
                  <a:gd name="T69" fmla="*/ 259 h 431"/>
                  <a:gd name="T70" fmla="*/ 269 w 471"/>
                  <a:gd name="T71" fmla="*/ 391 h 431"/>
                  <a:gd name="T72" fmla="*/ 96 w 471"/>
                  <a:gd name="T73" fmla="*/ 174 h 431"/>
                  <a:gd name="T74" fmla="*/ 96 w 471"/>
                  <a:gd name="T75" fmla="*/ 178 h 431"/>
                  <a:gd name="T76" fmla="*/ 66 w 471"/>
                  <a:gd name="T77" fmla="*/ 165 h 431"/>
                  <a:gd name="T78" fmla="*/ 68 w 471"/>
                  <a:gd name="T79" fmla="*/ 142 h 431"/>
                  <a:gd name="T80" fmla="*/ 81 w 471"/>
                  <a:gd name="T81" fmla="*/ 194 h 431"/>
                  <a:gd name="T82" fmla="*/ 74 w 471"/>
                  <a:gd name="T83" fmla="*/ 205 h 431"/>
                  <a:gd name="T84" fmla="*/ 146 w 471"/>
                  <a:gd name="T85" fmla="*/ 284 h 431"/>
                  <a:gd name="T86" fmla="*/ 148 w 471"/>
                  <a:gd name="T87" fmla="*/ 267 h 431"/>
                  <a:gd name="T88" fmla="*/ 133 w 471"/>
                  <a:gd name="T89" fmla="*/ 258 h 431"/>
                  <a:gd name="T90" fmla="*/ 212 w 471"/>
                  <a:gd name="T91" fmla="*/ 327 h 431"/>
                  <a:gd name="T92" fmla="*/ 119 w 471"/>
                  <a:gd name="T93" fmla="*/ 208 h 431"/>
                  <a:gd name="T94" fmla="*/ 131 w 471"/>
                  <a:gd name="T95" fmla="*/ 223 h 431"/>
                  <a:gd name="T96" fmla="*/ 120 w 471"/>
                  <a:gd name="T97" fmla="*/ 218 h 431"/>
                  <a:gd name="T98" fmla="*/ 114 w 471"/>
                  <a:gd name="T99" fmla="*/ 251 h 431"/>
                  <a:gd name="T100" fmla="*/ 134 w 471"/>
                  <a:gd name="T101" fmla="*/ 276 h 431"/>
                  <a:gd name="T102" fmla="*/ 201 w 471"/>
                  <a:gd name="T103" fmla="*/ 360 h 431"/>
                  <a:gd name="T104" fmla="*/ 256 w 471"/>
                  <a:gd name="T105" fmla="*/ 371 h 431"/>
                  <a:gd name="T106" fmla="*/ 246 w 471"/>
                  <a:gd name="T107" fmla="*/ 374 h 431"/>
                  <a:gd name="T108" fmla="*/ 331 w 471"/>
                  <a:gd name="T109" fmla="*/ 399 h 431"/>
                  <a:gd name="T110" fmla="*/ 88 w 471"/>
                  <a:gd name="T111" fmla="*/ 139 h 431"/>
                  <a:gd name="T112" fmla="*/ 103 w 471"/>
                  <a:gd name="T113" fmla="*/ 159 h 431"/>
                  <a:gd name="T114" fmla="*/ 81 w 471"/>
                  <a:gd name="T115" fmla="*/ 154 h 431"/>
                  <a:gd name="T116" fmla="*/ 86 w 471"/>
                  <a:gd name="T117" fmla="*/ 132 h 431"/>
                  <a:gd name="T118" fmla="*/ 236 w 471"/>
                  <a:gd name="T119" fmla="*/ 338 h 431"/>
                  <a:gd name="T120" fmla="*/ 242 w 471"/>
                  <a:gd name="T121" fmla="*/ 348 h 431"/>
                  <a:gd name="T122" fmla="*/ 263 w 471"/>
                  <a:gd name="T123" fmla="*/ 350 h 431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471"/>
                  <a:gd name="T187" fmla="*/ 0 h 431"/>
                  <a:gd name="T188" fmla="*/ 471 w 471"/>
                  <a:gd name="T189" fmla="*/ 431 h 431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471" h="431">
                    <a:moveTo>
                      <a:pt x="210" y="313"/>
                    </a:moveTo>
                    <a:lnTo>
                      <a:pt x="206" y="313"/>
                    </a:lnTo>
                    <a:lnTo>
                      <a:pt x="205" y="313"/>
                    </a:lnTo>
                    <a:lnTo>
                      <a:pt x="209" y="314"/>
                    </a:lnTo>
                    <a:lnTo>
                      <a:pt x="209" y="316"/>
                    </a:lnTo>
                    <a:lnTo>
                      <a:pt x="205" y="316"/>
                    </a:lnTo>
                    <a:lnTo>
                      <a:pt x="205" y="317"/>
                    </a:lnTo>
                    <a:lnTo>
                      <a:pt x="204" y="317"/>
                    </a:lnTo>
                    <a:lnTo>
                      <a:pt x="201" y="316"/>
                    </a:lnTo>
                    <a:lnTo>
                      <a:pt x="199" y="316"/>
                    </a:lnTo>
                    <a:lnTo>
                      <a:pt x="198" y="315"/>
                    </a:lnTo>
                    <a:lnTo>
                      <a:pt x="197" y="315"/>
                    </a:lnTo>
                    <a:lnTo>
                      <a:pt x="197" y="314"/>
                    </a:lnTo>
                    <a:lnTo>
                      <a:pt x="196" y="315"/>
                    </a:lnTo>
                    <a:lnTo>
                      <a:pt x="195" y="314"/>
                    </a:lnTo>
                    <a:lnTo>
                      <a:pt x="194" y="315"/>
                    </a:lnTo>
                    <a:lnTo>
                      <a:pt x="194" y="314"/>
                    </a:lnTo>
                    <a:lnTo>
                      <a:pt x="192" y="314"/>
                    </a:lnTo>
                    <a:lnTo>
                      <a:pt x="192" y="313"/>
                    </a:lnTo>
                    <a:lnTo>
                      <a:pt x="194" y="313"/>
                    </a:lnTo>
                    <a:lnTo>
                      <a:pt x="195" y="312"/>
                    </a:lnTo>
                    <a:lnTo>
                      <a:pt x="194" y="310"/>
                    </a:lnTo>
                    <a:lnTo>
                      <a:pt x="195" y="310"/>
                    </a:lnTo>
                    <a:lnTo>
                      <a:pt x="193" y="311"/>
                    </a:lnTo>
                    <a:lnTo>
                      <a:pt x="192" y="309"/>
                    </a:lnTo>
                    <a:lnTo>
                      <a:pt x="190" y="308"/>
                    </a:lnTo>
                    <a:lnTo>
                      <a:pt x="192" y="308"/>
                    </a:lnTo>
                    <a:lnTo>
                      <a:pt x="189" y="307"/>
                    </a:lnTo>
                    <a:lnTo>
                      <a:pt x="191" y="306"/>
                    </a:lnTo>
                    <a:lnTo>
                      <a:pt x="189" y="305"/>
                    </a:lnTo>
                    <a:lnTo>
                      <a:pt x="190" y="303"/>
                    </a:lnTo>
                    <a:lnTo>
                      <a:pt x="189" y="301"/>
                    </a:lnTo>
                    <a:lnTo>
                      <a:pt x="194" y="301"/>
                    </a:lnTo>
                    <a:lnTo>
                      <a:pt x="189" y="299"/>
                    </a:lnTo>
                    <a:lnTo>
                      <a:pt x="191" y="298"/>
                    </a:lnTo>
                    <a:lnTo>
                      <a:pt x="192" y="299"/>
                    </a:lnTo>
                    <a:lnTo>
                      <a:pt x="192" y="298"/>
                    </a:lnTo>
                    <a:lnTo>
                      <a:pt x="191" y="297"/>
                    </a:lnTo>
                    <a:lnTo>
                      <a:pt x="192" y="296"/>
                    </a:lnTo>
                    <a:lnTo>
                      <a:pt x="192" y="295"/>
                    </a:lnTo>
                    <a:lnTo>
                      <a:pt x="191" y="296"/>
                    </a:lnTo>
                    <a:lnTo>
                      <a:pt x="189" y="296"/>
                    </a:lnTo>
                    <a:lnTo>
                      <a:pt x="189" y="294"/>
                    </a:lnTo>
                    <a:lnTo>
                      <a:pt x="186" y="294"/>
                    </a:lnTo>
                    <a:lnTo>
                      <a:pt x="184" y="291"/>
                    </a:lnTo>
                    <a:lnTo>
                      <a:pt x="183" y="291"/>
                    </a:lnTo>
                    <a:lnTo>
                      <a:pt x="179" y="288"/>
                    </a:lnTo>
                    <a:lnTo>
                      <a:pt x="176" y="288"/>
                    </a:lnTo>
                    <a:lnTo>
                      <a:pt x="173" y="287"/>
                    </a:lnTo>
                    <a:lnTo>
                      <a:pt x="172" y="286"/>
                    </a:lnTo>
                    <a:lnTo>
                      <a:pt x="171" y="284"/>
                    </a:lnTo>
                    <a:lnTo>
                      <a:pt x="166" y="282"/>
                    </a:lnTo>
                    <a:lnTo>
                      <a:pt x="166" y="281"/>
                    </a:lnTo>
                    <a:lnTo>
                      <a:pt x="170" y="282"/>
                    </a:lnTo>
                    <a:lnTo>
                      <a:pt x="171" y="282"/>
                    </a:lnTo>
                    <a:lnTo>
                      <a:pt x="167" y="278"/>
                    </a:lnTo>
                    <a:lnTo>
                      <a:pt x="165" y="278"/>
                    </a:lnTo>
                    <a:lnTo>
                      <a:pt x="163" y="276"/>
                    </a:lnTo>
                    <a:lnTo>
                      <a:pt x="160" y="275"/>
                    </a:lnTo>
                    <a:lnTo>
                      <a:pt x="158" y="272"/>
                    </a:lnTo>
                    <a:lnTo>
                      <a:pt x="153" y="270"/>
                    </a:lnTo>
                    <a:lnTo>
                      <a:pt x="152" y="268"/>
                    </a:lnTo>
                    <a:lnTo>
                      <a:pt x="149" y="266"/>
                    </a:lnTo>
                    <a:lnTo>
                      <a:pt x="144" y="258"/>
                    </a:lnTo>
                    <a:lnTo>
                      <a:pt x="142" y="257"/>
                    </a:lnTo>
                    <a:lnTo>
                      <a:pt x="142" y="256"/>
                    </a:lnTo>
                    <a:lnTo>
                      <a:pt x="140" y="255"/>
                    </a:lnTo>
                    <a:lnTo>
                      <a:pt x="138" y="252"/>
                    </a:lnTo>
                    <a:lnTo>
                      <a:pt x="136" y="251"/>
                    </a:lnTo>
                    <a:lnTo>
                      <a:pt x="136" y="250"/>
                    </a:lnTo>
                    <a:lnTo>
                      <a:pt x="136" y="249"/>
                    </a:lnTo>
                    <a:lnTo>
                      <a:pt x="134" y="248"/>
                    </a:lnTo>
                    <a:lnTo>
                      <a:pt x="134" y="247"/>
                    </a:lnTo>
                    <a:lnTo>
                      <a:pt x="134" y="246"/>
                    </a:lnTo>
                    <a:lnTo>
                      <a:pt x="129" y="241"/>
                    </a:lnTo>
                    <a:lnTo>
                      <a:pt x="130" y="240"/>
                    </a:lnTo>
                    <a:lnTo>
                      <a:pt x="130" y="238"/>
                    </a:lnTo>
                    <a:lnTo>
                      <a:pt x="126" y="235"/>
                    </a:lnTo>
                    <a:lnTo>
                      <a:pt x="127" y="233"/>
                    </a:lnTo>
                    <a:lnTo>
                      <a:pt x="129" y="232"/>
                    </a:lnTo>
                    <a:lnTo>
                      <a:pt x="131" y="235"/>
                    </a:lnTo>
                    <a:lnTo>
                      <a:pt x="133" y="235"/>
                    </a:lnTo>
                    <a:lnTo>
                      <a:pt x="134" y="234"/>
                    </a:lnTo>
                    <a:lnTo>
                      <a:pt x="133" y="232"/>
                    </a:lnTo>
                    <a:lnTo>
                      <a:pt x="134" y="232"/>
                    </a:lnTo>
                    <a:lnTo>
                      <a:pt x="133" y="230"/>
                    </a:lnTo>
                    <a:lnTo>
                      <a:pt x="136" y="232"/>
                    </a:lnTo>
                    <a:lnTo>
                      <a:pt x="139" y="235"/>
                    </a:lnTo>
                    <a:lnTo>
                      <a:pt x="140" y="235"/>
                    </a:lnTo>
                    <a:lnTo>
                      <a:pt x="139" y="232"/>
                    </a:lnTo>
                    <a:lnTo>
                      <a:pt x="142" y="232"/>
                    </a:lnTo>
                    <a:lnTo>
                      <a:pt x="139" y="228"/>
                    </a:lnTo>
                    <a:lnTo>
                      <a:pt x="139" y="227"/>
                    </a:lnTo>
                    <a:lnTo>
                      <a:pt x="144" y="232"/>
                    </a:lnTo>
                    <a:lnTo>
                      <a:pt x="150" y="234"/>
                    </a:lnTo>
                    <a:lnTo>
                      <a:pt x="152" y="234"/>
                    </a:lnTo>
                    <a:lnTo>
                      <a:pt x="158" y="235"/>
                    </a:lnTo>
                    <a:lnTo>
                      <a:pt x="159" y="235"/>
                    </a:lnTo>
                    <a:lnTo>
                      <a:pt x="159" y="234"/>
                    </a:lnTo>
                    <a:lnTo>
                      <a:pt x="152" y="232"/>
                    </a:lnTo>
                    <a:lnTo>
                      <a:pt x="150" y="228"/>
                    </a:lnTo>
                    <a:lnTo>
                      <a:pt x="145" y="227"/>
                    </a:lnTo>
                    <a:lnTo>
                      <a:pt x="139" y="223"/>
                    </a:lnTo>
                    <a:lnTo>
                      <a:pt x="134" y="217"/>
                    </a:lnTo>
                    <a:lnTo>
                      <a:pt x="133" y="216"/>
                    </a:lnTo>
                    <a:lnTo>
                      <a:pt x="128" y="211"/>
                    </a:lnTo>
                    <a:lnTo>
                      <a:pt x="126" y="208"/>
                    </a:lnTo>
                    <a:lnTo>
                      <a:pt x="120" y="203"/>
                    </a:lnTo>
                    <a:lnTo>
                      <a:pt x="117" y="201"/>
                    </a:lnTo>
                    <a:lnTo>
                      <a:pt x="115" y="198"/>
                    </a:lnTo>
                    <a:lnTo>
                      <a:pt x="115" y="195"/>
                    </a:lnTo>
                    <a:lnTo>
                      <a:pt x="110" y="189"/>
                    </a:lnTo>
                    <a:lnTo>
                      <a:pt x="109" y="187"/>
                    </a:lnTo>
                    <a:lnTo>
                      <a:pt x="110" y="184"/>
                    </a:lnTo>
                    <a:lnTo>
                      <a:pt x="108" y="177"/>
                    </a:lnTo>
                    <a:lnTo>
                      <a:pt x="108" y="172"/>
                    </a:lnTo>
                    <a:lnTo>
                      <a:pt x="111" y="165"/>
                    </a:lnTo>
                    <a:lnTo>
                      <a:pt x="112" y="160"/>
                    </a:lnTo>
                    <a:lnTo>
                      <a:pt x="108" y="152"/>
                    </a:lnTo>
                    <a:lnTo>
                      <a:pt x="105" y="147"/>
                    </a:lnTo>
                    <a:lnTo>
                      <a:pt x="105" y="145"/>
                    </a:lnTo>
                    <a:lnTo>
                      <a:pt x="97" y="141"/>
                    </a:lnTo>
                    <a:lnTo>
                      <a:pt x="95" y="139"/>
                    </a:lnTo>
                    <a:lnTo>
                      <a:pt x="92" y="137"/>
                    </a:lnTo>
                    <a:lnTo>
                      <a:pt x="87" y="133"/>
                    </a:lnTo>
                    <a:lnTo>
                      <a:pt x="87" y="131"/>
                    </a:lnTo>
                    <a:lnTo>
                      <a:pt x="84" y="128"/>
                    </a:lnTo>
                    <a:lnTo>
                      <a:pt x="85" y="126"/>
                    </a:lnTo>
                    <a:lnTo>
                      <a:pt x="81" y="124"/>
                    </a:lnTo>
                    <a:lnTo>
                      <a:pt x="83" y="126"/>
                    </a:lnTo>
                    <a:lnTo>
                      <a:pt x="81" y="126"/>
                    </a:lnTo>
                    <a:lnTo>
                      <a:pt x="78" y="125"/>
                    </a:lnTo>
                    <a:lnTo>
                      <a:pt x="78" y="124"/>
                    </a:lnTo>
                    <a:lnTo>
                      <a:pt x="65" y="119"/>
                    </a:lnTo>
                    <a:lnTo>
                      <a:pt x="65" y="120"/>
                    </a:lnTo>
                    <a:lnTo>
                      <a:pt x="62" y="124"/>
                    </a:lnTo>
                    <a:lnTo>
                      <a:pt x="60" y="132"/>
                    </a:lnTo>
                    <a:lnTo>
                      <a:pt x="59" y="134"/>
                    </a:lnTo>
                    <a:lnTo>
                      <a:pt x="59" y="136"/>
                    </a:lnTo>
                    <a:lnTo>
                      <a:pt x="58" y="141"/>
                    </a:lnTo>
                    <a:lnTo>
                      <a:pt x="56" y="144"/>
                    </a:lnTo>
                    <a:lnTo>
                      <a:pt x="55" y="144"/>
                    </a:lnTo>
                    <a:lnTo>
                      <a:pt x="53" y="142"/>
                    </a:lnTo>
                    <a:lnTo>
                      <a:pt x="55" y="145"/>
                    </a:lnTo>
                    <a:lnTo>
                      <a:pt x="53" y="148"/>
                    </a:lnTo>
                    <a:lnTo>
                      <a:pt x="52" y="148"/>
                    </a:lnTo>
                    <a:lnTo>
                      <a:pt x="52" y="151"/>
                    </a:lnTo>
                    <a:lnTo>
                      <a:pt x="51" y="151"/>
                    </a:lnTo>
                    <a:lnTo>
                      <a:pt x="52" y="154"/>
                    </a:lnTo>
                    <a:lnTo>
                      <a:pt x="53" y="159"/>
                    </a:lnTo>
                    <a:lnTo>
                      <a:pt x="51" y="160"/>
                    </a:lnTo>
                    <a:lnTo>
                      <a:pt x="50" y="160"/>
                    </a:lnTo>
                    <a:lnTo>
                      <a:pt x="49" y="160"/>
                    </a:lnTo>
                    <a:lnTo>
                      <a:pt x="48" y="159"/>
                    </a:lnTo>
                    <a:lnTo>
                      <a:pt x="47" y="160"/>
                    </a:lnTo>
                    <a:lnTo>
                      <a:pt x="45" y="163"/>
                    </a:lnTo>
                    <a:lnTo>
                      <a:pt x="45" y="160"/>
                    </a:lnTo>
                    <a:lnTo>
                      <a:pt x="47" y="159"/>
                    </a:lnTo>
                    <a:lnTo>
                      <a:pt x="46" y="157"/>
                    </a:lnTo>
                    <a:lnTo>
                      <a:pt x="44" y="156"/>
                    </a:lnTo>
                    <a:lnTo>
                      <a:pt x="44" y="153"/>
                    </a:lnTo>
                    <a:lnTo>
                      <a:pt x="43" y="153"/>
                    </a:lnTo>
                    <a:lnTo>
                      <a:pt x="43" y="157"/>
                    </a:lnTo>
                    <a:lnTo>
                      <a:pt x="45" y="157"/>
                    </a:lnTo>
                    <a:lnTo>
                      <a:pt x="45" y="159"/>
                    </a:lnTo>
                    <a:lnTo>
                      <a:pt x="44" y="160"/>
                    </a:lnTo>
                    <a:lnTo>
                      <a:pt x="44" y="162"/>
                    </a:lnTo>
                    <a:lnTo>
                      <a:pt x="42" y="162"/>
                    </a:lnTo>
                    <a:lnTo>
                      <a:pt x="43" y="163"/>
                    </a:lnTo>
                    <a:lnTo>
                      <a:pt x="42" y="165"/>
                    </a:lnTo>
                    <a:lnTo>
                      <a:pt x="41" y="165"/>
                    </a:lnTo>
                    <a:lnTo>
                      <a:pt x="41" y="166"/>
                    </a:lnTo>
                    <a:lnTo>
                      <a:pt x="38" y="167"/>
                    </a:lnTo>
                    <a:lnTo>
                      <a:pt x="39" y="169"/>
                    </a:lnTo>
                    <a:lnTo>
                      <a:pt x="39" y="171"/>
                    </a:lnTo>
                    <a:lnTo>
                      <a:pt x="38" y="172"/>
                    </a:lnTo>
                    <a:lnTo>
                      <a:pt x="38" y="175"/>
                    </a:lnTo>
                    <a:lnTo>
                      <a:pt x="39" y="175"/>
                    </a:lnTo>
                    <a:lnTo>
                      <a:pt x="39" y="177"/>
                    </a:lnTo>
                    <a:lnTo>
                      <a:pt x="38" y="177"/>
                    </a:lnTo>
                    <a:lnTo>
                      <a:pt x="34" y="177"/>
                    </a:lnTo>
                    <a:lnTo>
                      <a:pt x="33" y="175"/>
                    </a:lnTo>
                    <a:lnTo>
                      <a:pt x="31" y="175"/>
                    </a:lnTo>
                    <a:lnTo>
                      <a:pt x="33" y="177"/>
                    </a:lnTo>
                    <a:lnTo>
                      <a:pt x="32" y="178"/>
                    </a:lnTo>
                    <a:lnTo>
                      <a:pt x="33" y="181"/>
                    </a:lnTo>
                    <a:lnTo>
                      <a:pt x="32" y="180"/>
                    </a:lnTo>
                    <a:lnTo>
                      <a:pt x="31" y="177"/>
                    </a:lnTo>
                    <a:lnTo>
                      <a:pt x="30" y="176"/>
                    </a:lnTo>
                    <a:lnTo>
                      <a:pt x="29" y="175"/>
                    </a:lnTo>
                    <a:lnTo>
                      <a:pt x="28" y="175"/>
                    </a:lnTo>
                    <a:lnTo>
                      <a:pt x="28" y="174"/>
                    </a:lnTo>
                    <a:lnTo>
                      <a:pt x="27" y="174"/>
                    </a:lnTo>
                    <a:lnTo>
                      <a:pt x="27" y="172"/>
                    </a:lnTo>
                    <a:lnTo>
                      <a:pt x="26" y="173"/>
                    </a:lnTo>
                    <a:lnTo>
                      <a:pt x="26" y="172"/>
                    </a:lnTo>
                    <a:lnTo>
                      <a:pt x="23" y="171"/>
                    </a:lnTo>
                    <a:lnTo>
                      <a:pt x="23" y="170"/>
                    </a:lnTo>
                    <a:lnTo>
                      <a:pt x="26" y="171"/>
                    </a:lnTo>
                    <a:lnTo>
                      <a:pt x="27" y="169"/>
                    </a:lnTo>
                    <a:lnTo>
                      <a:pt x="24" y="169"/>
                    </a:lnTo>
                    <a:lnTo>
                      <a:pt x="23" y="167"/>
                    </a:lnTo>
                    <a:lnTo>
                      <a:pt x="24" y="166"/>
                    </a:lnTo>
                    <a:lnTo>
                      <a:pt x="22" y="160"/>
                    </a:lnTo>
                    <a:lnTo>
                      <a:pt x="20" y="158"/>
                    </a:lnTo>
                    <a:lnTo>
                      <a:pt x="19" y="158"/>
                    </a:lnTo>
                    <a:lnTo>
                      <a:pt x="18" y="156"/>
                    </a:lnTo>
                    <a:lnTo>
                      <a:pt x="17" y="155"/>
                    </a:lnTo>
                    <a:lnTo>
                      <a:pt x="17" y="154"/>
                    </a:lnTo>
                    <a:lnTo>
                      <a:pt x="15" y="154"/>
                    </a:lnTo>
                    <a:lnTo>
                      <a:pt x="15" y="152"/>
                    </a:lnTo>
                    <a:lnTo>
                      <a:pt x="15" y="151"/>
                    </a:lnTo>
                    <a:lnTo>
                      <a:pt x="13" y="150"/>
                    </a:lnTo>
                    <a:lnTo>
                      <a:pt x="10" y="149"/>
                    </a:lnTo>
                    <a:lnTo>
                      <a:pt x="11" y="147"/>
                    </a:lnTo>
                    <a:lnTo>
                      <a:pt x="10" y="146"/>
                    </a:lnTo>
                    <a:lnTo>
                      <a:pt x="9" y="145"/>
                    </a:lnTo>
                    <a:lnTo>
                      <a:pt x="10" y="142"/>
                    </a:lnTo>
                    <a:lnTo>
                      <a:pt x="18" y="142"/>
                    </a:lnTo>
                    <a:lnTo>
                      <a:pt x="15" y="142"/>
                    </a:lnTo>
                    <a:lnTo>
                      <a:pt x="8" y="142"/>
                    </a:lnTo>
                    <a:lnTo>
                      <a:pt x="9" y="139"/>
                    </a:lnTo>
                    <a:lnTo>
                      <a:pt x="7" y="138"/>
                    </a:lnTo>
                    <a:lnTo>
                      <a:pt x="8" y="136"/>
                    </a:lnTo>
                    <a:lnTo>
                      <a:pt x="7" y="136"/>
                    </a:lnTo>
                    <a:lnTo>
                      <a:pt x="7" y="134"/>
                    </a:lnTo>
                    <a:lnTo>
                      <a:pt x="8" y="130"/>
                    </a:lnTo>
                    <a:lnTo>
                      <a:pt x="7" y="129"/>
                    </a:lnTo>
                    <a:lnTo>
                      <a:pt x="7" y="128"/>
                    </a:lnTo>
                    <a:lnTo>
                      <a:pt x="8" y="127"/>
                    </a:lnTo>
                    <a:lnTo>
                      <a:pt x="7" y="124"/>
                    </a:lnTo>
                    <a:lnTo>
                      <a:pt x="9" y="123"/>
                    </a:lnTo>
                    <a:lnTo>
                      <a:pt x="8" y="122"/>
                    </a:lnTo>
                    <a:lnTo>
                      <a:pt x="5" y="122"/>
                    </a:lnTo>
                    <a:lnTo>
                      <a:pt x="4" y="122"/>
                    </a:lnTo>
                    <a:lnTo>
                      <a:pt x="4" y="119"/>
                    </a:lnTo>
                    <a:lnTo>
                      <a:pt x="5" y="118"/>
                    </a:lnTo>
                    <a:lnTo>
                      <a:pt x="4" y="118"/>
                    </a:lnTo>
                    <a:lnTo>
                      <a:pt x="3" y="114"/>
                    </a:lnTo>
                    <a:lnTo>
                      <a:pt x="2" y="112"/>
                    </a:lnTo>
                    <a:lnTo>
                      <a:pt x="2" y="110"/>
                    </a:lnTo>
                    <a:lnTo>
                      <a:pt x="2" y="108"/>
                    </a:lnTo>
                    <a:lnTo>
                      <a:pt x="2" y="106"/>
                    </a:lnTo>
                    <a:lnTo>
                      <a:pt x="0" y="104"/>
                    </a:lnTo>
                    <a:lnTo>
                      <a:pt x="1" y="103"/>
                    </a:lnTo>
                    <a:lnTo>
                      <a:pt x="7" y="106"/>
                    </a:lnTo>
                    <a:lnTo>
                      <a:pt x="8" y="105"/>
                    </a:lnTo>
                    <a:lnTo>
                      <a:pt x="7" y="104"/>
                    </a:lnTo>
                    <a:lnTo>
                      <a:pt x="8" y="102"/>
                    </a:lnTo>
                    <a:lnTo>
                      <a:pt x="6" y="102"/>
                    </a:lnTo>
                    <a:lnTo>
                      <a:pt x="6" y="100"/>
                    </a:lnTo>
                    <a:lnTo>
                      <a:pt x="8" y="100"/>
                    </a:lnTo>
                    <a:lnTo>
                      <a:pt x="10" y="99"/>
                    </a:lnTo>
                    <a:lnTo>
                      <a:pt x="12" y="100"/>
                    </a:lnTo>
                    <a:lnTo>
                      <a:pt x="15" y="98"/>
                    </a:lnTo>
                    <a:lnTo>
                      <a:pt x="19" y="99"/>
                    </a:lnTo>
                    <a:lnTo>
                      <a:pt x="27" y="102"/>
                    </a:lnTo>
                    <a:lnTo>
                      <a:pt x="30" y="108"/>
                    </a:lnTo>
                    <a:lnTo>
                      <a:pt x="37" y="111"/>
                    </a:lnTo>
                    <a:lnTo>
                      <a:pt x="44" y="110"/>
                    </a:lnTo>
                    <a:lnTo>
                      <a:pt x="51" y="106"/>
                    </a:lnTo>
                    <a:lnTo>
                      <a:pt x="58" y="106"/>
                    </a:lnTo>
                    <a:lnTo>
                      <a:pt x="65" y="107"/>
                    </a:lnTo>
                    <a:lnTo>
                      <a:pt x="72" y="105"/>
                    </a:lnTo>
                    <a:lnTo>
                      <a:pt x="76" y="99"/>
                    </a:lnTo>
                    <a:lnTo>
                      <a:pt x="78" y="92"/>
                    </a:lnTo>
                    <a:lnTo>
                      <a:pt x="81" y="86"/>
                    </a:lnTo>
                    <a:lnTo>
                      <a:pt x="87" y="82"/>
                    </a:lnTo>
                    <a:lnTo>
                      <a:pt x="93" y="86"/>
                    </a:lnTo>
                    <a:lnTo>
                      <a:pt x="97" y="92"/>
                    </a:lnTo>
                    <a:lnTo>
                      <a:pt x="101" y="97"/>
                    </a:lnTo>
                    <a:lnTo>
                      <a:pt x="107" y="101"/>
                    </a:lnTo>
                    <a:lnTo>
                      <a:pt x="121" y="104"/>
                    </a:lnTo>
                    <a:lnTo>
                      <a:pt x="128" y="102"/>
                    </a:lnTo>
                    <a:lnTo>
                      <a:pt x="142" y="106"/>
                    </a:lnTo>
                    <a:lnTo>
                      <a:pt x="148" y="105"/>
                    </a:lnTo>
                    <a:lnTo>
                      <a:pt x="148" y="98"/>
                    </a:lnTo>
                    <a:lnTo>
                      <a:pt x="145" y="92"/>
                    </a:lnTo>
                    <a:lnTo>
                      <a:pt x="151" y="88"/>
                    </a:lnTo>
                    <a:lnTo>
                      <a:pt x="157" y="84"/>
                    </a:lnTo>
                    <a:lnTo>
                      <a:pt x="160" y="78"/>
                    </a:lnTo>
                    <a:lnTo>
                      <a:pt x="166" y="75"/>
                    </a:lnTo>
                    <a:lnTo>
                      <a:pt x="171" y="70"/>
                    </a:lnTo>
                    <a:lnTo>
                      <a:pt x="174" y="64"/>
                    </a:lnTo>
                    <a:lnTo>
                      <a:pt x="175" y="56"/>
                    </a:lnTo>
                    <a:lnTo>
                      <a:pt x="172" y="50"/>
                    </a:lnTo>
                    <a:lnTo>
                      <a:pt x="163" y="40"/>
                    </a:lnTo>
                    <a:lnTo>
                      <a:pt x="162" y="33"/>
                    </a:lnTo>
                    <a:lnTo>
                      <a:pt x="167" y="29"/>
                    </a:lnTo>
                    <a:lnTo>
                      <a:pt x="174" y="27"/>
                    </a:lnTo>
                    <a:lnTo>
                      <a:pt x="180" y="23"/>
                    </a:lnTo>
                    <a:lnTo>
                      <a:pt x="186" y="20"/>
                    </a:lnTo>
                    <a:lnTo>
                      <a:pt x="201" y="17"/>
                    </a:lnTo>
                    <a:lnTo>
                      <a:pt x="215" y="16"/>
                    </a:lnTo>
                    <a:lnTo>
                      <a:pt x="220" y="11"/>
                    </a:lnTo>
                    <a:lnTo>
                      <a:pt x="220" y="5"/>
                    </a:lnTo>
                    <a:lnTo>
                      <a:pt x="227" y="2"/>
                    </a:lnTo>
                    <a:lnTo>
                      <a:pt x="234" y="0"/>
                    </a:lnTo>
                    <a:lnTo>
                      <a:pt x="243" y="1"/>
                    </a:lnTo>
                    <a:lnTo>
                      <a:pt x="248" y="2"/>
                    </a:lnTo>
                    <a:lnTo>
                      <a:pt x="248" y="3"/>
                    </a:lnTo>
                    <a:lnTo>
                      <a:pt x="249" y="3"/>
                    </a:lnTo>
                    <a:lnTo>
                      <a:pt x="252" y="8"/>
                    </a:lnTo>
                    <a:lnTo>
                      <a:pt x="252" y="9"/>
                    </a:lnTo>
                    <a:lnTo>
                      <a:pt x="254" y="8"/>
                    </a:lnTo>
                    <a:lnTo>
                      <a:pt x="254" y="10"/>
                    </a:lnTo>
                    <a:lnTo>
                      <a:pt x="255" y="9"/>
                    </a:lnTo>
                    <a:lnTo>
                      <a:pt x="255" y="11"/>
                    </a:lnTo>
                    <a:lnTo>
                      <a:pt x="256" y="10"/>
                    </a:lnTo>
                    <a:lnTo>
                      <a:pt x="257" y="10"/>
                    </a:lnTo>
                    <a:lnTo>
                      <a:pt x="258" y="9"/>
                    </a:lnTo>
                    <a:lnTo>
                      <a:pt x="260" y="11"/>
                    </a:lnTo>
                    <a:lnTo>
                      <a:pt x="261" y="11"/>
                    </a:lnTo>
                    <a:lnTo>
                      <a:pt x="261" y="12"/>
                    </a:lnTo>
                    <a:lnTo>
                      <a:pt x="262" y="13"/>
                    </a:lnTo>
                    <a:lnTo>
                      <a:pt x="263" y="13"/>
                    </a:lnTo>
                    <a:lnTo>
                      <a:pt x="264" y="15"/>
                    </a:lnTo>
                    <a:lnTo>
                      <a:pt x="264" y="17"/>
                    </a:lnTo>
                    <a:lnTo>
                      <a:pt x="265" y="21"/>
                    </a:lnTo>
                    <a:lnTo>
                      <a:pt x="269" y="25"/>
                    </a:lnTo>
                    <a:lnTo>
                      <a:pt x="282" y="31"/>
                    </a:lnTo>
                    <a:lnTo>
                      <a:pt x="283" y="31"/>
                    </a:lnTo>
                    <a:lnTo>
                      <a:pt x="284" y="32"/>
                    </a:lnTo>
                    <a:lnTo>
                      <a:pt x="286" y="32"/>
                    </a:lnTo>
                    <a:lnTo>
                      <a:pt x="287" y="33"/>
                    </a:lnTo>
                    <a:lnTo>
                      <a:pt x="289" y="35"/>
                    </a:lnTo>
                    <a:lnTo>
                      <a:pt x="288" y="37"/>
                    </a:lnTo>
                    <a:lnTo>
                      <a:pt x="288" y="39"/>
                    </a:lnTo>
                    <a:lnTo>
                      <a:pt x="290" y="38"/>
                    </a:lnTo>
                    <a:lnTo>
                      <a:pt x="291" y="39"/>
                    </a:lnTo>
                    <a:lnTo>
                      <a:pt x="291" y="40"/>
                    </a:lnTo>
                    <a:lnTo>
                      <a:pt x="292" y="40"/>
                    </a:lnTo>
                    <a:lnTo>
                      <a:pt x="290" y="41"/>
                    </a:lnTo>
                    <a:lnTo>
                      <a:pt x="290" y="42"/>
                    </a:lnTo>
                    <a:lnTo>
                      <a:pt x="293" y="42"/>
                    </a:lnTo>
                    <a:lnTo>
                      <a:pt x="292" y="44"/>
                    </a:lnTo>
                    <a:lnTo>
                      <a:pt x="295" y="45"/>
                    </a:lnTo>
                    <a:lnTo>
                      <a:pt x="294" y="45"/>
                    </a:lnTo>
                    <a:lnTo>
                      <a:pt x="294" y="47"/>
                    </a:lnTo>
                    <a:lnTo>
                      <a:pt x="298" y="47"/>
                    </a:lnTo>
                    <a:lnTo>
                      <a:pt x="294" y="49"/>
                    </a:lnTo>
                    <a:lnTo>
                      <a:pt x="296" y="50"/>
                    </a:lnTo>
                    <a:lnTo>
                      <a:pt x="298" y="49"/>
                    </a:lnTo>
                    <a:lnTo>
                      <a:pt x="297" y="52"/>
                    </a:lnTo>
                    <a:lnTo>
                      <a:pt x="300" y="52"/>
                    </a:lnTo>
                    <a:lnTo>
                      <a:pt x="298" y="53"/>
                    </a:lnTo>
                    <a:lnTo>
                      <a:pt x="300" y="53"/>
                    </a:lnTo>
                    <a:lnTo>
                      <a:pt x="300" y="51"/>
                    </a:lnTo>
                    <a:lnTo>
                      <a:pt x="302" y="53"/>
                    </a:lnTo>
                    <a:lnTo>
                      <a:pt x="302" y="51"/>
                    </a:lnTo>
                    <a:lnTo>
                      <a:pt x="303" y="53"/>
                    </a:lnTo>
                    <a:lnTo>
                      <a:pt x="302" y="54"/>
                    </a:lnTo>
                    <a:lnTo>
                      <a:pt x="305" y="54"/>
                    </a:lnTo>
                    <a:lnTo>
                      <a:pt x="301" y="55"/>
                    </a:lnTo>
                    <a:lnTo>
                      <a:pt x="302" y="56"/>
                    </a:lnTo>
                    <a:lnTo>
                      <a:pt x="304" y="55"/>
                    </a:lnTo>
                    <a:lnTo>
                      <a:pt x="305" y="57"/>
                    </a:lnTo>
                    <a:lnTo>
                      <a:pt x="306" y="57"/>
                    </a:lnTo>
                    <a:lnTo>
                      <a:pt x="307" y="58"/>
                    </a:lnTo>
                    <a:lnTo>
                      <a:pt x="308" y="57"/>
                    </a:lnTo>
                    <a:lnTo>
                      <a:pt x="308" y="55"/>
                    </a:lnTo>
                    <a:lnTo>
                      <a:pt x="320" y="57"/>
                    </a:lnTo>
                    <a:lnTo>
                      <a:pt x="324" y="62"/>
                    </a:lnTo>
                    <a:lnTo>
                      <a:pt x="325" y="67"/>
                    </a:lnTo>
                    <a:lnTo>
                      <a:pt x="328" y="68"/>
                    </a:lnTo>
                    <a:lnTo>
                      <a:pt x="336" y="71"/>
                    </a:lnTo>
                    <a:lnTo>
                      <a:pt x="339" y="71"/>
                    </a:lnTo>
                    <a:lnTo>
                      <a:pt x="339" y="72"/>
                    </a:lnTo>
                    <a:lnTo>
                      <a:pt x="341" y="73"/>
                    </a:lnTo>
                    <a:lnTo>
                      <a:pt x="341" y="76"/>
                    </a:lnTo>
                    <a:lnTo>
                      <a:pt x="344" y="73"/>
                    </a:lnTo>
                    <a:lnTo>
                      <a:pt x="347" y="73"/>
                    </a:lnTo>
                    <a:lnTo>
                      <a:pt x="351" y="73"/>
                    </a:lnTo>
                    <a:lnTo>
                      <a:pt x="358" y="76"/>
                    </a:lnTo>
                    <a:lnTo>
                      <a:pt x="359" y="76"/>
                    </a:lnTo>
                    <a:lnTo>
                      <a:pt x="362" y="74"/>
                    </a:lnTo>
                    <a:lnTo>
                      <a:pt x="364" y="73"/>
                    </a:lnTo>
                    <a:lnTo>
                      <a:pt x="366" y="74"/>
                    </a:lnTo>
                    <a:lnTo>
                      <a:pt x="369" y="74"/>
                    </a:lnTo>
                    <a:lnTo>
                      <a:pt x="371" y="76"/>
                    </a:lnTo>
                    <a:lnTo>
                      <a:pt x="374" y="76"/>
                    </a:lnTo>
                    <a:lnTo>
                      <a:pt x="375" y="76"/>
                    </a:lnTo>
                    <a:lnTo>
                      <a:pt x="379" y="77"/>
                    </a:lnTo>
                    <a:lnTo>
                      <a:pt x="380" y="76"/>
                    </a:lnTo>
                    <a:lnTo>
                      <a:pt x="382" y="76"/>
                    </a:lnTo>
                    <a:lnTo>
                      <a:pt x="384" y="78"/>
                    </a:lnTo>
                    <a:lnTo>
                      <a:pt x="387" y="77"/>
                    </a:lnTo>
                    <a:lnTo>
                      <a:pt x="387" y="76"/>
                    </a:lnTo>
                    <a:lnTo>
                      <a:pt x="389" y="75"/>
                    </a:lnTo>
                    <a:lnTo>
                      <a:pt x="390" y="72"/>
                    </a:lnTo>
                    <a:lnTo>
                      <a:pt x="393" y="73"/>
                    </a:lnTo>
                    <a:lnTo>
                      <a:pt x="397" y="72"/>
                    </a:lnTo>
                    <a:lnTo>
                      <a:pt x="397" y="70"/>
                    </a:lnTo>
                    <a:lnTo>
                      <a:pt x="401" y="67"/>
                    </a:lnTo>
                    <a:lnTo>
                      <a:pt x="401" y="64"/>
                    </a:lnTo>
                    <a:lnTo>
                      <a:pt x="403" y="64"/>
                    </a:lnTo>
                    <a:lnTo>
                      <a:pt x="403" y="62"/>
                    </a:lnTo>
                    <a:lnTo>
                      <a:pt x="404" y="61"/>
                    </a:lnTo>
                    <a:lnTo>
                      <a:pt x="404" y="59"/>
                    </a:lnTo>
                    <a:lnTo>
                      <a:pt x="407" y="59"/>
                    </a:lnTo>
                    <a:lnTo>
                      <a:pt x="409" y="60"/>
                    </a:lnTo>
                    <a:lnTo>
                      <a:pt x="415" y="63"/>
                    </a:lnTo>
                    <a:lnTo>
                      <a:pt x="415" y="61"/>
                    </a:lnTo>
                    <a:lnTo>
                      <a:pt x="417" y="59"/>
                    </a:lnTo>
                    <a:lnTo>
                      <a:pt x="418" y="60"/>
                    </a:lnTo>
                    <a:lnTo>
                      <a:pt x="419" y="60"/>
                    </a:lnTo>
                    <a:lnTo>
                      <a:pt x="420" y="59"/>
                    </a:lnTo>
                    <a:lnTo>
                      <a:pt x="422" y="67"/>
                    </a:lnTo>
                    <a:lnTo>
                      <a:pt x="426" y="73"/>
                    </a:lnTo>
                    <a:lnTo>
                      <a:pt x="427" y="79"/>
                    </a:lnTo>
                    <a:lnTo>
                      <a:pt x="431" y="85"/>
                    </a:lnTo>
                    <a:lnTo>
                      <a:pt x="429" y="92"/>
                    </a:lnTo>
                    <a:lnTo>
                      <a:pt x="430" y="98"/>
                    </a:lnTo>
                    <a:lnTo>
                      <a:pt x="436" y="102"/>
                    </a:lnTo>
                    <a:lnTo>
                      <a:pt x="436" y="110"/>
                    </a:lnTo>
                    <a:lnTo>
                      <a:pt x="440" y="116"/>
                    </a:lnTo>
                    <a:lnTo>
                      <a:pt x="440" y="122"/>
                    </a:lnTo>
                    <a:lnTo>
                      <a:pt x="452" y="130"/>
                    </a:lnTo>
                    <a:lnTo>
                      <a:pt x="459" y="133"/>
                    </a:lnTo>
                    <a:lnTo>
                      <a:pt x="466" y="134"/>
                    </a:lnTo>
                    <a:lnTo>
                      <a:pt x="471" y="139"/>
                    </a:lnTo>
                    <a:lnTo>
                      <a:pt x="457" y="142"/>
                    </a:lnTo>
                    <a:lnTo>
                      <a:pt x="452" y="147"/>
                    </a:lnTo>
                    <a:lnTo>
                      <a:pt x="446" y="168"/>
                    </a:lnTo>
                    <a:lnTo>
                      <a:pt x="446" y="172"/>
                    </a:lnTo>
                    <a:lnTo>
                      <a:pt x="440" y="176"/>
                    </a:lnTo>
                    <a:lnTo>
                      <a:pt x="433" y="177"/>
                    </a:lnTo>
                    <a:lnTo>
                      <a:pt x="426" y="176"/>
                    </a:lnTo>
                    <a:lnTo>
                      <a:pt x="420" y="173"/>
                    </a:lnTo>
                    <a:lnTo>
                      <a:pt x="417" y="166"/>
                    </a:lnTo>
                    <a:lnTo>
                      <a:pt x="417" y="160"/>
                    </a:lnTo>
                    <a:lnTo>
                      <a:pt x="411" y="156"/>
                    </a:lnTo>
                    <a:lnTo>
                      <a:pt x="407" y="150"/>
                    </a:lnTo>
                    <a:lnTo>
                      <a:pt x="400" y="153"/>
                    </a:lnTo>
                    <a:lnTo>
                      <a:pt x="393" y="153"/>
                    </a:lnTo>
                    <a:lnTo>
                      <a:pt x="386" y="150"/>
                    </a:lnTo>
                    <a:lnTo>
                      <a:pt x="379" y="151"/>
                    </a:lnTo>
                    <a:lnTo>
                      <a:pt x="372" y="153"/>
                    </a:lnTo>
                    <a:lnTo>
                      <a:pt x="366" y="149"/>
                    </a:lnTo>
                    <a:lnTo>
                      <a:pt x="359" y="147"/>
                    </a:lnTo>
                    <a:lnTo>
                      <a:pt x="354" y="151"/>
                    </a:lnTo>
                    <a:lnTo>
                      <a:pt x="346" y="153"/>
                    </a:lnTo>
                    <a:lnTo>
                      <a:pt x="340" y="151"/>
                    </a:lnTo>
                    <a:lnTo>
                      <a:pt x="334" y="146"/>
                    </a:lnTo>
                    <a:lnTo>
                      <a:pt x="320" y="145"/>
                    </a:lnTo>
                    <a:lnTo>
                      <a:pt x="313" y="142"/>
                    </a:lnTo>
                    <a:lnTo>
                      <a:pt x="307" y="142"/>
                    </a:lnTo>
                    <a:lnTo>
                      <a:pt x="292" y="145"/>
                    </a:lnTo>
                    <a:lnTo>
                      <a:pt x="285" y="143"/>
                    </a:lnTo>
                    <a:lnTo>
                      <a:pt x="274" y="135"/>
                    </a:lnTo>
                    <a:lnTo>
                      <a:pt x="267" y="139"/>
                    </a:lnTo>
                    <a:lnTo>
                      <a:pt x="260" y="139"/>
                    </a:lnTo>
                    <a:lnTo>
                      <a:pt x="253" y="136"/>
                    </a:lnTo>
                    <a:lnTo>
                      <a:pt x="239" y="139"/>
                    </a:lnTo>
                    <a:lnTo>
                      <a:pt x="230" y="149"/>
                    </a:lnTo>
                    <a:lnTo>
                      <a:pt x="227" y="155"/>
                    </a:lnTo>
                    <a:lnTo>
                      <a:pt x="221" y="151"/>
                    </a:lnTo>
                    <a:lnTo>
                      <a:pt x="217" y="146"/>
                    </a:lnTo>
                    <a:lnTo>
                      <a:pt x="206" y="136"/>
                    </a:lnTo>
                    <a:lnTo>
                      <a:pt x="199" y="134"/>
                    </a:lnTo>
                    <a:lnTo>
                      <a:pt x="186" y="139"/>
                    </a:lnTo>
                    <a:lnTo>
                      <a:pt x="186" y="146"/>
                    </a:lnTo>
                    <a:lnTo>
                      <a:pt x="187" y="153"/>
                    </a:lnTo>
                    <a:lnTo>
                      <a:pt x="186" y="166"/>
                    </a:lnTo>
                    <a:lnTo>
                      <a:pt x="182" y="179"/>
                    </a:lnTo>
                    <a:lnTo>
                      <a:pt x="184" y="185"/>
                    </a:lnTo>
                    <a:lnTo>
                      <a:pt x="194" y="197"/>
                    </a:lnTo>
                    <a:lnTo>
                      <a:pt x="200" y="199"/>
                    </a:lnTo>
                    <a:lnTo>
                      <a:pt x="204" y="205"/>
                    </a:lnTo>
                    <a:lnTo>
                      <a:pt x="207" y="211"/>
                    </a:lnTo>
                    <a:lnTo>
                      <a:pt x="210" y="217"/>
                    </a:lnTo>
                    <a:lnTo>
                      <a:pt x="215" y="223"/>
                    </a:lnTo>
                    <a:lnTo>
                      <a:pt x="215" y="230"/>
                    </a:lnTo>
                    <a:lnTo>
                      <a:pt x="215" y="237"/>
                    </a:lnTo>
                    <a:lnTo>
                      <a:pt x="218" y="243"/>
                    </a:lnTo>
                    <a:lnTo>
                      <a:pt x="239" y="252"/>
                    </a:lnTo>
                    <a:lnTo>
                      <a:pt x="243" y="257"/>
                    </a:lnTo>
                    <a:lnTo>
                      <a:pt x="246" y="264"/>
                    </a:lnTo>
                    <a:lnTo>
                      <a:pt x="248" y="270"/>
                    </a:lnTo>
                    <a:lnTo>
                      <a:pt x="260" y="287"/>
                    </a:lnTo>
                    <a:lnTo>
                      <a:pt x="270" y="297"/>
                    </a:lnTo>
                    <a:lnTo>
                      <a:pt x="277" y="300"/>
                    </a:lnTo>
                    <a:lnTo>
                      <a:pt x="283" y="303"/>
                    </a:lnTo>
                    <a:lnTo>
                      <a:pt x="288" y="308"/>
                    </a:lnTo>
                    <a:lnTo>
                      <a:pt x="290" y="314"/>
                    </a:lnTo>
                    <a:lnTo>
                      <a:pt x="293" y="321"/>
                    </a:lnTo>
                    <a:lnTo>
                      <a:pt x="298" y="327"/>
                    </a:lnTo>
                    <a:lnTo>
                      <a:pt x="305" y="329"/>
                    </a:lnTo>
                    <a:lnTo>
                      <a:pt x="308" y="335"/>
                    </a:lnTo>
                    <a:lnTo>
                      <a:pt x="313" y="340"/>
                    </a:lnTo>
                    <a:lnTo>
                      <a:pt x="326" y="345"/>
                    </a:lnTo>
                    <a:lnTo>
                      <a:pt x="329" y="352"/>
                    </a:lnTo>
                    <a:lnTo>
                      <a:pt x="333" y="358"/>
                    </a:lnTo>
                    <a:lnTo>
                      <a:pt x="333" y="365"/>
                    </a:lnTo>
                    <a:lnTo>
                      <a:pt x="335" y="372"/>
                    </a:lnTo>
                    <a:lnTo>
                      <a:pt x="325" y="381"/>
                    </a:lnTo>
                    <a:lnTo>
                      <a:pt x="325" y="379"/>
                    </a:lnTo>
                    <a:lnTo>
                      <a:pt x="317" y="375"/>
                    </a:lnTo>
                    <a:lnTo>
                      <a:pt x="318" y="374"/>
                    </a:lnTo>
                    <a:lnTo>
                      <a:pt x="322" y="376"/>
                    </a:lnTo>
                    <a:lnTo>
                      <a:pt x="321" y="375"/>
                    </a:lnTo>
                    <a:lnTo>
                      <a:pt x="317" y="373"/>
                    </a:lnTo>
                    <a:lnTo>
                      <a:pt x="314" y="373"/>
                    </a:lnTo>
                    <a:lnTo>
                      <a:pt x="311" y="369"/>
                    </a:lnTo>
                    <a:lnTo>
                      <a:pt x="311" y="367"/>
                    </a:lnTo>
                    <a:lnTo>
                      <a:pt x="310" y="367"/>
                    </a:lnTo>
                    <a:lnTo>
                      <a:pt x="310" y="366"/>
                    </a:lnTo>
                    <a:lnTo>
                      <a:pt x="313" y="364"/>
                    </a:lnTo>
                    <a:lnTo>
                      <a:pt x="308" y="366"/>
                    </a:lnTo>
                    <a:lnTo>
                      <a:pt x="310" y="364"/>
                    </a:lnTo>
                    <a:lnTo>
                      <a:pt x="308" y="364"/>
                    </a:lnTo>
                    <a:lnTo>
                      <a:pt x="307" y="361"/>
                    </a:lnTo>
                    <a:lnTo>
                      <a:pt x="307" y="363"/>
                    </a:lnTo>
                    <a:lnTo>
                      <a:pt x="305" y="363"/>
                    </a:lnTo>
                    <a:lnTo>
                      <a:pt x="300" y="355"/>
                    </a:lnTo>
                    <a:lnTo>
                      <a:pt x="296" y="353"/>
                    </a:lnTo>
                    <a:lnTo>
                      <a:pt x="294" y="351"/>
                    </a:lnTo>
                    <a:lnTo>
                      <a:pt x="288" y="349"/>
                    </a:lnTo>
                    <a:lnTo>
                      <a:pt x="286" y="347"/>
                    </a:lnTo>
                    <a:lnTo>
                      <a:pt x="284" y="346"/>
                    </a:lnTo>
                    <a:lnTo>
                      <a:pt x="282" y="343"/>
                    </a:lnTo>
                    <a:lnTo>
                      <a:pt x="280" y="343"/>
                    </a:lnTo>
                    <a:lnTo>
                      <a:pt x="277" y="338"/>
                    </a:lnTo>
                    <a:lnTo>
                      <a:pt x="275" y="337"/>
                    </a:lnTo>
                    <a:lnTo>
                      <a:pt x="275" y="336"/>
                    </a:lnTo>
                    <a:lnTo>
                      <a:pt x="269" y="329"/>
                    </a:lnTo>
                    <a:lnTo>
                      <a:pt x="267" y="328"/>
                    </a:lnTo>
                    <a:lnTo>
                      <a:pt x="265" y="325"/>
                    </a:lnTo>
                    <a:lnTo>
                      <a:pt x="255" y="324"/>
                    </a:lnTo>
                    <a:lnTo>
                      <a:pt x="252" y="323"/>
                    </a:lnTo>
                    <a:lnTo>
                      <a:pt x="249" y="321"/>
                    </a:lnTo>
                    <a:lnTo>
                      <a:pt x="246" y="321"/>
                    </a:lnTo>
                    <a:lnTo>
                      <a:pt x="242" y="319"/>
                    </a:lnTo>
                    <a:lnTo>
                      <a:pt x="237" y="314"/>
                    </a:lnTo>
                    <a:lnTo>
                      <a:pt x="235" y="314"/>
                    </a:lnTo>
                    <a:lnTo>
                      <a:pt x="227" y="314"/>
                    </a:lnTo>
                    <a:lnTo>
                      <a:pt x="229" y="313"/>
                    </a:lnTo>
                    <a:lnTo>
                      <a:pt x="230" y="312"/>
                    </a:lnTo>
                    <a:lnTo>
                      <a:pt x="233" y="311"/>
                    </a:lnTo>
                    <a:lnTo>
                      <a:pt x="229" y="310"/>
                    </a:lnTo>
                    <a:lnTo>
                      <a:pt x="223" y="309"/>
                    </a:lnTo>
                    <a:lnTo>
                      <a:pt x="220" y="310"/>
                    </a:lnTo>
                    <a:lnTo>
                      <a:pt x="219" y="312"/>
                    </a:lnTo>
                    <a:lnTo>
                      <a:pt x="210" y="313"/>
                    </a:lnTo>
                    <a:close/>
                    <a:moveTo>
                      <a:pt x="399" y="427"/>
                    </a:moveTo>
                    <a:lnTo>
                      <a:pt x="396" y="425"/>
                    </a:lnTo>
                    <a:lnTo>
                      <a:pt x="394" y="426"/>
                    </a:lnTo>
                    <a:lnTo>
                      <a:pt x="392" y="425"/>
                    </a:lnTo>
                    <a:lnTo>
                      <a:pt x="391" y="426"/>
                    </a:lnTo>
                    <a:lnTo>
                      <a:pt x="393" y="427"/>
                    </a:lnTo>
                    <a:lnTo>
                      <a:pt x="392" y="430"/>
                    </a:lnTo>
                    <a:lnTo>
                      <a:pt x="393" y="431"/>
                    </a:lnTo>
                    <a:lnTo>
                      <a:pt x="392" y="431"/>
                    </a:lnTo>
                    <a:lnTo>
                      <a:pt x="388" y="426"/>
                    </a:lnTo>
                    <a:lnTo>
                      <a:pt x="385" y="425"/>
                    </a:lnTo>
                    <a:lnTo>
                      <a:pt x="384" y="424"/>
                    </a:lnTo>
                    <a:lnTo>
                      <a:pt x="385" y="425"/>
                    </a:lnTo>
                    <a:lnTo>
                      <a:pt x="385" y="424"/>
                    </a:lnTo>
                    <a:lnTo>
                      <a:pt x="370" y="413"/>
                    </a:lnTo>
                    <a:lnTo>
                      <a:pt x="368" y="411"/>
                    </a:lnTo>
                    <a:lnTo>
                      <a:pt x="369" y="411"/>
                    </a:lnTo>
                    <a:lnTo>
                      <a:pt x="370" y="409"/>
                    </a:lnTo>
                    <a:lnTo>
                      <a:pt x="368" y="408"/>
                    </a:lnTo>
                    <a:lnTo>
                      <a:pt x="366" y="408"/>
                    </a:lnTo>
                    <a:lnTo>
                      <a:pt x="363" y="406"/>
                    </a:lnTo>
                    <a:lnTo>
                      <a:pt x="362" y="405"/>
                    </a:lnTo>
                    <a:lnTo>
                      <a:pt x="360" y="405"/>
                    </a:lnTo>
                    <a:lnTo>
                      <a:pt x="357" y="404"/>
                    </a:lnTo>
                    <a:lnTo>
                      <a:pt x="357" y="403"/>
                    </a:lnTo>
                    <a:lnTo>
                      <a:pt x="358" y="402"/>
                    </a:lnTo>
                    <a:lnTo>
                      <a:pt x="356" y="401"/>
                    </a:lnTo>
                    <a:lnTo>
                      <a:pt x="356" y="399"/>
                    </a:lnTo>
                    <a:lnTo>
                      <a:pt x="355" y="400"/>
                    </a:lnTo>
                    <a:lnTo>
                      <a:pt x="343" y="393"/>
                    </a:lnTo>
                    <a:lnTo>
                      <a:pt x="343" y="391"/>
                    </a:lnTo>
                    <a:lnTo>
                      <a:pt x="343" y="389"/>
                    </a:lnTo>
                    <a:lnTo>
                      <a:pt x="342" y="391"/>
                    </a:lnTo>
                    <a:lnTo>
                      <a:pt x="341" y="389"/>
                    </a:lnTo>
                    <a:lnTo>
                      <a:pt x="340" y="388"/>
                    </a:lnTo>
                    <a:lnTo>
                      <a:pt x="336" y="388"/>
                    </a:lnTo>
                    <a:lnTo>
                      <a:pt x="334" y="389"/>
                    </a:lnTo>
                    <a:lnTo>
                      <a:pt x="333" y="388"/>
                    </a:lnTo>
                    <a:lnTo>
                      <a:pt x="330" y="386"/>
                    </a:lnTo>
                    <a:lnTo>
                      <a:pt x="334" y="391"/>
                    </a:lnTo>
                    <a:lnTo>
                      <a:pt x="333" y="392"/>
                    </a:lnTo>
                    <a:lnTo>
                      <a:pt x="332" y="389"/>
                    </a:lnTo>
                    <a:lnTo>
                      <a:pt x="329" y="388"/>
                    </a:lnTo>
                    <a:lnTo>
                      <a:pt x="326" y="387"/>
                    </a:lnTo>
                    <a:lnTo>
                      <a:pt x="325" y="387"/>
                    </a:lnTo>
                    <a:lnTo>
                      <a:pt x="309" y="382"/>
                    </a:lnTo>
                    <a:lnTo>
                      <a:pt x="308" y="380"/>
                    </a:lnTo>
                    <a:lnTo>
                      <a:pt x="309" y="379"/>
                    </a:lnTo>
                    <a:lnTo>
                      <a:pt x="306" y="377"/>
                    </a:lnTo>
                    <a:lnTo>
                      <a:pt x="302" y="376"/>
                    </a:lnTo>
                    <a:lnTo>
                      <a:pt x="290" y="369"/>
                    </a:lnTo>
                    <a:lnTo>
                      <a:pt x="289" y="370"/>
                    </a:lnTo>
                    <a:lnTo>
                      <a:pt x="285" y="370"/>
                    </a:lnTo>
                    <a:lnTo>
                      <a:pt x="280" y="369"/>
                    </a:lnTo>
                    <a:lnTo>
                      <a:pt x="275" y="367"/>
                    </a:lnTo>
                    <a:lnTo>
                      <a:pt x="276" y="365"/>
                    </a:lnTo>
                    <a:lnTo>
                      <a:pt x="275" y="365"/>
                    </a:lnTo>
                    <a:lnTo>
                      <a:pt x="274" y="362"/>
                    </a:lnTo>
                    <a:lnTo>
                      <a:pt x="276" y="363"/>
                    </a:lnTo>
                    <a:lnTo>
                      <a:pt x="279" y="365"/>
                    </a:lnTo>
                    <a:lnTo>
                      <a:pt x="287" y="365"/>
                    </a:lnTo>
                    <a:lnTo>
                      <a:pt x="297" y="367"/>
                    </a:lnTo>
                    <a:lnTo>
                      <a:pt x="308" y="372"/>
                    </a:lnTo>
                    <a:lnTo>
                      <a:pt x="310" y="376"/>
                    </a:lnTo>
                    <a:lnTo>
                      <a:pt x="315" y="377"/>
                    </a:lnTo>
                    <a:lnTo>
                      <a:pt x="314" y="376"/>
                    </a:lnTo>
                    <a:lnTo>
                      <a:pt x="316" y="376"/>
                    </a:lnTo>
                    <a:lnTo>
                      <a:pt x="325" y="381"/>
                    </a:lnTo>
                    <a:lnTo>
                      <a:pt x="327" y="382"/>
                    </a:lnTo>
                    <a:lnTo>
                      <a:pt x="332" y="385"/>
                    </a:lnTo>
                    <a:lnTo>
                      <a:pt x="342" y="377"/>
                    </a:lnTo>
                    <a:lnTo>
                      <a:pt x="349" y="377"/>
                    </a:lnTo>
                    <a:lnTo>
                      <a:pt x="353" y="383"/>
                    </a:lnTo>
                    <a:lnTo>
                      <a:pt x="359" y="388"/>
                    </a:lnTo>
                    <a:lnTo>
                      <a:pt x="363" y="392"/>
                    </a:lnTo>
                    <a:lnTo>
                      <a:pt x="373" y="403"/>
                    </a:lnTo>
                    <a:lnTo>
                      <a:pt x="378" y="408"/>
                    </a:lnTo>
                    <a:lnTo>
                      <a:pt x="399" y="412"/>
                    </a:lnTo>
                    <a:lnTo>
                      <a:pt x="397" y="419"/>
                    </a:lnTo>
                    <a:lnTo>
                      <a:pt x="399" y="426"/>
                    </a:lnTo>
                    <a:lnTo>
                      <a:pt x="399" y="427"/>
                    </a:lnTo>
                    <a:close/>
                    <a:moveTo>
                      <a:pt x="120" y="230"/>
                    </a:moveTo>
                    <a:lnTo>
                      <a:pt x="119" y="227"/>
                    </a:lnTo>
                    <a:lnTo>
                      <a:pt x="120" y="227"/>
                    </a:lnTo>
                    <a:lnTo>
                      <a:pt x="126" y="229"/>
                    </a:lnTo>
                    <a:lnTo>
                      <a:pt x="128" y="231"/>
                    </a:lnTo>
                    <a:lnTo>
                      <a:pt x="127" y="232"/>
                    </a:lnTo>
                    <a:lnTo>
                      <a:pt x="126" y="230"/>
                    </a:lnTo>
                    <a:lnTo>
                      <a:pt x="123" y="231"/>
                    </a:lnTo>
                    <a:lnTo>
                      <a:pt x="121" y="231"/>
                    </a:lnTo>
                    <a:lnTo>
                      <a:pt x="120" y="230"/>
                    </a:lnTo>
                    <a:close/>
                    <a:moveTo>
                      <a:pt x="102" y="236"/>
                    </a:moveTo>
                    <a:lnTo>
                      <a:pt x="101" y="234"/>
                    </a:lnTo>
                    <a:lnTo>
                      <a:pt x="102" y="234"/>
                    </a:lnTo>
                    <a:lnTo>
                      <a:pt x="105" y="236"/>
                    </a:lnTo>
                    <a:lnTo>
                      <a:pt x="108" y="239"/>
                    </a:lnTo>
                    <a:lnTo>
                      <a:pt x="109" y="238"/>
                    </a:lnTo>
                    <a:lnTo>
                      <a:pt x="110" y="240"/>
                    </a:lnTo>
                    <a:lnTo>
                      <a:pt x="109" y="241"/>
                    </a:lnTo>
                    <a:lnTo>
                      <a:pt x="103" y="237"/>
                    </a:lnTo>
                    <a:lnTo>
                      <a:pt x="105" y="241"/>
                    </a:lnTo>
                    <a:lnTo>
                      <a:pt x="102" y="236"/>
                    </a:lnTo>
                    <a:close/>
                    <a:moveTo>
                      <a:pt x="125" y="253"/>
                    </a:moveTo>
                    <a:lnTo>
                      <a:pt x="126" y="255"/>
                    </a:lnTo>
                    <a:lnTo>
                      <a:pt x="127" y="257"/>
                    </a:lnTo>
                    <a:lnTo>
                      <a:pt x="129" y="259"/>
                    </a:lnTo>
                    <a:lnTo>
                      <a:pt x="130" y="262"/>
                    </a:lnTo>
                    <a:lnTo>
                      <a:pt x="128" y="260"/>
                    </a:lnTo>
                    <a:lnTo>
                      <a:pt x="123" y="256"/>
                    </a:lnTo>
                    <a:lnTo>
                      <a:pt x="123" y="253"/>
                    </a:lnTo>
                    <a:lnTo>
                      <a:pt x="125" y="253"/>
                    </a:lnTo>
                    <a:close/>
                    <a:moveTo>
                      <a:pt x="213" y="314"/>
                    </a:moveTo>
                    <a:lnTo>
                      <a:pt x="216" y="315"/>
                    </a:lnTo>
                    <a:lnTo>
                      <a:pt x="216" y="314"/>
                    </a:lnTo>
                    <a:lnTo>
                      <a:pt x="215" y="313"/>
                    </a:lnTo>
                    <a:lnTo>
                      <a:pt x="218" y="313"/>
                    </a:lnTo>
                    <a:lnTo>
                      <a:pt x="226" y="316"/>
                    </a:lnTo>
                    <a:lnTo>
                      <a:pt x="214" y="316"/>
                    </a:lnTo>
                    <a:lnTo>
                      <a:pt x="212" y="316"/>
                    </a:lnTo>
                    <a:lnTo>
                      <a:pt x="212" y="314"/>
                    </a:lnTo>
                    <a:lnTo>
                      <a:pt x="213" y="314"/>
                    </a:lnTo>
                    <a:close/>
                    <a:moveTo>
                      <a:pt x="263" y="391"/>
                    </a:moveTo>
                    <a:lnTo>
                      <a:pt x="269" y="391"/>
                    </a:lnTo>
                    <a:lnTo>
                      <a:pt x="269" y="393"/>
                    </a:lnTo>
                    <a:lnTo>
                      <a:pt x="268" y="395"/>
                    </a:lnTo>
                    <a:lnTo>
                      <a:pt x="266" y="396"/>
                    </a:lnTo>
                    <a:lnTo>
                      <a:pt x="265" y="396"/>
                    </a:lnTo>
                    <a:lnTo>
                      <a:pt x="265" y="395"/>
                    </a:lnTo>
                    <a:lnTo>
                      <a:pt x="263" y="395"/>
                    </a:lnTo>
                    <a:lnTo>
                      <a:pt x="261" y="396"/>
                    </a:lnTo>
                    <a:lnTo>
                      <a:pt x="259" y="394"/>
                    </a:lnTo>
                    <a:lnTo>
                      <a:pt x="260" y="394"/>
                    </a:lnTo>
                    <a:lnTo>
                      <a:pt x="260" y="392"/>
                    </a:lnTo>
                    <a:lnTo>
                      <a:pt x="258" y="393"/>
                    </a:lnTo>
                    <a:lnTo>
                      <a:pt x="258" y="392"/>
                    </a:lnTo>
                    <a:lnTo>
                      <a:pt x="259" y="391"/>
                    </a:lnTo>
                    <a:lnTo>
                      <a:pt x="260" y="391"/>
                    </a:lnTo>
                    <a:lnTo>
                      <a:pt x="263" y="391"/>
                    </a:lnTo>
                    <a:close/>
                    <a:moveTo>
                      <a:pt x="94" y="175"/>
                    </a:moveTo>
                    <a:lnTo>
                      <a:pt x="93" y="172"/>
                    </a:lnTo>
                    <a:lnTo>
                      <a:pt x="96" y="174"/>
                    </a:lnTo>
                    <a:lnTo>
                      <a:pt x="96" y="172"/>
                    </a:lnTo>
                    <a:lnTo>
                      <a:pt x="99" y="173"/>
                    </a:lnTo>
                    <a:lnTo>
                      <a:pt x="99" y="175"/>
                    </a:lnTo>
                    <a:lnTo>
                      <a:pt x="97" y="175"/>
                    </a:lnTo>
                    <a:lnTo>
                      <a:pt x="98" y="176"/>
                    </a:lnTo>
                    <a:lnTo>
                      <a:pt x="104" y="181"/>
                    </a:lnTo>
                    <a:lnTo>
                      <a:pt x="107" y="186"/>
                    </a:lnTo>
                    <a:lnTo>
                      <a:pt x="107" y="187"/>
                    </a:lnTo>
                    <a:lnTo>
                      <a:pt x="105" y="187"/>
                    </a:lnTo>
                    <a:lnTo>
                      <a:pt x="98" y="181"/>
                    </a:lnTo>
                    <a:lnTo>
                      <a:pt x="97" y="181"/>
                    </a:lnTo>
                    <a:lnTo>
                      <a:pt x="98" y="182"/>
                    </a:lnTo>
                    <a:lnTo>
                      <a:pt x="97" y="181"/>
                    </a:lnTo>
                    <a:lnTo>
                      <a:pt x="94" y="181"/>
                    </a:lnTo>
                    <a:lnTo>
                      <a:pt x="91" y="178"/>
                    </a:lnTo>
                    <a:lnTo>
                      <a:pt x="94" y="179"/>
                    </a:lnTo>
                    <a:lnTo>
                      <a:pt x="94" y="177"/>
                    </a:lnTo>
                    <a:lnTo>
                      <a:pt x="96" y="178"/>
                    </a:lnTo>
                    <a:lnTo>
                      <a:pt x="94" y="175"/>
                    </a:lnTo>
                    <a:close/>
                    <a:moveTo>
                      <a:pt x="67" y="193"/>
                    </a:moveTo>
                    <a:lnTo>
                      <a:pt x="66" y="187"/>
                    </a:lnTo>
                    <a:lnTo>
                      <a:pt x="68" y="188"/>
                    </a:lnTo>
                    <a:lnTo>
                      <a:pt x="70" y="189"/>
                    </a:lnTo>
                    <a:lnTo>
                      <a:pt x="70" y="183"/>
                    </a:lnTo>
                    <a:lnTo>
                      <a:pt x="68" y="183"/>
                    </a:lnTo>
                    <a:lnTo>
                      <a:pt x="68" y="179"/>
                    </a:lnTo>
                    <a:lnTo>
                      <a:pt x="68" y="176"/>
                    </a:lnTo>
                    <a:lnTo>
                      <a:pt x="65" y="175"/>
                    </a:lnTo>
                    <a:lnTo>
                      <a:pt x="65" y="172"/>
                    </a:lnTo>
                    <a:lnTo>
                      <a:pt x="64" y="169"/>
                    </a:lnTo>
                    <a:lnTo>
                      <a:pt x="64" y="168"/>
                    </a:lnTo>
                    <a:lnTo>
                      <a:pt x="62" y="166"/>
                    </a:lnTo>
                    <a:lnTo>
                      <a:pt x="62" y="163"/>
                    </a:lnTo>
                    <a:lnTo>
                      <a:pt x="64" y="162"/>
                    </a:lnTo>
                    <a:lnTo>
                      <a:pt x="66" y="165"/>
                    </a:lnTo>
                    <a:lnTo>
                      <a:pt x="68" y="166"/>
                    </a:lnTo>
                    <a:lnTo>
                      <a:pt x="70" y="166"/>
                    </a:lnTo>
                    <a:lnTo>
                      <a:pt x="70" y="165"/>
                    </a:lnTo>
                    <a:lnTo>
                      <a:pt x="70" y="164"/>
                    </a:lnTo>
                    <a:lnTo>
                      <a:pt x="70" y="162"/>
                    </a:lnTo>
                    <a:lnTo>
                      <a:pt x="70" y="161"/>
                    </a:lnTo>
                    <a:lnTo>
                      <a:pt x="71" y="162"/>
                    </a:lnTo>
                    <a:lnTo>
                      <a:pt x="68" y="157"/>
                    </a:lnTo>
                    <a:lnTo>
                      <a:pt x="67" y="156"/>
                    </a:lnTo>
                    <a:lnTo>
                      <a:pt x="68" y="153"/>
                    </a:lnTo>
                    <a:lnTo>
                      <a:pt x="67" y="152"/>
                    </a:lnTo>
                    <a:lnTo>
                      <a:pt x="64" y="149"/>
                    </a:lnTo>
                    <a:lnTo>
                      <a:pt x="62" y="147"/>
                    </a:lnTo>
                    <a:lnTo>
                      <a:pt x="61" y="146"/>
                    </a:lnTo>
                    <a:lnTo>
                      <a:pt x="61" y="143"/>
                    </a:lnTo>
                    <a:lnTo>
                      <a:pt x="64" y="138"/>
                    </a:lnTo>
                    <a:lnTo>
                      <a:pt x="68" y="139"/>
                    </a:lnTo>
                    <a:lnTo>
                      <a:pt x="68" y="140"/>
                    </a:lnTo>
                    <a:lnTo>
                      <a:pt x="68" y="142"/>
                    </a:lnTo>
                    <a:lnTo>
                      <a:pt x="67" y="144"/>
                    </a:lnTo>
                    <a:lnTo>
                      <a:pt x="69" y="151"/>
                    </a:lnTo>
                    <a:lnTo>
                      <a:pt x="73" y="158"/>
                    </a:lnTo>
                    <a:lnTo>
                      <a:pt x="76" y="159"/>
                    </a:lnTo>
                    <a:lnTo>
                      <a:pt x="77" y="160"/>
                    </a:lnTo>
                    <a:lnTo>
                      <a:pt x="76" y="162"/>
                    </a:lnTo>
                    <a:lnTo>
                      <a:pt x="74" y="169"/>
                    </a:lnTo>
                    <a:lnTo>
                      <a:pt x="76" y="177"/>
                    </a:lnTo>
                    <a:lnTo>
                      <a:pt x="76" y="178"/>
                    </a:lnTo>
                    <a:lnTo>
                      <a:pt x="74" y="179"/>
                    </a:lnTo>
                    <a:lnTo>
                      <a:pt x="77" y="182"/>
                    </a:lnTo>
                    <a:lnTo>
                      <a:pt x="77" y="183"/>
                    </a:lnTo>
                    <a:lnTo>
                      <a:pt x="76" y="185"/>
                    </a:lnTo>
                    <a:lnTo>
                      <a:pt x="76" y="188"/>
                    </a:lnTo>
                    <a:lnTo>
                      <a:pt x="79" y="191"/>
                    </a:lnTo>
                    <a:lnTo>
                      <a:pt x="79" y="192"/>
                    </a:lnTo>
                    <a:lnTo>
                      <a:pt x="79" y="194"/>
                    </a:lnTo>
                    <a:lnTo>
                      <a:pt x="80" y="195"/>
                    </a:lnTo>
                    <a:lnTo>
                      <a:pt x="81" y="194"/>
                    </a:lnTo>
                    <a:lnTo>
                      <a:pt x="81" y="195"/>
                    </a:lnTo>
                    <a:lnTo>
                      <a:pt x="80" y="197"/>
                    </a:lnTo>
                    <a:lnTo>
                      <a:pt x="78" y="196"/>
                    </a:lnTo>
                    <a:lnTo>
                      <a:pt x="79" y="197"/>
                    </a:lnTo>
                    <a:lnTo>
                      <a:pt x="78" y="198"/>
                    </a:lnTo>
                    <a:lnTo>
                      <a:pt x="75" y="196"/>
                    </a:lnTo>
                    <a:lnTo>
                      <a:pt x="71" y="190"/>
                    </a:lnTo>
                    <a:lnTo>
                      <a:pt x="70" y="189"/>
                    </a:lnTo>
                    <a:lnTo>
                      <a:pt x="70" y="194"/>
                    </a:lnTo>
                    <a:lnTo>
                      <a:pt x="70" y="195"/>
                    </a:lnTo>
                    <a:lnTo>
                      <a:pt x="71" y="198"/>
                    </a:lnTo>
                    <a:lnTo>
                      <a:pt x="77" y="205"/>
                    </a:lnTo>
                    <a:lnTo>
                      <a:pt x="80" y="208"/>
                    </a:lnTo>
                    <a:lnTo>
                      <a:pt x="81" y="209"/>
                    </a:lnTo>
                    <a:lnTo>
                      <a:pt x="81" y="211"/>
                    </a:lnTo>
                    <a:lnTo>
                      <a:pt x="79" y="211"/>
                    </a:lnTo>
                    <a:lnTo>
                      <a:pt x="78" y="209"/>
                    </a:lnTo>
                    <a:lnTo>
                      <a:pt x="74" y="207"/>
                    </a:lnTo>
                    <a:lnTo>
                      <a:pt x="74" y="205"/>
                    </a:lnTo>
                    <a:lnTo>
                      <a:pt x="76" y="205"/>
                    </a:lnTo>
                    <a:lnTo>
                      <a:pt x="73" y="202"/>
                    </a:lnTo>
                    <a:lnTo>
                      <a:pt x="71" y="201"/>
                    </a:lnTo>
                    <a:lnTo>
                      <a:pt x="71" y="202"/>
                    </a:lnTo>
                    <a:lnTo>
                      <a:pt x="70" y="203"/>
                    </a:lnTo>
                    <a:lnTo>
                      <a:pt x="68" y="202"/>
                    </a:lnTo>
                    <a:lnTo>
                      <a:pt x="68" y="199"/>
                    </a:lnTo>
                    <a:lnTo>
                      <a:pt x="70" y="199"/>
                    </a:lnTo>
                    <a:lnTo>
                      <a:pt x="69" y="196"/>
                    </a:lnTo>
                    <a:lnTo>
                      <a:pt x="67" y="193"/>
                    </a:lnTo>
                    <a:close/>
                    <a:moveTo>
                      <a:pt x="136" y="275"/>
                    </a:moveTo>
                    <a:lnTo>
                      <a:pt x="138" y="276"/>
                    </a:lnTo>
                    <a:lnTo>
                      <a:pt x="137" y="276"/>
                    </a:lnTo>
                    <a:lnTo>
                      <a:pt x="139" y="278"/>
                    </a:lnTo>
                    <a:lnTo>
                      <a:pt x="144" y="282"/>
                    </a:lnTo>
                    <a:lnTo>
                      <a:pt x="147" y="285"/>
                    </a:lnTo>
                    <a:lnTo>
                      <a:pt x="153" y="290"/>
                    </a:lnTo>
                    <a:lnTo>
                      <a:pt x="146" y="284"/>
                    </a:lnTo>
                    <a:lnTo>
                      <a:pt x="143" y="284"/>
                    </a:lnTo>
                    <a:lnTo>
                      <a:pt x="140" y="280"/>
                    </a:lnTo>
                    <a:lnTo>
                      <a:pt x="137" y="279"/>
                    </a:lnTo>
                    <a:lnTo>
                      <a:pt x="136" y="276"/>
                    </a:lnTo>
                    <a:lnTo>
                      <a:pt x="136" y="275"/>
                    </a:lnTo>
                    <a:close/>
                    <a:moveTo>
                      <a:pt x="124" y="247"/>
                    </a:moveTo>
                    <a:lnTo>
                      <a:pt x="127" y="248"/>
                    </a:lnTo>
                    <a:lnTo>
                      <a:pt x="128" y="250"/>
                    </a:lnTo>
                    <a:lnTo>
                      <a:pt x="130" y="250"/>
                    </a:lnTo>
                    <a:lnTo>
                      <a:pt x="133" y="254"/>
                    </a:lnTo>
                    <a:lnTo>
                      <a:pt x="137" y="256"/>
                    </a:lnTo>
                    <a:lnTo>
                      <a:pt x="138" y="259"/>
                    </a:lnTo>
                    <a:lnTo>
                      <a:pt x="139" y="261"/>
                    </a:lnTo>
                    <a:lnTo>
                      <a:pt x="144" y="264"/>
                    </a:lnTo>
                    <a:lnTo>
                      <a:pt x="146" y="266"/>
                    </a:lnTo>
                    <a:lnTo>
                      <a:pt x="147" y="266"/>
                    </a:lnTo>
                    <a:lnTo>
                      <a:pt x="148" y="267"/>
                    </a:lnTo>
                    <a:lnTo>
                      <a:pt x="148" y="268"/>
                    </a:lnTo>
                    <a:lnTo>
                      <a:pt x="151" y="270"/>
                    </a:lnTo>
                    <a:lnTo>
                      <a:pt x="153" y="273"/>
                    </a:lnTo>
                    <a:lnTo>
                      <a:pt x="153" y="274"/>
                    </a:lnTo>
                    <a:lnTo>
                      <a:pt x="150" y="274"/>
                    </a:lnTo>
                    <a:lnTo>
                      <a:pt x="147" y="271"/>
                    </a:lnTo>
                    <a:lnTo>
                      <a:pt x="145" y="271"/>
                    </a:lnTo>
                    <a:lnTo>
                      <a:pt x="145" y="270"/>
                    </a:lnTo>
                    <a:lnTo>
                      <a:pt x="146" y="269"/>
                    </a:lnTo>
                    <a:lnTo>
                      <a:pt x="142" y="266"/>
                    </a:lnTo>
                    <a:lnTo>
                      <a:pt x="140" y="264"/>
                    </a:lnTo>
                    <a:lnTo>
                      <a:pt x="136" y="260"/>
                    </a:lnTo>
                    <a:lnTo>
                      <a:pt x="136" y="257"/>
                    </a:lnTo>
                    <a:lnTo>
                      <a:pt x="134" y="256"/>
                    </a:lnTo>
                    <a:lnTo>
                      <a:pt x="134" y="258"/>
                    </a:lnTo>
                    <a:lnTo>
                      <a:pt x="134" y="256"/>
                    </a:lnTo>
                    <a:lnTo>
                      <a:pt x="134" y="258"/>
                    </a:lnTo>
                    <a:lnTo>
                      <a:pt x="133" y="258"/>
                    </a:lnTo>
                    <a:lnTo>
                      <a:pt x="128" y="253"/>
                    </a:lnTo>
                    <a:lnTo>
                      <a:pt x="126" y="251"/>
                    </a:lnTo>
                    <a:lnTo>
                      <a:pt x="123" y="247"/>
                    </a:lnTo>
                    <a:lnTo>
                      <a:pt x="123" y="246"/>
                    </a:lnTo>
                    <a:lnTo>
                      <a:pt x="124" y="247"/>
                    </a:lnTo>
                    <a:close/>
                    <a:moveTo>
                      <a:pt x="213" y="324"/>
                    </a:moveTo>
                    <a:lnTo>
                      <a:pt x="218" y="325"/>
                    </a:lnTo>
                    <a:lnTo>
                      <a:pt x="220" y="326"/>
                    </a:lnTo>
                    <a:lnTo>
                      <a:pt x="220" y="327"/>
                    </a:lnTo>
                    <a:lnTo>
                      <a:pt x="221" y="326"/>
                    </a:lnTo>
                    <a:lnTo>
                      <a:pt x="222" y="326"/>
                    </a:lnTo>
                    <a:lnTo>
                      <a:pt x="226" y="333"/>
                    </a:lnTo>
                    <a:lnTo>
                      <a:pt x="225" y="333"/>
                    </a:lnTo>
                    <a:lnTo>
                      <a:pt x="220" y="331"/>
                    </a:lnTo>
                    <a:lnTo>
                      <a:pt x="217" y="328"/>
                    </a:lnTo>
                    <a:lnTo>
                      <a:pt x="212" y="327"/>
                    </a:lnTo>
                    <a:lnTo>
                      <a:pt x="212" y="326"/>
                    </a:lnTo>
                    <a:lnTo>
                      <a:pt x="211" y="325"/>
                    </a:lnTo>
                    <a:lnTo>
                      <a:pt x="211" y="324"/>
                    </a:lnTo>
                    <a:lnTo>
                      <a:pt x="213" y="324"/>
                    </a:lnTo>
                    <a:close/>
                    <a:moveTo>
                      <a:pt x="98" y="189"/>
                    </a:moveTo>
                    <a:lnTo>
                      <a:pt x="108" y="201"/>
                    </a:lnTo>
                    <a:lnTo>
                      <a:pt x="109" y="201"/>
                    </a:lnTo>
                    <a:lnTo>
                      <a:pt x="108" y="198"/>
                    </a:lnTo>
                    <a:lnTo>
                      <a:pt x="110" y="197"/>
                    </a:lnTo>
                    <a:lnTo>
                      <a:pt x="115" y="201"/>
                    </a:lnTo>
                    <a:lnTo>
                      <a:pt x="115" y="202"/>
                    </a:lnTo>
                    <a:lnTo>
                      <a:pt x="117" y="205"/>
                    </a:lnTo>
                    <a:lnTo>
                      <a:pt x="121" y="207"/>
                    </a:lnTo>
                    <a:lnTo>
                      <a:pt x="123" y="211"/>
                    </a:lnTo>
                    <a:lnTo>
                      <a:pt x="120" y="209"/>
                    </a:lnTo>
                    <a:lnTo>
                      <a:pt x="119" y="209"/>
                    </a:lnTo>
                    <a:lnTo>
                      <a:pt x="118" y="209"/>
                    </a:lnTo>
                    <a:lnTo>
                      <a:pt x="119" y="208"/>
                    </a:lnTo>
                    <a:lnTo>
                      <a:pt x="115" y="206"/>
                    </a:lnTo>
                    <a:lnTo>
                      <a:pt x="114" y="205"/>
                    </a:lnTo>
                    <a:lnTo>
                      <a:pt x="111" y="204"/>
                    </a:lnTo>
                    <a:lnTo>
                      <a:pt x="111" y="205"/>
                    </a:lnTo>
                    <a:lnTo>
                      <a:pt x="114" y="206"/>
                    </a:lnTo>
                    <a:lnTo>
                      <a:pt x="123" y="217"/>
                    </a:lnTo>
                    <a:lnTo>
                      <a:pt x="125" y="219"/>
                    </a:lnTo>
                    <a:lnTo>
                      <a:pt x="122" y="215"/>
                    </a:lnTo>
                    <a:lnTo>
                      <a:pt x="121" y="211"/>
                    </a:lnTo>
                    <a:lnTo>
                      <a:pt x="127" y="215"/>
                    </a:lnTo>
                    <a:lnTo>
                      <a:pt x="128" y="217"/>
                    </a:lnTo>
                    <a:lnTo>
                      <a:pt x="131" y="220"/>
                    </a:lnTo>
                    <a:lnTo>
                      <a:pt x="132" y="223"/>
                    </a:lnTo>
                    <a:lnTo>
                      <a:pt x="134" y="222"/>
                    </a:lnTo>
                    <a:lnTo>
                      <a:pt x="136" y="225"/>
                    </a:lnTo>
                    <a:lnTo>
                      <a:pt x="137" y="226"/>
                    </a:lnTo>
                    <a:lnTo>
                      <a:pt x="137" y="227"/>
                    </a:lnTo>
                    <a:lnTo>
                      <a:pt x="132" y="223"/>
                    </a:lnTo>
                    <a:lnTo>
                      <a:pt x="131" y="223"/>
                    </a:lnTo>
                    <a:lnTo>
                      <a:pt x="136" y="227"/>
                    </a:lnTo>
                    <a:lnTo>
                      <a:pt x="134" y="228"/>
                    </a:lnTo>
                    <a:lnTo>
                      <a:pt x="135" y="229"/>
                    </a:lnTo>
                    <a:lnTo>
                      <a:pt x="128" y="227"/>
                    </a:lnTo>
                    <a:lnTo>
                      <a:pt x="128" y="228"/>
                    </a:lnTo>
                    <a:lnTo>
                      <a:pt x="131" y="230"/>
                    </a:lnTo>
                    <a:lnTo>
                      <a:pt x="131" y="231"/>
                    </a:lnTo>
                    <a:lnTo>
                      <a:pt x="128" y="230"/>
                    </a:lnTo>
                    <a:lnTo>
                      <a:pt x="126" y="227"/>
                    </a:lnTo>
                    <a:lnTo>
                      <a:pt x="126" y="226"/>
                    </a:lnTo>
                    <a:lnTo>
                      <a:pt x="125" y="223"/>
                    </a:lnTo>
                    <a:lnTo>
                      <a:pt x="126" y="222"/>
                    </a:lnTo>
                    <a:lnTo>
                      <a:pt x="126" y="221"/>
                    </a:lnTo>
                    <a:lnTo>
                      <a:pt x="123" y="220"/>
                    </a:lnTo>
                    <a:lnTo>
                      <a:pt x="123" y="221"/>
                    </a:lnTo>
                    <a:lnTo>
                      <a:pt x="120" y="221"/>
                    </a:lnTo>
                    <a:lnTo>
                      <a:pt x="120" y="218"/>
                    </a:lnTo>
                    <a:lnTo>
                      <a:pt x="116" y="214"/>
                    </a:lnTo>
                    <a:lnTo>
                      <a:pt x="110" y="211"/>
                    </a:lnTo>
                    <a:lnTo>
                      <a:pt x="110" y="210"/>
                    </a:lnTo>
                    <a:lnTo>
                      <a:pt x="111" y="209"/>
                    </a:lnTo>
                    <a:lnTo>
                      <a:pt x="110" y="206"/>
                    </a:lnTo>
                    <a:lnTo>
                      <a:pt x="108" y="205"/>
                    </a:lnTo>
                    <a:lnTo>
                      <a:pt x="108" y="203"/>
                    </a:lnTo>
                    <a:lnTo>
                      <a:pt x="107" y="201"/>
                    </a:lnTo>
                    <a:lnTo>
                      <a:pt x="105" y="200"/>
                    </a:lnTo>
                    <a:lnTo>
                      <a:pt x="98" y="191"/>
                    </a:lnTo>
                    <a:lnTo>
                      <a:pt x="97" y="188"/>
                    </a:lnTo>
                    <a:lnTo>
                      <a:pt x="98" y="189"/>
                    </a:lnTo>
                    <a:close/>
                    <a:moveTo>
                      <a:pt x="107" y="244"/>
                    </a:moveTo>
                    <a:lnTo>
                      <a:pt x="110" y="246"/>
                    </a:lnTo>
                    <a:lnTo>
                      <a:pt x="111" y="248"/>
                    </a:lnTo>
                    <a:lnTo>
                      <a:pt x="113" y="249"/>
                    </a:lnTo>
                    <a:lnTo>
                      <a:pt x="114" y="251"/>
                    </a:lnTo>
                    <a:lnTo>
                      <a:pt x="117" y="253"/>
                    </a:lnTo>
                    <a:lnTo>
                      <a:pt x="118" y="253"/>
                    </a:lnTo>
                    <a:lnTo>
                      <a:pt x="120" y="255"/>
                    </a:lnTo>
                    <a:lnTo>
                      <a:pt x="120" y="258"/>
                    </a:lnTo>
                    <a:lnTo>
                      <a:pt x="125" y="264"/>
                    </a:lnTo>
                    <a:lnTo>
                      <a:pt x="126" y="264"/>
                    </a:lnTo>
                    <a:lnTo>
                      <a:pt x="127" y="264"/>
                    </a:lnTo>
                    <a:lnTo>
                      <a:pt x="128" y="266"/>
                    </a:lnTo>
                    <a:lnTo>
                      <a:pt x="136" y="272"/>
                    </a:lnTo>
                    <a:lnTo>
                      <a:pt x="134" y="274"/>
                    </a:lnTo>
                    <a:lnTo>
                      <a:pt x="133" y="273"/>
                    </a:lnTo>
                    <a:lnTo>
                      <a:pt x="130" y="272"/>
                    </a:lnTo>
                    <a:lnTo>
                      <a:pt x="128" y="270"/>
                    </a:lnTo>
                    <a:lnTo>
                      <a:pt x="129" y="273"/>
                    </a:lnTo>
                    <a:lnTo>
                      <a:pt x="131" y="273"/>
                    </a:lnTo>
                    <a:lnTo>
                      <a:pt x="134" y="274"/>
                    </a:lnTo>
                    <a:lnTo>
                      <a:pt x="134" y="276"/>
                    </a:lnTo>
                    <a:lnTo>
                      <a:pt x="133" y="276"/>
                    </a:lnTo>
                    <a:lnTo>
                      <a:pt x="126" y="270"/>
                    </a:lnTo>
                    <a:lnTo>
                      <a:pt x="116" y="255"/>
                    </a:lnTo>
                    <a:lnTo>
                      <a:pt x="109" y="248"/>
                    </a:lnTo>
                    <a:lnTo>
                      <a:pt x="108" y="247"/>
                    </a:lnTo>
                    <a:lnTo>
                      <a:pt x="107" y="248"/>
                    </a:lnTo>
                    <a:lnTo>
                      <a:pt x="104" y="246"/>
                    </a:lnTo>
                    <a:lnTo>
                      <a:pt x="103" y="246"/>
                    </a:lnTo>
                    <a:lnTo>
                      <a:pt x="104" y="245"/>
                    </a:lnTo>
                    <a:lnTo>
                      <a:pt x="104" y="246"/>
                    </a:lnTo>
                    <a:lnTo>
                      <a:pt x="105" y="246"/>
                    </a:lnTo>
                    <a:lnTo>
                      <a:pt x="106" y="247"/>
                    </a:lnTo>
                    <a:lnTo>
                      <a:pt x="106" y="246"/>
                    </a:lnTo>
                    <a:lnTo>
                      <a:pt x="108" y="247"/>
                    </a:lnTo>
                    <a:lnTo>
                      <a:pt x="106" y="244"/>
                    </a:lnTo>
                    <a:lnTo>
                      <a:pt x="107" y="244"/>
                    </a:lnTo>
                    <a:close/>
                    <a:moveTo>
                      <a:pt x="201" y="360"/>
                    </a:moveTo>
                    <a:lnTo>
                      <a:pt x="205" y="359"/>
                    </a:lnTo>
                    <a:lnTo>
                      <a:pt x="210" y="359"/>
                    </a:lnTo>
                    <a:lnTo>
                      <a:pt x="211" y="359"/>
                    </a:lnTo>
                    <a:lnTo>
                      <a:pt x="211" y="361"/>
                    </a:lnTo>
                    <a:lnTo>
                      <a:pt x="214" y="359"/>
                    </a:lnTo>
                    <a:lnTo>
                      <a:pt x="214" y="360"/>
                    </a:lnTo>
                    <a:lnTo>
                      <a:pt x="215" y="360"/>
                    </a:lnTo>
                    <a:lnTo>
                      <a:pt x="216" y="361"/>
                    </a:lnTo>
                    <a:lnTo>
                      <a:pt x="214" y="362"/>
                    </a:lnTo>
                    <a:lnTo>
                      <a:pt x="212" y="365"/>
                    </a:lnTo>
                    <a:lnTo>
                      <a:pt x="201" y="366"/>
                    </a:lnTo>
                    <a:lnTo>
                      <a:pt x="203" y="365"/>
                    </a:lnTo>
                    <a:lnTo>
                      <a:pt x="202" y="362"/>
                    </a:lnTo>
                    <a:lnTo>
                      <a:pt x="201" y="363"/>
                    </a:lnTo>
                    <a:lnTo>
                      <a:pt x="200" y="361"/>
                    </a:lnTo>
                    <a:lnTo>
                      <a:pt x="201" y="360"/>
                    </a:lnTo>
                    <a:close/>
                    <a:moveTo>
                      <a:pt x="252" y="369"/>
                    </a:moveTo>
                    <a:lnTo>
                      <a:pt x="256" y="371"/>
                    </a:lnTo>
                    <a:lnTo>
                      <a:pt x="263" y="372"/>
                    </a:lnTo>
                    <a:lnTo>
                      <a:pt x="269" y="370"/>
                    </a:lnTo>
                    <a:lnTo>
                      <a:pt x="277" y="369"/>
                    </a:lnTo>
                    <a:lnTo>
                      <a:pt x="278" y="370"/>
                    </a:lnTo>
                    <a:lnTo>
                      <a:pt x="285" y="371"/>
                    </a:lnTo>
                    <a:lnTo>
                      <a:pt x="286" y="375"/>
                    </a:lnTo>
                    <a:lnTo>
                      <a:pt x="289" y="376"/>
                    </a:lnTo>
                    <a:lnTo>
                      <a:pt x="290" y="376"/>
                    </a:lnTo>
                    <a:lnTo>
                      <a:pt x="282" y="377"/>
                    </a:lnTo>
                    <a:lnTo>
                      <a:pt x="272" y="375"/>
                    </a:lnTo>
                    <a:lnTo>
                      <a:pt x="269" y="377"/>
                    </a:lnTo>
                    <a:lnTo>
                      <a:pt x="262" y="378"/>
                    </a:lnTo>
                    <a:lnTo>
                      <a:pt x="263" y="377"/>
                    </a:lnTo>
                    <a:lnTo>
                      <a:pt x="262" y="377"/>
                    </a:lnTo>
                    <a:lnTo>
                      <a:pt x="256" y="377"/>
                    </a:lnTo>
                    <a:lnTo>
                      <a:pt x="249" y="376"/>
                    </a:lnTo>
                    <a:lnTo>
                      <a:pt x="248" y="376"/>
                    </a:lnTo>
                    <a:lnTo>
                      <a:pt x="246" y="375"/>
                    </a:lnTo>
                    <a:lnTo>
                      <a:pt x="246" y="374"/>
                    </a:lnTo>
                    <a:lnTo>
                      <a:pt x="248" y="374"/>
                    </a:lnTo>
                    <a:lnTo>
                      <a:pt x="248" y="373"/>
                    </a:lnTo>
                    <a:lnTo>
                      <a:pt x="252" y="371"/>
                    </a:lnTo>
                    <a:lnTo>
                      <a:pt x="247" y="369"/>
                    </a:lnTo>
                    <a:lnTo>
                      <a:pt x="246" y="370"/>
                    </a:lnTo>
                    <a:lnTo>
                      <a:pt x="246" y="369"/>
                    </a:lnTo>
                    <a:lnTo>
                      <a:pt x="250" y="368"/>
                    </a:lnTo>
                    <a:lnTo>
                      <a:pt x="252" y="369"/>
                    </a:lnTo>
                    <a:close/>
                    <a:moveTo>
                      <a:pt x="306" y="390"/>
                    </a:moveTo>
                    <a:lnTo>
                      <a:pt x="310" y="390"/>
                    </a:lnTo>
                    <a:lnTo>
                      <a:pt x="319" y="394"/>
                    </a:lnTo>
                    <a:lnTo>
                      <a:pt x="321" y="394"/>
                    </a:lnTo>
                    <a:lnTo>
                      <a:pt x="320" y="395"/>
                    </a:lnTo>
                    <a:lnTo>
                      <a:pt x="326" y="395"/>
                    </a:lnTo>
                    <a:lnTo>
                      <a:pt x="331" y="398"/>
                    </a:lnTo>
                    <a:lnTo>
                      <a:pt x="332" y="400"/>
                    </a:lnTo>
                    <a:lnTo>
                      <a:pt x="331" y="400"/>
                    </a:lnTo>
                    <a:lnTo>
                      <a:pt x="331" y="399"/>
                    </a:lnTo>
                    <a:lnTo>
                      <a:pt x="329" y="400"/>
                    </a:lnTo>
                    <a:lnTo>
                      <a:pt x="329" y="398"/>
                    </a:lnTo>
                    <a:lnTo>
                      <a:pt x="323" y="397"/>
                    </a:lnTo>
                    <a:lnTo>
                      <a:pt x="313" y="395"/>
                    </a:lnTo>
                    <a:lnTo>
                      <a:pt x="310" y="394"/>
                    </a:lnTo>
                    <a:lnTo>
                      <a:pt x="308" y="394"/>
                    </a:lnTo>
                    <a:lnTo>
                      <a:pt x="304" y="391"/>
                    </a:lnTo>
                    <a:lnTo>
                      <a:pt x="304" y="393"/>
                    </a:lnTo>
                    <a:lnTo>
                      <a:pt x="303" y="393"/>
                    </a:lnTo>
                    <a:lnTo>
                      <a:pt x="300" y="391"/>
                    </a:lnTo>
                    <a:lnTo>
                      <a:pt x="299" y="389"/>
                    </a:lnTo>
                    <a:lnTo>
                      <a:pt x="304" y="388"/>
                    </a:lnTo>
                    <a:lnTo>
                      <a:pt x="305" y="389"/>
                    </a:lnTo>
                    <a:lnTo>
                      <a:pt x="303" y="389"/>
                    </a:lnTo>
                    <a:lnTo>
                      <a:pt x="306" y="390"/>
                    </a:lnTo>
                    <a:close/>
                    <a:moveTo>
                      <a:pt x="86" y="134"/>
                    </a:moveTo>
                    <a:lnTo>
                      <a:pt x="88" y="138"/>
                    </a:lnTo>
                    <a:lnTo>
                      <a:pt x="88" y="139"/>
                    </a:lnTo>
                    <a:lnTo>
                      <a:pt x="86" y="139"/>
                    </a:lnTo>
                    <a:lnTo>
                      <a:pt x="86" y="140"/>
                    </a:lnTo>
                    <a:lnTo>
                      <a:pt x="89" y="140"/>
                    </a:lnTo>
                    <a:lnTo>
                      <a:pt x="91" y="140"/>
                    </a:lnTo>
                    <a:lnTo>
                      <a:pt x="92" y="140"/>
                    </a:lnTo>
                    <a:lnTo>
                      <a:pt x="92" y="142"/>
                    </a:lnTo>
                    <a:lnTo>
                      <a:pt x="91" y="143"/>
                    </a:lnTo>
                    <a:lnTo>
                      <a:pt x="92" y="148"/>
                    </a:lnTo>
                    <a:lnTo>
                      <a:pt x="93" y="149"/>
                    </a:lnTo>
                    <a:lnTo>
                      <a:pt x="97" y="149"/>
                    </a:lnTo>
                    <a:lnTo>
                      <a:pt x="97" y="150"/>
                    </a:lnTo>
                    <a:lnTo>
                      <a:pt x="97" y="151"/>
                    </a:lnTo>
                    <a:lnTo>
                      <a:pt x="97" y="152"/>
                    </a:lnTo>
                    <a:lnTo>
                      <a:pt x="98" y="153"/>
                    </a:lnTo>
                    <a:lnTo>
                      <a:pt x="101" y="155"/>
                    </a:lnTo>
                    <a:lnTo>
                      <a:pt x="103" y="158"/>
                    </a:lnTo>
                    <a:lnTo>
                      <a:pt x="103" y="159"/>
                    </a:lnTo>
                    <a:lnTo>
                      <a:pt x="102" y="158"/>
                    </a:lnTo>
                    <a:lnTo>
                      <a:pt x="103" y="159"/>
                    </a:lnTo>
                    <a:lnTo>
                      <a:pt x="102" y="160"/>
                    </a:lnTo>
                    <a:lnTo>
                      <a:pt x="98" y="160"/>
                    </a:lnTo>
                    <a:lnTo>
                      <a:pt x="99" y="162"/>
                    </a:lnTo>
                    <a:lnTo>
                      <a:pt x="99" y="163"/>
                    </a:lnTo>
                    <a:lnTo>
                      <a:pt x="96" y="163"/>
                    </a:lnTo>
                    <a:lnTo>
                      <a:pt x="94" y="162"/>
                    </a:lnTo>
                    <a:lnTo>
                      <a:pt x="93" y="160"/>
                    </a:lnTo>
                    <a:lnTo>
                      <a:pt x="90" y="160"/>
                    </a:lnTo>
                    <a:lnTo>
                      <a:pt x="87" y="158"/>
                    </a:lnTo>
                    <a:lnTo>
                      <a:pt x="88" y="157"/>
                    </a:lnTo>
                    <a:lnTo>
                      <a:pt x="88" y="155"/>
                    </a:lnTo>
                    <a:lnTo>
                      <a:pt x="89" y="153"/>
                    </a:lnTo>
                    <a:lnTo>
                      <a:pt x="88" y="152"/>
                    </a:lnTo>
                    <a:lnTo>
                      <a:pt x="87" y="153"/>
                    </a:lnTo>
                    <a:lnTo>
                      <a:pt x="87" y="154"/>
                    </a:lnTo>
                    <a:lnTo>
                      <a:pt x="84" y="153"/>
                    </a:lnTo>
                    <a:lnTo>
                      <a:pt x="84" y="154"/>
                    </a:lnTo>
                    <a:lnTo>
                      <a:pt x="81" y="154"/>
                    </a:lnTo>
                    <a:lnTo>
                      <a:pt x="78" y="153"/>
                    </a:lnTo>
                    <a:lnTo>
                      <a:pt x="73" y="148"/>
                    </a:lnTo>
                    <a:lnTo>
                      <a:pt x="73" y="147"/>
                    </a:lnTo>
                    <a:lnTo>
                      <a:pt x="76" y="146"/>
                    </a:lnTo>
                    <a:lnTo>
                      <a:pt x="76" y="144"/>
                    </a:lnTo>
                    <a:lnTo>
                      <a:pt x="76" y="143"/>
                    </a:lnTo>
                    <a:lnTo>
                      <a:pt x="79" y="144"/>
                    </a:lnTo>
                    <a:lnTo>
                      <a:pt x="81" y="143"/>
                    </a:lnTo>
                    <a:lnTo>
                      <a:pt x="81" y="140"/>
                    </a:lnTo>
                    <a:lnTo>
                      <a:pt x="82" y="139"/>
                    </a:lnTo>
                    <a:lnTo>
                      <a:pt x="81" y="135"/>
                    </a:lnTo>
                    <a:lnTo>
                      <a:pt x="82" y="135"/>
                    </a:lnTo>
                    <a:lnTo>
                      <a:pt x="81" y="133"/>
                    </a:lnTo>
                    <a:lnTo>
                      <a:pt x="82" y="134"/>
                    </a:lnTo>
                    <a:lnTo>
                      <a:pt x="82" y="133"/>
                    </a:lnTo>
                    <a:lnTo>
                      <a:pt x="81" y="132"/>
                    </a:lnTo>
                    <a:lnTo>
                      <a:pt x="83" y="130"/>
                    </a:lnTo>
                    <a:lnTo>
                      <a:pt x="86" y="131"/>
                    </a:lnTo>
                    <a:lnTo>
                      <a:pt x="86" y="132"/>
                    </a:lnTo>
                    <a:lnTo>
                      <a:pt x="85" y="132"/>
                    </a:lnTo>
                    <a:lnTo>
                      <a:pt x="86" y="134"/>
                    </a:lnTo>
                    <a:close/>
                    <a:moveTo>
                      <a:pt x="231" y="327"/>
                    </a:moveTo>
                    <a:lnTo>
                      <a:pt x="250" y="328"/>
                    </a:lnTo>
                    <a:lnTo>
                      <a:pt x="253" y="329"/>
                    </a:lnTo>
                    <a:lnTo>
                      <a:pt x="253" y="330"/>
                    </a:lnTo>
                    <a:lnTo>
                      <a:pt x="254" y="329"/>
                    </a:lnTo>
                    <a:lnTo>
                      <a:pt x="256" y="329"/>
                    </a:lnTo>
                    <a:lnTo>
                      <a:pt x="259" y="331"/>
                    </a:lnTo>
                    <a:lnTo>
                      <a:pt x="258" y="331"/>
                    </a:lnTo>
                    <a:lnTo>
                      <a:pt x="261" y="332"/>
                    </a:lnTo>
                    <a:lnTo>
                      <a:pt x="262" y="333"/>
                    </a:lnTo>
                    <a:lnTo>
                      <a:pt x="263" y="333"/>
                    </a:lnTo>
                    <a:lnTo>
                      <a:pt x="265" y="334"/>
                    </a:lnTo>
                    <a:lnTo>
                      <a:pt x="265" y="336"/>
                    </a:lnTo>
                    <a:lnTo>
                      <a:pt x="262" y="339"/>
                    </a:lnTo>
                    <a:lnTo>
                      <a:pt x="245" y="340"/>
                    </a:lnTo>
                    <a:lnTo>
                      <a:pt x="236" y="338"/>
                    </a:lnTo>
                    <a:lnTo>
                      <a:pt x="228" y="334"/>
                    </a:lnTo>
                    <a:lnTo>
                      <a:pt x="228" y="333"/>
                    </a:lnTo>
                    <a:lnTo>
                      <a:pt x="229" y="333"/>
                    </a:lnTo>
                    <a:lnTo>
                      <a:pt x="230" y="333"/>
                    </a:lnTo>
                    <a:lnTo>
                      <a:pt x="230" y="332"/>
                    </a:lnTo>
                    <a:lnTo>
                      <a:pt x="230" y="331"/>
                    </a:lnTo>
                    <a:lnTo>
                      <a:pt x="231" y="331"/>
                    </a:lnTo>
                    <a:lnTo>
                      <a:pt x="229" y="327"/>
                    </a:lnTo>
                    <a:lnTo>
                      <a:pt x="231" y="327"/>
                    </a:lnTo>
                    <a:close/>
                    <a:moveTo>
                      <a:pt x="226" y="347"/>
                    </a:moveTo>
                    <a:lnTo>
                      <a:pt x="228" y="347"/>
                    </a:lnTo>
                    <a:lnTo>
                      <a:pt x="229" y="347"/>
                    </a:lnTo>
                    <a:lnTo>
                      <a:pt x="233" y="345"/>
                    </a:lnTo>
                    <a:lnTo>
                      <a:pt x="236" y="345"/>
                    </a:lnTo>
                    <a:lnTo>
                      <a:pt x="239" y="349"/>
                    </a:lnTo>
                    <a:lnTo>
                      <a:pt x="241" y="348"/>
                    </a:lnTo>
                    <a:lnTo>
                      <a:pt x="242" y="348"/>
                    </a:lnTo>
                    <a:lnTo>
                      <a:pt x="239" y="345"/>
                    </a:lnTo>
                    <a:lnTo>
                      <a:pt x="238" y="345"/>
                    </a:lnTo>
                    <a:lnTo>
                      <a:pt x="236" y="344"/>
                    </a:lnTo>
                    <a:lnTo>
                      <a:pt x="237" y="343"/>
                    </a:lnTo>
                    <a:lnTo>
                      <a:pt x="239" y="344"/>
                    </a:lnTo>
                    <a:lnTo>
                      <a:pt x="239" y="343"/>
                    </a:lnTo>
                    <a:lnTo>
                      <a:pt x="240" y="345"/>
                    </a:lnTo>
                    <a:lnTo>
                      <a:pt x="241" y="345"/>
                    </a:lnTo>
                    <a:lnTo>
                      <a:pt x="247" y="345"/>
                    </a:lnTo>
                    <a:lnTo>
                      <a:pt x="248" y="347"/>
                    </a:lnTo>
                    <a:lnTo>
                      <a:pt x="250" y="348"/>
                    </a:lnTo>
                    <a:lnTo>
                      <a:pt x="250" y="349"/>
                    </a:lnTo>
                    <a:lnTo>
                      <a:pt x="252" y="351"/>
                    </a:lnTo>
                    <a:lnTo>
                      <a:pt x="255" y="350"/>
                    </a:lnTo>
                    <a:lnTo>
                      <a:pt x="259" y="351"/>
                    </a:lnTo>
                    <a:lnTo>
                      <a:pt x="263" y="351"/>
                    </a:lnTo>
                    <a:lnTo>
                      <a:pt x="263" y="350"/>
                    </a:lnTo>
                    <a:lnTo>
                      <a:pt x="265" y="351"/>
                    </a:lnTo>
                    <a:lnTo>
                      <a:pt x="268" y="351"/>
                    </a:lnTo>
                    <a:lnTo>
                      <a:pt x="277" y="353"/>
                    </a:lnTo>
                    <a:lnTo>
                      <a:pt x="286" y="353"/>
                    </a:lnTo>
                    <a:lnTo>
                      <a:pt x="289" y="354"/>
                    </a:lnTo>
                    <a:lnTo>
                      <a:pt x="278" y="355"/>
                    </a:lnTo>
                    <a:lnTo>
                      <a:pt x="255" y="354"/>
                    </a:lnTo>
                    <a:lnTo>
                      <a:pt x="247" y="355"/>
                    </a:lnTo>
                    <a:lnTo>
                      <a:pt x="239" y="352"/>
                    </a:lnTo>
                    <a:lnTo>
                      <a:pt x="238" y="352"/>
                    </a:lnTo>
                    <a:lnTo>
                      <a:pt x="233" y="350"/>
                    </a:lnTo>
                    <a:lnTo>
                      <a:pt x="231" y="350"/>
                    </a:lnTo>
                    <a:lnTo>
                      <a:pt x="225" y="347"/>
                    </a:lnTo>
                    <a:lnTo>
                      <a:pt x="226" y="347"/>
                    </a:lnTo>
                    <a:close/>
                  </a:path>
                </a:pathLst>
              </a:custGeom>
              <a:solidFill>
                <a:srgbClr val="E7E7E4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53" name="Netherlands">
                <a:extLst>
                  <a:ext uri="{FF2B5EF4-FFF2-40B4-BE49-F238E27FC236}">
                    <a16:creationId xmlns:a16="http://schemas.microsoft.com/office/drawing/2014/main" id="{D80C019B-4FD5-43BD-B893-23D7878D64CE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4132627" y="3079377"/>
                <a:ext cx="336787" cy="375063"/>
              </a:xfrm>
              <a:custGeom>
                <a:avLst/>
                <a:gdLst>
                  <a:gd name="T0" fmla="*/ 42 w 301"/>
                  <a:gd name="T1" fmla="*/ 182 h 292"/>
                  <a:gd name="T2" fmla="*/ 51 w 301"/>
                  <a:gd name="T3" fmla="*/ 162 h 292"/>
                  <a:gd name="T4" fmla="*/ 95 w 301"/>
                  <a:gd name="T5" fmla="*/ 110 h 292"/>
                  <a:gd name="T6" fmla="*/ 113 w 301"/>
                  <a:gd name="T7" fmla="*/ 61 h 292"/>
                  <a:gd name="T8" fmla="*/ 138 w 301"/>
                  <a:gd name="T9" fmla="*/ 73 h 292"/>
                  <a:gd name="T10" fmla="*/ 148 w 301"/>
                  <a:gd name="T11" fmla="*/ 87 h 292"/>
                  <a:gd name="T12" fmla="*/ 135 w 301"/>
                  <a:gd name="T13" fmla="*/ 107 h 292"/>
                  <a:gd name="T14" fmla="*/ 127 w 301"/>
                  <a:gd name="T15" fmla="*/ 121 h 292"/>
                  <a:gd name="T16" fmla="*/ 171 w 301"/>
                  <a:gd name="T17" fmla="*/ 130 h 292"/>
                  <a:gd name="T18" fmla="*/ 195 w 301"/>
                  <a:gd name="T19" fmla="*/ 99 h 292"/>
                  <a:gd name="T20" fmla="*/ 180 w 301"/>
                  <a:gd name="T21" fmla="*/ 70 h 292"/>
                  <a:gd name="T22" fmla="*/ 160 w 301"/>
                  <a:gd name="T23" fmla="*/ 60 h 292"/>
                  <a:gd name="T24" fmla="*/ 165 w 301"/>
                  <a:gd name="T25" fmla="*/ 30 h 292"/>
                  <a:gd name="T26" fmla="*/ 237 w 301"/>
                  <a:gd name="T27" fmla="*/ 10 h 292"/>
                  <a:gd name="T28" fmla="*/ 291 w 301"/>
                  <a:gd name="T29" fmla="*/ 22 h 292"/>
                  <a:gd name="T30" fmla="*/ 300 w 301"/>
                  <a:gd name="T31" fmla="*/ 48 h 292"/>
                  <a:gd name="T32" fmla="*/ 278 w 301"/>
                  <a:gd name="T33" fmla="*/ 93 h 292"/>
                  <a:gd name="T34" fmla="*/ 261 w 301"/>
                  <a:gd name="T35" fmla="*/ 109 h 292"/>
                  <a:gd name="T36" fmla="*/ 287 w 301"/>
                  <a:gd name="T37" fmla="*/ 130 h 292"/>
                  <a:gd name="T38" fmla="*/ 260 w 301"/>
                  <a:gd name="T39" fmla="*/ 156 h 292"/>
                  <a:gd name="T40" fmla="*/ 243 w 301"/>
                  <a:gd name="T41" fmla="*/ 176 h 292"/>
                  <a:gd name="T42" fmla="*/ 220 w 301"/>
                  <a:gd name="T43" fmla="*/ 176 h 292"/>
                  <a:gd name="T44" fmla="*/ 205 w 301"/>
                  <a:gd name="T45" fmla="*/ 184 h 292"/>
                  <a:gd name="T46" fmla="*/ 215 w 301"/>
                  <a:gd name="T47" fmla="*/ 203 h 292"/>
                  <a:gd name="T48" fmla="*/ 221 w 301"/>
                  <a:gd name="T49" fmla="*/ 231 h 292"/>
                  <a:gd name="T50" fmla="*/ 219 w 301"/>
                  <a:gd name="T51" fmla="*/ 249 h 292"/>
                  <a:gd name="T52" fmla="*/ 198 w 301"/>
                  <a:gd name="T53" fmla="*/ 266 h 292"/>
                  <a:gd name="T54" fmla="*/ 209 w 301"/>
                  <a:gd name="T55" fmla="*/ 282 h 292"/>
                  <a:gd name="T56" fmla="*/ 198 w 301"/>
                  <a:gd name="T57" fmla="*/ 292 h 292"/>
                  <a:gd name="T58" fmla="*/ 179 w 301"/>
                  <a:gd name="T59" fmla="*/ 284 h 292"/>
                  <a:gd name="T60" fmla="*/ 189 w 301"/>
                  <a:gd name="T61" fmla="*/ 263 h 292"/>
                  <a:gd name="T62" fmla="*/ 190 w 301"/>
                  <a:gd name="T63" fmla="*/ 249 h 292"/>
                  <a:gd name="T64" fmla="*/ 160 w 301"/>
                  <a:gd name="T65" fmla="*/ 237 h 292"/>
                  <a:gd name="T66" fmla="*/ 136 w 301"/>
                  <a:gd name="T67" fmla="*/ 220 h 292"/>
                  <a:gd name="T68" fmla="*/ 111 w 301"/>
                  <a:gd name="T69" fmla="*/ 220 h 292"/>
                  <a:gd name="T70" fmla="*/ 102 w 301"/>
                  <a:gd name="T71" fmla="*/ 221 h 292"/>
                  <a:gd name="T72" fmla="*/ 84 w 301"/>
                  <a:gd name="T73" fmla="*/ 227 h 292"/>
                  <a:gd name="T74" fmla="*/ 52 w 301"/>
                  <a:gd name="T75" fmla="*/ 219 h 292"/>
                  <a:gd name="T76" fmla="*/ 13 w 301"/>
                  <a:gd name="T77" fmla="*/ 217 h 292"/>
                  <a:gd name="T78" fmla="*/ 42 w 301"/>
                  <a:gd name="T79" fmla="*/ 205 h 292"/>
                  <a:gd name="T80" fmla="*/ 71 w 301"/>
                  <a:gd name="T81" fmla="*/ 219 h 292"/>
                  <a:gd name="T82" fmla="*/ 56 w 301"/>
                  <a:gd name="T83" fmla="*/ 201 h 292"/>
                  <a:gd name="T84" fmla="*/ 58 w 301"/>
                  <a:gd name="T85" fmla="*/ 197 h 292"/>
                  <a:gd name="T86" fmla="*/ 27 w 301"/>
                  <a:gd name="T87" fmla="*/ 195 h 292"/>
                  <a:gd name="T88" fmla="*/ 51 w 301"/>
                  <a:gd name="T89" fmla="*/ 193 h 292"/>
                  <a:gd name="T90" fmla="*/ 120 w 301"/>
                  <a:gd name="T91" fmla="*/ 32 h 292"/>
                  <a:gd name="T92" fmla="*/ 203 w 301"/>
                  <a:gd name="T93" fmla="*/ 6 h 292"/>
                  <a:gd name="T94" fmla="*/ 172 w 301"/>
                  <a:gd name="T95" fmla="*/ 9 h 292"/>
                  <a:gd name="T96" fmla="*/ 146 w 301"/>
                  <a:gd name="T97" fmla="*/ 12 h 292"/>
                  <a:gd name="T98" fmla="*/ 121 w 301"/>
                  <a:gd name="T99" fmla="*/ 44 h 292"/>
                  <a:gd name="T100" fmla="*/ 119 w 301"/>
                  <a:gd name="T101" fmla="*/ 35 h 292"/>
                  <a:gd name="T102" fmla="*/ 230 w 301"/>
                  <a:gd name="T103" fmla="*/ 0 h 292"/>
                  <a:gd name="T104" fmla="*/ 178 w 301"/>
                  <a:gd name="T105" fmla="*/ 119 h 292"/>
                  <a:gd name="T106" fmla="*/ 139 w 301"/>
                  <a:gd name="T107" fmla="*/ 123 h 292"/>
                  <a:gd name="T108" fmla="*/ 193 w 301"/>
                  <a:gd name="T109" fmla="*/ 101 h 292"/>
                  <a:gd name="T110" fmla="*/ 43 w 301"/>
                  <a:gd name="T111" fmla="*/ 227 h 292"/>
                  <a:gd name="T112" fmla="*/ 66 w 301"/>
                  <a:gd name="T113" fmla="*/ 226 h 292"/>
                  <a:gd name="T114" fmla="*/ 41 w 301"/>
                  <a:gd name="T115" fmla="*/ 243 h 292"/>
                  <a:gd name="T116" fmla="*/ 2 w 301"/>
                  <a:gd name="T117" fmla="*/ 237 h 292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301"/>
                  <a:gd name="T178" fmla="*/ 0 h 292"/>
                  <a:gd name="T179" fmla="*/ 301 w 301"/>
                  <a:gd name="T180" fmla="*/ 292 h 292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301" h="292">
                    <a:moveTo>
                      <a:pt x="63" y="193"/>
                    </a:moveTo>
                    <a:lnTo>
                      <a:pt x="63" y="192"/>
                    </a:lnTo>
                    <a:lnTo>
                      <a:pt x="60" y="191"/>
                    </a:lnTo>
                    <a:lnTo>
                      <a:pt x="55" y="191"/>
                    </a:lnTo>
                    <a:lnTo>
                      <a:pt x="54" y="185"/>
                    </a:lnTo>
                    <a:lnTo>
                      <a:pt x="52" y="184"/>
                    </a:lnTo>
                    <a:lnTo>
                      <a:pt x="52" y="183"/>
                    </a:lnTo>
                    <a:lnTo>
                      <a:pt x="52" y="182"/>
                    </a:lnTo>
                    <a:lnTo>
                      <a:pt x="48" y="181"/>
                    </a:lnTo>
                    <a:lnTo>
                      <a:pt x="44" y="182"/>
                    </a:lnTo>
                    <a:lnTo>
                      <a:pt x="42" y="182"/>
                    </a:lnTo>
                    <a:lnTo>
                      <a:pt x="41" y="183"/>
                    </a:lnTo>
                    <a:lnTo>
                      <a:pt x="40" y="183"/>
                    </a:lnTo>
                    <a:lnTo>
                      <a:pt x="39" y="180"/>
                    </a:lnTo>
                    <a:lnTo>
                      <a:pt x="41" y="178"/>
                    </a:lnTo>
                    <a:lnTo>
                      <a:pt x="50" y="177"/>
                    </a:lnTo>
                    <a:lnTo>
                      <a:pt x="54" y="178"/>
                    </a:lnTo>
                    <a:lnTo>
                      <a:pt x="56" y="177"/>
                    </a:lnTo>
                    <a:lnTo>
                      <a:pt x="52" y="172"/>
                    </a:lnTo>
                    <a:lnTo>
                      <a:pt x="54" y="169"/>
                    </a:lnTo>
                    <a:lnTo>
                      <a:pt x="52" y="168"/>
                    </a:lnTo>
                    <a:lnTo>
                      <a:pt x="51" y="162"/>
                    </a:lnTo>
                    <a:lnTo>
                      <a:pt x="52" y="161"/>
                    </a:lnTo>
                    <a:lnTo>
                      <a:pt x="59" y="162"/>
                    </a:lnTo>
                    <a:lnTo>
                      <a:pt x="62" y="160"/>
                    </a:lnTo>
                    <a:lnTo>
                      <a:pt x="68" y="151"/>
                    </a:lnTo>
                    <a:lnTo>
                      <a:pt x="78" y="142"/>
                    </a:lnTo>
                    <a:lnTo>
                      <a:pt x="81" y="138"/>
                    </a:lnTo>
                    <a:lnTo>
                      <a:pt x="84" y="133"/>
                    </a:lnTo>
                    <a:lnTo>
                      <a:pt x="89" y="124"/>
                    </a:lnTo>
                    <a:lnTo>
                      <a:pt x="94" y="113"/>
                    </a:lnTo>
                    <a:lnTo>
                      <a:pt x="97" y="110"/>
                    </a:lnTo>
                    <a:lnTo>
                      <a:pt x="95" y="110"/>
                    </a:lnTo>
                    <a:lnTo>
                      <a:pt x="97" y="106"/>
                    </a:lnTo>
                    <a:lnTo>
                      <a:pt x="99" y="97"/>
                    </a:lnTo>
                    <a:lnTo>
                      <a:pt x="101" y="81"/>
                    </a:lnTo>
                    <a:lnTo>
                      <a:pt x="106" y="68"/>
                    </a:lnTo>
                    <a:lnTo>
                      <a:pt x="107" y="59"/>
                    </a:lnTo>
                    <a:lnTo>
                      <a:pt x="112" y="58"/>
                    </a:lnTo>
                    <a:lnTo>
                      <a:pt x="113" y="59"/>
                    </a:lnTo>
                    <a:lnTo>
                      <a:pt x="114" y="58"/>
                    </a:lnTo>
                    <a:lnTo>
                      <a:pt x="114" y="60"/>
                    </a:lnTo>
                    <a:lnTo>
                      <a:pt x="113" y="61"/>
                    </a:lnTo>
                    <a:lnTo>
                      <a:pt x="114" y="63"/>
                    </a:lnTo>
                    <a:lnTo>
                      <a:pt x="119" y="65"/>
                    </a:lnTo>
                    <a:lnTo>
                      <a:pt x="124" y="64"/>
                    </a:lnTo>
                    <a:lnTo>
                      <a:pt x="126" y="62"/>
                    </a:lnTo>
                    <a:lnTo>
                      <a:pt x="133" y="60"/>
                    </a:lnTo>
                    <a:lnTo>
                      <a:pt x="131" y="62"/>
                    </a:lnTo>
                    <a:lnTo>
                      <a:pt x="132" y="63"/>
                    </a:lnTo>
                    <a:lnTo>
                      <a:pt x="133" y="64"/>
                    </a:lnTo>
                    <a:lnTo>
                      <a:pt x="135" y="65"/>
                    </a:lnTo>
                    <a:lnTo>
                      <a:pt x="137" y="70"/>
                    </a:lnTo>
                    <a:lnTo>
                      <a:pt x="138" y="73"/>
                    </a:lnTo>
                    <a:lnTo>
                      <a:pt x="137" y="77"/>
                    </a:lnTo>
                    <a:lnTo>
                      <a:pt x="138" y="80"/>
                    </a:lnTo>
                    <a:lnTo>
                      <a:pt x="140" y="81"/>
                    </a:lnTo>
                    <a:lnTo>
                      <a:pt x="141" y="81"/>
                    </a:lnTo>
                    <a:lnTo>
                      <a:pt x="144" y="80"/>
                    </a:lnTo>
                    <a:lnTo>
                      <a:pt x="150" y="81"/>
                    </a:lnTo>
                    <a:lnTo>
                      <a:pt x="151" y="82"/>
                    </a:lnTo>
                    <a:lnTo>
                      <a:pt x="151" y="85"/>
                    </a:lnTo>
                    <a:lnTo>
                      <a:pt x="152" y="85"/>
                    </a:lnTo>
                    <a:lnTo>
                      <a:pt x="150" y="87"/>
                    </a:lnTo>
                    <a:lnTo>
                      <a:pt x="148" y="87"/>
                    </a:lnTo>
                    <a:lnTo>
                      <a:pt x="147" y="90"/>
                    </a:lnTo>
                    <a:lnTo>
                      <a:pt x="143" y="93"/>
                    </a:lnTo>
                    <a:lnTo>
                      <a:pt x="139" y="94"/>
                    </a:lnTo>
                    <a:lnTo>
                      <a:pt x="136" y="92"/>
                    </a:lnTo>
                    <a:lnTo>
                      <a:pt x="134" y="93"/>
                    </a:lnTo>
                    <a:lnTo>
                      <a:pt x="132" y="92"/>
                    </a:lnTo>
                    <a:lnTo>
                      <a:pt x="130" y="93"/>
                    </a:lnTo>
                    <a:lnTo>
                      <a:pt x="130" y="95"/>
                    </a:lnTo>
                    <a:lnTo>
                      <a:pt x="132" y="99"/>
                    </a:lnTo>
                    <a:lnTo>
                      <a:pt x="133" y="101"/>
                    </a:lnTo>
                    <a:lnTo>
                      <a:pt x="135" y="107"/>
                    </a:lnTo>
                    <a:lnTo>
                      <a:pt x="134" y="109"/>
                    </a:lnTo>
                    <a:lnTo>
                      <a:pt x="134" y="111"/>
                    </a:lnTo>
                    <a:lnTo>
                      <a:pt x="132" y="111"/>
                    </a:lnTo>
                    <a:lnTo>
                      <a:pt x="133" y="111"/>
                    </a:lnTo>
                    <a:lnTo>
                      <a:pt x="133" y="113"/>
                    </a:lnTo>
                    <a:lnTo>
                      <a:pt x="135" y="114"/>
                    </a:lnTo>
                    <a:lnTo>
                      <a:pt x="134" y="116"/>
                    </a:lnTo>
                    <a:lnTo>
                      <a:pt x="132" y="117"/>
                    </a:lnTo>
                    <a:lnTo>
                      <a:pt x="130" y="120"/>
                    </a:lnTo>
                    <a:lnTo>
                      <a:pt x="126" y="120"/>
                    </a:lnTo>
                    <a:lnTo>
                      <a:pt x="127" y="121"/>
                    </a:lnTo>
                    <a:lnTo>
                      <a:pt x="126" y="121"/>
                    </a:lnTo>
                    <a:lnTo>
                      <a:pt x="132" y="124"/>
                    </a:lnTo>
                    <a:lnTo>
                      <a:pt x="135" y="124"/>
                    </a:lnTo>
                    <a:lnTo>
                      <a:pt x="141" y="127"/>
                    </a:lnTo>
                    <a:lnTo>
                      <a:pt x="147" y="127"/>
                    </a:lnTo>
                    <a:lnTo>
                      <a:pt x="152" y="129"/>
                    </a:lnTo>
                    <a:lnTo>
                      <a:pt x="153" y="131"/>
                    </a:lnTo>
                    <a:lnTo>
                      <a:pt x="157" y="131"/>
                    </a:lnTo>
                    <a:lnTo>
                      <a:pt x="161" y="133"/>
                    </a:lnTo>
                    <a:lnTo>
                      <a:pt x="170" y="132"/>
                    </a:lnTo>
                    <a:lnTo>
                      <a:pt x="171" y="130"/>
                    </a:lnTo>
                    <a:lnTo>
                      <a:pt x="173" y="126"/>
                    </a:lnTo>
                    <a:lnTo>
                      <a:pt x="176" y="124"/>
                    </a:lnTo>
                    <a:lnTo>
                      <a:pt x="177" y="123"/>
                    </a:lnTo>
                    <a:lnTo>
                      <a:pt x="188" y="117"/>
                    </a:lnTo>
                    <a:lnTo>
                      <a:pt x="192" y="114"/>
                    </a:lnTo>
                    <a:lnTo>
                      <a:pt x="194" y="111"/>
                    </a:lnTo>
                    <a:lnTo>
                      <a:pt x="197" y="106"/>
                    </a:lnTo>
                    <a:lnTo>
                      <a:pt x="196" y="102"/>
                    </a:lnTo>
                    <a:lnTo>
                      <a:pt x="194" y="100"/>
                    </a:lnTo>
                    <a:lnTo>
                      <a:pt x="192" y="99"/>
                    </a:lnTo>
                    <a:lnTo>
                      <a:pt x="195" y="99"/>
                    </a:lnTo>
                    <a:lnTo>
                      <a:pt x="196" y="98"/>
                    </a:lnTo>
                    <a:lnTo>
                      <a:pt x="194" y="99"/>
                    </a:lnTo>
                    <a:lnTo>
                      <a:pt x="195" y="96"/>
                    </a:lnTo>
                    <a:lnTo>
                      <a:pt x="180" y="96"/>
                    </a:lnTo>
                    <a:lnTo>
                      <a:pt x="175" y="91"/>
                    </a:lnTo>
                    <a:lnTo>
                      <a:pt x="175" y="80"/>
                    </a:lnTo>
                    <a:lnTo>
                      <a:pt x="180" y="73"/>
                    </a:lnTo>
                    <a:lnTo>
                      <a:pt x="184" y="72"/>
                    </a:lnTo>
                    <a:lnTo>
                      <a:pt x="184" y="71"/>
                    </a:lnTo>
                    <a:lnTo>
                      <a:pt x="180" y="71"/>
                    </a:lnTo>
                    <a:lnTo>
                      <a:pt x="180" y="70"/>
                    </a:lnTo>
                    <a:lnTo>
                      <a:pt x="179" y="70"/>
                    </a:lnTo>
                    <a:lnTo>
                      <a:pt x="175" y="70"/>
                    </a:lnTo>
                    <a:lnTo>
                      <a:pt x="174" y="72"/>
                    </a:lnTo>
                    <a:lnTo>
                      <a:pt x="172" y="72"/>
                    </a:lnTo>
                    <a:lnTo>
                      <a:pt x="165" y="70"/>
                    </a:lnTo>
                    <a:lnTo>
                      <a:pt x="161" y="70"/>
                    </a:lnTo>
                    <a:lnTo>
                      <a:pt x="157" y="67"/>
                    </a:lnTo>
                    <a:lnTo>
                      <a:pt x="156" y="66"/>
                    </a:lnTo>
                    <a:lnTo>
                      <a:pt x="157" y="65"/>
                    </a:lnTo>
                    <a:lnTo>
                      <a:pt x="160" y="64"/>
                    </a:lnTo>
                    <a:lnTo>
                      <a:pt x="160" y="60"/>
                    </a:lnTo>
                    <a:lnTo>
                      <a:pt x="161" y="60"/>
                    </a:lnTo>
                    <a:lnTo>
                      <a:pt x="161" y="58"/>
                    </a:lnTo>
                    <a:lnTo>
                      <a:pt x="160" y="55"/>
                    </a:lnTo>
                    <a:lnTo>
                      <a:pt x="160" y="51"/>
                    </a:lnTo>
                    <a:lnTo>
                      <a:pt x="159" y="50"/>
                    </a:lnTo>
                    <a:lnTo>
                      <a:pt x="157" y="46"/>
                    </a:lnTo>
                    <a:lnTo>
                      <a:pt x="158" y="44"/>
                    </a:lnTo>
                    <a:lnTo>
                      <a:pt x="160" y="40"/>
                    </a:lnTo>
                    <a:lnTo>
                      <a:pt x="161" y="36"/>
                    </a:lnTo>
                    <a:lnTo>
                      <a:pt x="163" y="32"/>
                    </a:lnTo>
                    <a:lnTo>
                      <a:pt x="165" y="30"/>
                    </a:lnTo>
                    <a:lnTo>
                      <a:pt x="171" y="26"/>
                    </a:lnTo>
                    <a:lnTo>
                      <a:pt x="173" y="24"/>
                    </a:lnTo>
                    <a:lnTo>
                      <a:pt x="177" y="22"/>
                    </a:lnTo>
                    <a:lnTo>
                      <a:pt x="179" y="22"/>
                    </a:lnTo>
                    <a:lnTo>
                      <a:pt x="198" y="14"/>
                    </a:lnTo>
                    <a:lnTo>
                      <a:pt x="199" y="14"/>
                    </a:lnTo>
                    <a:lnTo>
                      <a:pt x="213" y="11"/>
                    </a:lnTo>
                    <a:lnTo>
                      <a:pt x="217" y="12"/>
                    </a:lnTo>
                    <a:lnTo>
                      <a:pt x="225" y="10"/>
                    </a:lnTo>
                    <a:lnTo>
                      <a:pt x="230" y="13"/>
                    </a:lnTo>
                    <a:lnTo>
                      <a:pt x="237" y="10"/>
                    </a:lnTo>
                    <a:lnTo>
                      <a:pt x="251" y="8"/>
                    </a:lnTo>
                    <a:lnTo>
                      <a:pt x="261" y="6"/>
                    </a:lnTo>
                    <a:lnTo>
                      <a:pt x="264" y="6"/>
                    </a:lnTo>
                    <a:lnTo>
                      <a:pt x="274" y="9"/>
                    </a:lnTo>
                    <a:lnTo>
                      <a:pt x="274" y="10"/>
                    </a:lnTo>
                    <a:lnTo>
                      <a:pt x="275" y="12"/>
                    </a:lnTo>
                    <a:lnTo>
                      <a:pt x="277" y="18"/>
                    </a:lnTo>
                    <a:lnTo>
                      <a:pt x="279" y="18"/>
                    </a:lnTo>
                    <a:lnTo>
                      <a:pt x="280" y="20"/>
                    </a:lnTo>
                    <a:lnTo>
                      <a:pt x="288" y="23"/>
                    </a:lnTo>
                    <a:lnTo>
                      <a:pt x="291" y="22"/>
                    </a:lnTo>
                    <a:lnTo>
                      <a:pt x="290" y="24"/>
                    </a:lnTo>
                    <a:lnTo>
                      <a:pt x="291" y="27"/>
                    </a:lnTo>
                    <a:lnTo>
                      <a:pt x="299" y="29"/>
                    </a:lnTo>
                    <a:lnTo>
                      <a:pt x="301" y="28"/>
                    </a:lnTo>
                    <a:lnTo>
                      <a:pt x="300" y="29"/>
                    </a:lnTo>
                    <a:lnTo>
                      <a:pt x="301" y="34"/>
                    </a:lnTo>
                    <a:lnTo>
                      <a:pt x="300" y="37"/>
                    </a:lnTo>
                    <a:lnTo>
                      <a:pt x="299" y="41"/>
                    </a:lnTo>
                    <a:lnTo>
                      <a:pt x="300" y="43"/>
                    </a:lnTo>
                    <a:lnTo>
                      <a:pt x="300" y="48"/>
                    </a:lnTo>
                    <a:lnTo>
                      <a:pt x="301" y="54"/>
                    </a:lnTo>
                    <a:lnTo>
                      <a:pt x="298" y="61"/>
                    </a:lnTo>
                    <a:lnTo>
                      <a:pt x="295" y="66"/>
                    </a:lnTo>
                    <a:lnTo>
                      <a:pt x="292" y="69"/>
                    </a:lnTo>
                    <a:lnTo>
                      <a:pt x="292" y="72"/>
                    </a:lnTo>
                    <a:lnTo>
                      <a:pt x="290" y="74"/>
                    </a:lnTo>
                    <a:lnTo>
                      <a:pt x="289" y="90"/>
                    </a:lnTo>
                    <a:lnTo>
                      <a:pt x="288" y="93"/>
                    </a:lnTo>
                    <a:lnTo>
                      <a:pt x="286" y="93"/>
                    </a:lnTo>
                    <a:lnTo>
                      <a:pt x="283" y="92"/>
                    </a:lnTo>
                    <a:lnTo>
                      <a:pt x="278" y="93"/>
                    </a:lnTo>
                    <a:lnTo>
                      <a:pt x="276" y="91"/>
                    </a:lnTo>
                    <a:lnTo>
                      <a:pt x="266" y="91"/>
                    </a:lnTo>
                    <a:lnTo>
                      <a:pt x="262" y="94"/>
                    </a:lnTo>
                    <a:lnTo>
                      <a:pt x="263" y="95"/>
                    </a:lnTo>
                    <a:lnTo>
                      <a:pt x="262" y="98"/>
                    </a:lnTo>
                    <a:lnTo>
                      <a:pt x="265" y="101"/>
                    </a:lnTo>
                    <a:lnTo>
                      <a:pt x="263" y="101"/>
                    </a:lnTo>
                    <a:lnTo>
                      <a:pt x="262" y="102"/>
                    </a:lnTo>
                    <a:lnTo>
                      <a:pt x="260" y="102"/>
                    </a:lnTo>
                    <a:lnTo>
                      <a:pt x="261" y="104"/>
                    </a:lnTo>
                    <a:lnTo>
                      <a:pt x="261" y="109"/>
                    </a:lnTo>
                    <a:lnTo>
                      <a:pt x="266" y="111"/>
                    </a:lnTo>
                    <a:lnTo>
                      <a:pt x="272" y="111"/>
                    </a:lnTo>
                    <a:lnTo>
                      <a:pt x="273" y="113"/>
                    </a:lnTo>
                    <a:lnTo>
                      <a:pt x="280" y="114"/>
                    </a:lnTo>
                    <a:lnTo>
                      <a:pt x="284" y="111"/>
                    </a:lnTo>
                    <a:lnTo>
                      <a:pt x="286" y="116"/>
                    </a:lnTo>
                    <a:lnTo>
                      <a:pt x="289" y="117"/>
                    </a:lnTo>
                    <a:lnTo>
                      <a:pt x="290" y="119"/>
                    </a:lnTo>
                    <a:lnTo>
                      <a:pt x="290" y="123"/>
                    </a:lnTo>
                    <a:lnTo>
                      <a:pt x="287" y="128"/>
                    </a:lnTo>
                    <a:lnTo>
                      <a:pt x="287" y="130"/>
                    </a:lnTo>
                    <a:lnTo>
                      <a:pt x="289" y="135"/>
                    </a:lnTo>
                    <a:lnTo>
                      <a:pt x="283" y="136"/>
                    </a:lnTo>
                    <a:lnTo>
                      <a:pt x="281" y="141"/>
                    </a:lnTo>
                    <a:lnTo>
                      <a:pt x="277" y="142"/>
                    </a:lnTo>
                    <a:lnTo>
                      <a:pt x="275" y="144"/>
                    </a:lnTo>
                    <a:lnTo>
                      <a:pt x="274" y="146"/>
                    </a:lnTo>
                    <a:lnTo>
                      <a:pt x="273" y="148"/>
                    </a:lnTo>
                    <a:lnTo>
                      <a:pt x="266" y="148"/>
                    </a:lnTo>
                    <a:lnTo>
                      <a:pt x="264" y="152"/>
                    </a:lnTo>
                    <a:lnTo>
                      <a:pt x="260" y="153"/>
                    </a:lnTo>
                    <a:lnTo>
                      <a:pt x="260" y="156"/>
                    </a:lnTo>
                    <a:lnTo>
                      <a:pt x="263" y="156"/>
                    </a:lnTo>
                    <a:lnTo>
                      <a:pt x="268" y="159"/>
                    </a:lnTo>
                    <a:lnTo>
                      <a:pt x="271" y="161"/>
                    </a:lnTo>
                    <a:lnTo>
                      <a:pt x="271" y="164"/>
                    </a:lnTo>
                    <a:lnTo>
                      <a:pt x="269" y="165"/>
                    </a:lnTo>
                    <a:lnTo>
                      <a:pt x="267" y="168"/>
                    </a:lnTo>
                    <a:lnTo>
                      <a:pt x="263" y="171"/>
                    </a:lnTo>
                    <a:lnTo>
                      <a:pt x="259" y="169"/>
                    </a:lnTo>
                    <a:lnTo>
                      <a:pt x="253" y="171"/>
                    </a:lnTo>
                    <a:lnTo>
                      <a:pt x="249" y="172"/>
                    </a:lnTo>
                    <a:lnTo>
                      <a:pt x="243" y="176"/>
                    </a:lnTo>
                    <a:lnTo>
                      <a:pt x="237" y="174"/>
                    </a:lnTo>
                    <a:lnTo>
                      <a:pt x="237" y="178"/>
                    </a:lnTo>
                    <a:lnTo>
                      <a:pt x="234" y="178"/>
                    </a:lnTo>
                    <a:lnTo>
                      <a:pt x="234" y="177"/>
                    </a:lnTo>
                    <a:lnTo>
                      <a:pt x="230" y="176"/>
                    </a:lnTo>
                    <a:lnTo>
                      <a:pt x="229" y="174"/>
                    </a:lnTo>
                    <a:lnTo>
                      <a:pt x="223" y="174"/>
                    </a:lnTo>
                    <a:lnTo>
                      <a:pt x="219" y="170"/>
                    </a:lnTo>
                    <a:lnTo>
                      <a:pt x="215" y="171"/>
                    </a:lnTo>
                    <a:lnTo>
                      <a:pt x="215" y="172"/>
                    </a:lnTo>
                    <a:lnTo>
                      <a:pt x="220" y="176"/>
                    </a:lnTo>
                    <a:lnTo>
                      <a:pt x="219" y="177"/>
                    </a:lnTo>
                    <a:lnTo>
                      <a:pt x="211" y="174"/>
                    </a:lnTo>
                    <a:lnTo>
                      <a:pt x="207" y="178"/>
                    </a:lnTo>
                    <a:lnTo>
                      <a:pt x="203" y="178"/>
                    </a:lnTo>
                    <a:lnTo>
                      <a:pt x="202" y="178"/>
                    </a:lnTo>
                    <a:lnTo>
                      <a:pt x="203" y="179"/>
                    </a:lnTo>
                    <a:lnTo>
                      <a:pt x="202" y="180"/>
                    </a:lnTo>
                    <a:lnTo>
                      <a:pt x="203" y="180"/>
                    </a:lnTo>
                    <a:lnTo>
                      <a:pt x="204" y="183"/>
                    </a:lnTo>
                    <a:lnTo>
                      <a:pt x="205" y="183"/>
                    </a:lnTo>
                    <a:lnTo>
                      <a:pt x="205" y="184"/>
                    </a:lnTo>
                    <a:lnTo>
                      <a:pt x="205" y="185"/>
                    </a:lnTo>
                    <a:lnTo>
                      <a:pt x="202" y="186"/>
                    </a:lnTo>
                    <a:lnTo>
                      <a:pt x="203" y="188"/>
                    </a:lnTo>
                    <a:lnTo>
                      <a:pt x="205" y="188"/>
                    </a:lnTo>
                    <a:lnTo>
                      <a:pt x="209" y="190"/>
                    </a:lnTo>
                    <a:lnTo>
                      <a:pt x="208" y="191"/>
                    </a:lnTo>
                    <a:lnTo>
                      <a:pt x="209" y="195"/>
                    </a:lnTo>
                    <a:lnTo>
                      <a:pt x="211" y="196"/>
                    </a:lnTo>
                    <a:lnTo>
                      <a:pt x="215" y="197"/>
                    </a:lnTo>
                    <a:lnTo>
                      <a:pt x="214" y="202"/>
                    </a:lnTo>
                    <a:lnTo>
                      <a:pt x="215" y="203"/>
                    </a:lnTo>
                    <a:lnTo>
                      <a:pt x="216" y="204"/>
                    </a:lnTo>
                    <a:lnTo>
                      <a:pt x="218" y="206"/>
                    </a:lnTo>
                    <a:lnTo>
                      <a:pt x="222" y="212"/>
                    </a:lnTo>
                    <a:lnTo>
                      <a:pt x="223" y="214"/>
                    </a:lnTo>
                    <a:lnTo>
                      <a:pt x="224" y="217"/>
                    </a:lnTo>
                    <a:lnTo>
                      <a:pt x="223" y="219"/>
                    </a:lnTo>
                    <a:lnTo>
                      <a:pt x="222" y="223"/>
                    </a:lnTo>
                    <a:lnTo>
                      <a:pt x="224" y="224"/>
                    </a:lnTo>
                    <a:lnTo>
                      <a:pt x="223" y="225"/>
                    </a:lnTo>
                    <a:lnTo>
                      <a:pt x="224" y="227"/>
                    </a:lnTo>
                    <a:lnTo>
                      <a:pt x="221" y="231"/>
                    </a:lnTo>
                    <a:lnTo>
                      <a:pt x="219" y="231"/>
                    </a:lnTo>
                    <a:lnTo>
                      <a:pt x="217" y="235"/>
                    </a:lnTo>
                    <a:lnTo>
                      <a:pt x="212" y="240"/>
                    </a:lnTo>
                    <a:lnTo>
                      <a:pt x="213" y="242"/>
                    </a:lnTo>
                    <a:lnTo>
                      <a:pt x="212" y="243"/>
                    </a:lnTo>
                    <a:lnTo>
                      <a:pt x="213" y="247"/>
                    </a:lnTo>
                    <a:lnTo>
                      <a:pt x="214" y="248"/>
                    </a:lnTo>
                    <a:lnTo>
                      <a:pt x="219" y="246"/>
                    </a:lnTo>
                    <a:lnTo>
                      <a:pt x="220" y="246"/>
                    </a:lnTo>
                    <a:lnTo>
                      <a:pt x="217" y="247"/>
                    </a:lnTo>
                    <a:lnTo>
                      <a:pt x="219" y="249"/>
                    </a:lnTo>
                    <a:lnTo>
                      <a:pt x="211" y="253"/>
                    </a:lnTo>
                    <a:lnTo>
                      <a:pt x="209" y="255"/>
                    </a:lnTo>
                    <a:lnTo>
                      <a:pt x="206" y="257"/>
                    </a:lnTo>
                    <a:lnTo>
                      <a:pt x="202" y="261"/>
                    </a:lnTo>
                    <a:lnTo>
                      <a:pt x="200" y="261"/>
                    </a:lnTo>
                    <a:lnTo>
                      <a:pt x="199" y="259"/>
                    </a:lnTo>
                    <a:lnTo>
                      <a:pt x="195" y="261"/>
                    </a:lnTo>
                    <a:lnTo>
                      <a:pt x="196" y="262"/>
                    </a:lnTo>
                    <a:lnTo>
                      <a:pt x="196" y="264"/>
                    </a:lnTo>
                    <a:lnTo>
                      <a:pt x="198" y="265"/>
                    </a:lnTo>
                    <a:lnTo>
                      <a:pt x="198" y="266"/>
                    </a:lnTo>
                    <a:lnTo>
                      <a:pt x="198" y="268"/>
                    </a:lnTo>
                    <a:lnTo>
                      <a:pt x="202" y="267"/>
                    </a:lnTo>
                    <a:lnTo>
                      <a:pt x="205" y="268"/>
                    </a:lnTo>
                    <a:lnTo>
                      <a:pt x="208" y="268"/>
                    </a:lnTo>
                    <a:lnTo>
                      <a:pt x="207" y="270"/>
                    </a:lnTo>
                    <a:lnTo>
                      <a:pt x="207" y="273"/>
                    </a:lnTo>
                    <a:lnTo>
                      <a:pt x="212" y="274"/>
                    </a:lnTo>
                    <a:lnTo>
                      <a:pt x="212" y="277"/>
                    </a:lnTo>
                    <a:lnTo>
                      <a:pt x="213" y="279"/>
                    </a:lnTo>
                    <a:lnTo>
                      <a:pt x="212" y="282"/>
                    </a:lnTo>
                    <a:lnTo>
                      <a:pt x="209" y="282"/>
                    </a:lnTo>
                    <a:lnTo>
                      <a:pt x="207" y="282"/>
                    </a:lnTo>
                    <a:lnTo>
                      <a:pt x="208" y="284"/>
                    </a:lnTo>
                    <a:lnTo>
                      <a:pt x="207" y="285"/>
                    </a:lnTo>
                    <a:lnTo>
                      <a:pt x="207" y="287"/>
                    </a:lnTo>
                    <a:lnTo>
                      <a:pt x="205" y="286"/>
                    </a:lnTo>
                    <a:lnTo>
                      <a:pt x="204" y="287"/>
                    </a:lnTo>
                    <a:lnTo>
                      <a:pt x="207" y="290"/>
                    </a:lnTo>
                    <a:lnTo>
                      <a:pt x="207" y="292"/>
                    </a:lnTo>
                    <a:lnTo>
                      <a:pt x="203" y="291"/>
                    </a:lnTo>
                    <a:lnTo>
                      <a:pt x="199" y="292"/>
                    </a:lnTo>
                    <a:lnTo>
                      <a:pt x="198" y="292"/>
                    </a:lnTo>
                    <a:lnTo>
                      <a:pt x="198" y="290"/>
                    </a:lnTo>
                    <a:lnTo>
                      <a:pt x="195" y="291"/>
                    </a:lnTo>
                    <a:lnTo>
                      <a:pt x="194" y="290"/>
                    </a:lnTo>
                    <a:lnTo>
                      <a:pt x="191" y="291"/>
                    </a:lnTo>
                    <a:lnTo>
                      <a:pt x="188" y="289"/>
                    </a:lnTo>
                    <a:lnTo>
                      <a:pt x="185" y="291"/>
                    </a:lnTo>
                    <a:lnTo>
                      <a:pt x="184" y="290"/>
                    </a:lnTo>
                    <a:lnTo>
                      <a:pt x="182" y="291"/>
                    </a:lnTo>
                    <a:lnTo>
                      <a:pt x="183" y="288"/>
                    </a:lnTo>
                    <a:lnTo>
                      <a:pt x="182" y="286"/>
                    </a:lnTo>
                    <a:lnTo>
                      <a:pt x="179" y="284"/>
                    </a:lnTo>
                    <a:lnTo>
                      <a:pt x="178" y="282"/>
                    </a:lnTo>
                    <a:lnTo>
                      <a:pt x="179" y="279"/>
                    </a:lnTo>
                    <a:lnTo>
                      <a:pt x="182" y="278"/>
                    </a:lnTo>
                    <a:lnTo>
                      <a:pt x="183" y="275"/>
                    </a:lnTo>
                    <a:lnTo>
                      <a:pt x="185" y="275"/>
                    </a:lnTo>
                    <a:lnTo>
                      <a:pt x="187" y="271"/>
                    </a:lnTo>
                    <a:lnTo>
                      <a:pt x="187" y="270"/>
                    </a:lnTo>
                    <a:lnTo>
                      <a:pt x="185" y="270"/>
                    </a:lnTo>
                    <a:lnTo>
                      <a:pt x="184" y="270"/>
                    </a:lnTo>
                    <a:lnTo>
                      <a:pt x="188" y="267"/>
                    </a:lnTo>
                    <a:lnTo>
                      <a:pt x="189" y="263"/>
                    </a:lnTo>
                    <a:lnTo>
                      <a:pt x="187" y="261"/>
                    </a:lnTo>
                    <a:lnTo>
                      <a:pt x="188" y="259"/>
                    </a:lnTo>
                    <a:lnTo>
                      <a:pt x="190" y="259"/>
                    </a:lnTo>
                    <a:lnTo>
                      <a:pt x="191" y="258"/>
                    </a:lnTo>
                    <a:lnTo>
                      <a:pt x="191" y="255"/>
                    </a:lnTo>
                    <a:lnTo>
                      <a:pt x="192" y="255"/>
                    </a:lnTo>
                    <a:lnTo>
                      <a:pt x="194" y="255"/>
                    </a:lnTo>
                    <a:lnTo>
                      <a:pt x="192" y="253"/>
                    </a:lnTo>
                    <a:lnTo>
                      <a:pt x="195" y="250"/>
                    </a:lnTo>
                    <a:lnTo>
                      <a:pt x="193" y="248"/>
                    </a:lnTo>
                    <a:lnTo>
                      <a:pt x="190" y="249"/>
                    </a:lnTo>
                    <a:lnTo>
                      <a:pt x="189" y="247"/>
                    </a:lnTo>
                    <a:lnTo>
                      <a:pt x="187" y="246"/>
                    </a:lnTo>
                    <a:lnTo>
                      <a:pt x="181" y="246"/>
                    </a:lnTo>
                    <a:lnTo>
                      <a:pt x="179" y="244"/>
                    </a:lnTo>
                    <a:lnTo>
                      <a:pt x="172" y="242"/>
                    </a:lnTo>
                    <a:lnTo>
                      <a:pt x="172" y="241"/>
                    </a:lnTo>
                    <a:lnTo>
                      <a:pt x="172" y="238"/>
                    </a:lnTo>
                    <a:lnTo>
                      <a:pt x="168" y="235"/>
                    </a:lnTo>
                    <a:lnTo>
                      <a:pt x="166" y="235"/>
                    </a:lnTo>
                    <a:lnTo>
                      <a:pt x="165" y="236"/>
                    </a:lnTo>
                    <a:lnTo>
                      <a:pt x="160" y="237"/>
                    </a:lnTo>
                    <a:lnTo>
                      <a:pt x="156" y="237"/>
                    </a:lnTo>
                    <a:lnTo>
                      <a:pt x="154" y="238"/>
                    </a:lnTo>
                    <a:lnTo>
                      <a:pt x="146" y="237"/>
                    </a:lnTo>
                    <a:lnTo>
                      <a:pt x="147" y="233"/>
                    </a:lnTo>
                    <a:lnTo>
                      <a:pt x="144" y="232"/>
                    </a:lnTo>
                    <a:lnTo>
                      <a:pt x="141" y="233"/>
                    </a:lnTo>
                    <a:lnTo>
                      <a:pt x="139" y="232"/>
                    </a:lnTo>
                    <a:lnTo>
                      <a:pt x="138" y="229"/>
                    </a:lnTo>
                    <a:lnTo>
                      <a:pt x="134" y="225"/>
                    </a:lnTo>
                    <a:lnTo>
                      <a:pt x="134" y="223"/>
                    </a:lnTo>
                    <a:lnTo>
                      <a:pt x="136" y="220"/>
                    </a:lnTo>
                    <a:lnTo>
                      <a:pt x="134" y="216"/>
                    </a:lnTo>
                    <a:lnTo>
                      <a:pt x="132" y="216"/>
                    </a:lnTo>
                    <a:lnTo>
                      <a:pt x="132" y="214"/>
                    </a:lnTo>
                    <a:lnTo>
                      <a:pt x="129" y="215"/>
                    </a:lnTo>
                    <a:lnTo>
                      <a:pt x="129" y="219"/>
                    </a:lnTo>
                    <a:lnTo>
                      <a:pt x="128" y="219"/>
                    </a:lnTo>
                    <a:lnTo>
                      <a:pt x="123" y="223"/>
                    </a:lnTo>
                    <a:lnTo>
                      <a:pt x="120" y="222"/>
                    </a:lnTo>
                    <a:lnTo>
                      <a:pt x="114" y="223"/>
                    </a:lnTo>
                    <a:lnTo>
                      <a:pt x="111" y="222"/>
                    </a:lnTo>
                    <a:lnTo>
                      <a:pt x="111" y="220"/>
                    </a:lnTo>
                    <a:lnTo>
                      <a:pt x="116" y="221"/>
                    </a:lnTo>
                    <a:lnTo>
                      <a:pt x="115" y="218"/>
                    </a:lnTo>
                    <a:lnTo>
                      <a:pt x="116" y="217"/>
                    </a:lnTo>
                    <a:lnTo>
                      <a:pt x="116" y="215"/>
                    </a:lnTo>
                    <a:lnTo>
                      <a:pt x="115" y="214"/>
                    </a:lnTo>
                    <a:lnTo>
                      <a:pt x="112" y="213"/>
                    </a:lnTo>
                    <a:lnTo>
                      <a:pt x="110" y="213"/>
                    </a:lnTo>
                    <a:lnTo>
                      <a:pt x="105" y="216"/>
                    </a:lnTo>
                    <a:lnTo>
                      <a:pt x="104" y="218"/>
                    </a:lnTo>
                    <a:lnTo>
                      <a:pt x="102" y="219"/>
                    </a:lnTo>
                    <a:lnTo>
                      <a:pt x="102" y="221"/>
                    </a:lnTo>
                    <a:lnTo>
                      <a:pt x="100" y="221"/>
                    </a:lnTo>
                    <a:lnTo>
                      <a:pt x="96" y="220"/>
                    </a:lnTo>
                    <a:lnTo>
                      <a:pt x="92" y="221"/>
                    </a:lnTo>
                    <a:lnTo>
                      <a:pt x="92" y="219"/>
                    </a:lnTo>
                    <a:lnTo>
                      <a:pt x="93" y="215"/>
                    </a:lnTo>
                    <a:lnTo>
                      <a:pt x="88" y="215"/>
                    </a:lnTo>
                    <a:lnTo>
                      <a:pt x="81" y="218"/>
                    </a:lnTo>
                    <a:lnTo>
                      <a:pt x="82" y="219"/>
                    </a:lnTo>
                    <a:lnTo>
                      <a:pt x="81" y="221"/>
                    </a:lnTo>
                    <a:lnTo>
                      <a:pt x="84" y="225"/>
                    </a:lnTo>
                    <a:lnTo>
                      <a:pt x="84" y="227"/>
                    </a:lnTo>
                    <a:lnTo>
                      <a:pt x="80" y="228"/>
                    </a:lnTo>
                    <a:lnTo>
                      <a:pt x="77" y="227"/>
                    </a:lnTo>
                    <a:lnTo>
                      <a:pt x="76" y="226"/>
                    </a:lnTo>
                    <a:lnTo>
                      <a:pt x="70" y="226"/>
                    </a:lnTo>
                    <a:lnTo>
                      <a:pt x="69" y="222"/>
                    </a:lnTo>
                    <a:lnTo>
                      <a:pt x="66" y="223"/>
                    </a:lnTo>
                    <a:lnTo>
                      <a:pt x="65" y="223"/>
                    </a:lnTo>
                    <a:lnTo>
                      <a:pt x="62" y="223"/>
                    </a:lnTo>
                    <a:lnTo>
                      <a:pt x="59" y="223"/>
                    </a:lnTo>
                    <a:lnTo>
                      <a:pt x="55" y="222"/>
                    </a:lnTo>
                    <a:lnTo>
                      <a:pt x="52" y="219"/>
                    </a:lnTo>
                    <a:lnTo>
                      <a:pt x="48" y="217"/>
                    </a:lnTo>
                    <a:lnTo>
                      <a:pt x="45" y="218"/>
                    </a:lnTo>
                    <a:lnTo>
                      <a:pt x="44" y="221"/>
                    </a:lnTo>
                    <a:lnTo>
                      <a:pt x="42" y="224"/>
                    </a:lnTo>
                    <a:lnTo>
                      <a:pt x="37" y="225"/>
                    </a:lnTo>
                    <a:lnTo>
                      <a:pt x="32" y="222"/>
                    </a:lnTo>
                    <a:lnTo>
                      <a:pt x="30" y="222"/>
                    </a:lnTo>
                    <a:lnTo>
                      <a:pt x="26" y="217"/>
                    </a:lnTo>
                    <a:lnTo>
                      <a:pt x="20" y="219"/>
                    </a:lnTo>
                    <a:lnTo>
                      <a:pt x="16" y="219"/>
                    </a:lnTo>
                    <a:lnTo>
                      <a:pt x="13" y="217"/>
                    </a:lnTo>
                    <a:lnTo>
                      <a:pt x="11" y="214"/>
                    </a:lnTo>
                    <a:lnTo>
                      <a:pt x="6" y="209"/>
                    </a:lnTo>
                    <a:lnTo>
                      <a:pt x="8" y="207"/>
                    </a:lnTo>
                    <a:lnTo>
                      <a:pt x="16" y="203"/>
                    </a:lnTo>
                    <a:lnTo>
                      <a:pt x="19" y="203"/>
                    </a:lnTo>
                    <a:lnTo>
                      <a:pt x="21" y="203"/>
                    </a:lnTo>
                    <a:lnTo>
                      <a:pt x="27" y="202"/>
                    </a:lnTo>
                    <a:lnTo>
                      <a:pt x="29" y="203"/>
                    </a:lnTo>
                    <a:lnTo>
                      <a:pt x="37" y="202"/>
                    </a:lnTo>
                    <a:lnTo>
                      <a:pt x="40" y="202"/>
                    </a:lnTo>
                    <a:lnTo>
                      <a:pt x="42" y="205"/>
                    </a:lnTo>
                    <a:lnTo>
                      <a:pt x="42" y="206"/>
                    </a:lnTo>
                    <a:lnTo>
                      <a:pt x="40" y="208"/>
                    </a:lnTo>
                    <a:lnTo>
                      <a:pt x="44" y="208"/>
                    </a:lnTo>
                    <a:lnTo>
                      <a:pt x="46" y="209"/>
                    </a:lnTo>
                    <a:lnTo>
                      <a:pt x="53" y="211"/>
                    </a:lnTo>
                    <a:lnTo>
                      <a:pt x="55" y="213"/>
                    </a:lnTo>
                    <a:lnTo>
                      <a:pt x="55" y="215"/>
                    </a:lnTo>
                    <a:lnTo>
                      <a:pt x="58" y="218"/>
                    </a:lnTo>
                    <a:lnTo>
                      <a:pt x="60" y="219"/>
                    </a:lnTo>
                    <a:lnTo>
                      <a:pt x="68" y="220"/>
                    </a:lnTo>
                    <a:lnTo>
                      <a:pt x="71" y="219"/>
                    </a:lnTo>
                    <a:lnTo>
                      <a:pt x="72" y="217"/>
                    </a:lnTo>
                    <a:lnTo>
                      <a:pt x="72" y="215"/>
                    </a:lnTo>
                    <a:lnTo>
                      <a:pt x="71" y="212"/>
                    </a:lnTo>
                    <a:lnTo>
                      <a:pt x="68" y="210"/>
                    </a:lnTo>
                    <a:lnTo>
                      <a:pt x="66" y="211"/>
                    </a:lnTo>
                    <a:lnTo>
                      <a:pt x="62" y="210"/>
                    </a:lnTo>
                    <a:lnTo>
                      <a:pt x="57" y="210"/>
                    </a:lnTo>
                    <a:lnTo>
                      <a:pt x="54" y="207"/>
                    </a:lnTo>
                    <a:lnTo>
                      <a:pt x="49" y="204"/>
                    </a:lnTo>
                    <a:lnTo>
                      <a:pt x="52" y="202"/>
                    </a:lnTo>
                    <a:lnTo>
                      <a:pt x="56" y="201"/>
                    </a:lnTo>
                    <a:lnTo>
                      <a:pt x="60" y="202"/>
                    </a:lnTo>
                    <a:lnTo>
                      <a:pt x="63" y="202"/>
                    </a:lnTo>
                    <a:lnTo>
                      <a:pt x="65" y="203"/>
                    </a:lnTo>
                    <a:lnTo>
                      <a:pt x="66" y="204"/>
                    </a:lnTo>
                    <a:lnTo>
                      <a:pt x="66" y="203"/>
                    </a:lnTo>
                    <a:lnTo>
                      <a:pt x="65" y="201"/>
                    </a:lnTo>
                    <a:lnTo>
                      <a:pt x="60" y="201"/>
                    </a:lnTo>
                    <a:lnTo>
                      <a:pt x="59" y="199"/>
                    </a:lnTo>
                    <a:lnTo>
                      <a:pt x="59" y="198"/>
                    </a:lnTo>
                    <a:lnTo>
                      <a:pt x="59" y="197"/>
                    </a:lnTo>
                    <a:lnTo>
                      <a:pt x="58" y="197"/>
                    </a:lnTo>
                    <a:lnTo>
                      <a:pt x="56" y="199"/>
                    </a:lnTo>
                    <a:lnTo>
                      <a:pt x="47" y="201"/>
                    </a:lnTo>
                    <a:lnTo>
                      <a:pt x="46" y="199"/>
                    </a:lnTo>
                    <a:lnTo>
                      <a:pt x="42" y="198"/>
                    </a:lnTo>
                    <a:lnTo>
                      <a:pt x="40" y="195"/>
                    </a:lnTo>
                    <a:lnTo>
                      <a:pt x="38" y="194"/>
                    </a:lnTo>
                    <a:lnTo>
                      <a:pt x="36" y="192"/>
                    </a:lnTo>
                    <a:lnTo>
                      <a:pt x="35" y="192"/>
                    </a:lnTo>
                    <a:lnTo>
                      <a:pt x="32" y="195"/>
                    </a:lnTo>
                    <a:lnTo>
                      <a:pt x="29" y="195"/>
                    </a:lnTo>
                    <a:lnTo>
                      <a:pt x="27" y="195"/>
                    </a:lnTo>
                    <a:lnTo>
                      <a:pt x="25" y="192"/>
                    </a:lnTo>
                    <a:lnTo>
                      <a:pt x="26" y="190"/>
                    </a:lnTo>
                    <a:lnTo>
                      <a:pt x="27" y="189"/>
                    </a:lnTo>
                    <a:lnTo>
                      <a:pt x="33" y="187"/>
                    </a:lnTo>
                    <a:lnTo>
                      <a:pt x="37" y="187"/>
                    </a:lnTo>
                    <a:lnTo>
                      <a:pt x="36" y="187"/>
                    </a:lnTo>
                    <a:lnTo>
                      <a:pt x="41" y="187"/>
                    </a:lnTo>
                    <a:lnTo>
                      <a:pt x="44" y="189"/>
                    </a:lnTo>
                    <a:lnTo>
                      <a:pt x="48" y="189"/>
                    </a:lnTo>
                    <a:lnTo>
                      <a:pt x="51" y="191"/>
                    </a:lnTo>
                    <a:lnTo>
                      <a:pt x="51" y="193"/>
                    </a:lnTo>
                    <a:lnTo>
                      <a:pt x="55" y="194"/>
                    </a:lnTo>
                    <a:lnTo>
                      <a:pt x="59" y="196"/>
                    </a:lnTo>
                    <a:lnTo>
                      <a:pt x="58" y="197"/>
                    </a:lnTo>
                    <a:lnTo>
                      <a:pt x="58" y="196"/>
                    </a:lnTo>
                    <a:lnTo>
                      <a:pt x="60" y="194"/>
                    </a:lnTo>
                    <a:lnTo>
                      <a:pt x="63" y="193"/>
                    </a:lnTo>
                    <a:close/>
                    <a:moveTo>
                      <a:pt x="134" y="23"/>
                    </a:moveTo>
                    <a:lnTo>
                      <a:pt x="128" y="26"/>
                    </a:lnTo>
                    <a:lnTo>
                      <a:pt x="123" y="32"/>
                    </a:lnTo>
                    <a:lnTo>
                      <a:pt x="120" y="32"/>
                    </a:lnTo>
                    <a:lnTo>
                      <a:pt x="118" y="32"/>
                    </a:lnTo>
                    <a:lnTo>
                      <a:pt x="120" y="30"/>
                    </a:lnTo>
                    <a:lnTo>
                      <a:pt x="128" y="24"/>
                    </a:lnTo>
                    <a:lnTo>
                      <a:pt x="134" y="22"/>
                    </a:lnTo>
                    <a:lnTo>
                      <a:pt x="136" y="22"/>
                    </a:lnTo>
                    <a:lnTo>
                      <a:pt x="134" y="23"/>
                    </a:lnTo>
                    <a:close/>
                    <a:moveTo>
                      <a:pt x="181" y="5"/>
                    </a:moveTo>
                    <a:lnTo>
                      <a:pt x="184" y="6"/>
                    </a:lnTo>
                    <a:lnTo>
                      <a:pt x="201" y="5"/>
                    </a:lnTo>
                    <a:lnTo>
                      <a:pt x="203" y="6"/>
                    </a:lnTo>
                    <a:lnTo>
                      <a:pt x="191" y="8"/>
                    </a:lnTo>
                    <a:lnTo>
                      <a:pt x="187" y="8"/>
                    </a:lnTo>
                    <a:lnTo>
                      <a:pt x="182" y="9"/>
                    </a:lnTo>
                    <a:lnTo>
                      <a:pt x="180" y="9"/>
                    </a:lnTo>
                    <a:lnTo>
                      <a:pt x="178" y="8"/>
                    </a:lnTo>
                    <a:lnTo>
                      <a:pt x="178" y="7"/>
                    </a:lnTo>
                    <a:lnTo>
                      <a:pt x="179" y="5"/>
                    </a:lnTo>
                    <a:lnTo>
                      <a:pt x="181" y="5"/>
                    </a:lnTo>
                    <a:close/>
                    <a:moveTo>
                      <a:pt x="173" y="8"/>
                    </a:moveTo>
                    <a:lnTo>
                      <a:pt x="172" y="9"/>
                    </a:lnTo>
                    <a:lnTo>
                      <a:pt x="165" y="10"/>
                    </a:lnTo>
                    <a:lnTo>
                      <a:pt x="166" y="11"/>
                    </a:lnTo>
                    <a:lnTo>
                      <a:pt x="165" y="12"/>
                    </a:lnTo>
                    <a:lnTo>
                      <a:pt x="160" y="12"/>
                    </a:lnTo>
                    <a:lnTo>
                      <a:pt x="156" y="14"/>
                    </a:lnTo>
                    <a:lnTo>
                      <a:pt x="149" y="16"/>
                    </a:lnTo>
                    <a:lnTo>
                      <a:pt x="145" y="18"/>
                    </a:lnTo>
                    <a:lnTo>
                      <a:pt x="142" y="18"/>
                    </a:lnTo>
                    <a:lnTo>
                      <a:pt x="141" y="16"/>
                    </a:lnTo>
                    <a:lnTo>
                      <a:pt x="141" y="14"/>
                    </a:lnTo>
                    <a:lnTo>
                      <a:pt x="146" y="12"/>
                    </a:lnTo>
                    <a:lnTo>
                      <a:pt x="153" y="12"/>
                    </a:lnTo>
                    <a:lnTo>
                      <a:pt x="172" y="7"/>
                    </a:lnTo>
                    <a:lnTo>
                      <a:pt x="173" y="7"/>
                    </a:lnTo>
                    <a:lnTo>
                      <a:pt x="173" y="8"/>
                    </a:lnTo>
                    <a:close/>
                    <a:moveTo>
                      <a:pt x="119" y="35"/>
                    </a:moveTo>
                    <a:lnTo>
                      <a:pt x="119" y="38"/>
                    </a:lnTo>
                    <a:lnTo>
                      <a:pt x="121" y="40"/>
                    </a:lnTo>
                    <a:lnTo>
                      <a:pt x="121" y="43"/>
                    </a:lnTo>
                    <a:lnTo>
                      <a:pt x="120" y="43"/>
                    </a:lnTo>
                    <a:lnTo>
                      <a:pt x="121" y="44"/>
                    </a:lnTo>
                    <a:lnTo>
                      <a:pt x="121" y="45"/>
                    </a:lnTo>
                    <a:lnTo>
                      <a:pt x="119" y="46"/>
                    </a:lnTo>
                    <a:lnTo>
                      <a:pt x="117" y="50"/>
                    </a:lnTo>
                    <a:lnTo>
                      <a:pt x="115" y="51"/>
                    </a:lnTo>
                    <a:lnTo>
                      <a:pt x="113" y="54"/>
                    </a:lnTo>
                    <a:lnTo>
                      <a:pt x="109" y="56"/>
                    </a:lnTo>
                    <a:lnTo>
                      <a:pt x="106" y="54"/>
                    </a:lnTo>
                    <a:lnTo>
                      <a:pt x="105" y="50"/>
                    </a:lnTo>
                    <a:lnTo>
                      <a:pt x="106" y="48"/>
                    </a:lnTo>
                    <a:lnTo>
                      <a:pt x="117" y="35"/>
                    </a:lnTo>
                    <a:lnTo>
                      <a:pt x="119" y="35"/>
                    </a:lnTo>
                    <a:close/>
                    <a:moveTo>
                      <a:pt x="232" y="1"/>
                    </a:moveTo>
                    <a:lnTo>
                      <a:pt x="224" y="4"/>
                    </a:lnTo>
                    <a:lnTo>
                      <a:pt x="219" y="5"/>
                    </a:lnTo>
                    <a:lnTo>
                      <a:pt x="217" y="6"/>
                    </a:lnTo>
                    <a:lnTo>
                      <a:pt x="216" y="6"/>
                    </a:lnTo>
                    <a:lnTo>
                      <a:pt x="216" y="5"/>
                    </a:lnTo>
                    <a:lnTo>
                      <a:pt x="215" y="5"/>
                    </a:lnTo>
                    <a:lnTo>
                      <a:pt x="217" y="3"/>
                    </a:lnTo>
                    <a:lnTo>
                      <a:pt x="219" y="1"/>
                    </a:lnTo>
                    <a:lnTo>
                      <a:pt x="230" y="0"/>
                    </a:lnTo>
                    <a:lnTo>
                      <a:pt x="233" y="1"/>
                    </a:lnTo>
                    <a:lnTo>
                      <a:pt x="232" y="1"/>
                    </a:lnTo>
                    <a:close/>
                    <a:moveTo>
                      <a:pt x="193" y="101"/>
                    </a:moveTo>
                    <a:lnTo>
                      <a:pt x="195" y="103"/>
                    </a:lnTo>
                    <a:lnTo>
                      <a:pt x="195" y="108"/>
                    </a:lnTo>
                    <a:lnTo>
                      <a:pt x="190" y="115"/>
                    </a:lnTo>
                    <a:lnTo>
                      <a:pt x="187" y="117"/>
                    </a:lnTo>
                    <a:lnTo>
                      <a:pt x="182" y="117"/>
                    </a:lnTo>
                    <a:lnTo>
                      <a:pt x="178" y="119"/>
                    </a:lnTo>
                    <a:lnTo>
                      <a:pt x="176" y="121"/>
                    </a:lnTo>
                    <a:lnTo>
                      <a:pt x="173" y="121"/>
                    </a:lnTo>
                    <a:lnTo>
                      <a:pt x="171" y="123"/>
                    </a:lnTo>
                    <a:lnTo>
                      <a:pt x="172" y="126"/>
                    </a:lnTo>
                    <a:lnTo>
                      <a:pt x="170" y="130"/>
                    </a:lnTo>
                    <a:lnTo>
                      <a:pt x="169" y="131"/>
                    </a:lnTo>
                    <a:lnTo>
                      <a:pt x="160" y="132"/>
                    </a:lnTo>
                    <a:lnTo>
                      <a:pt x="152" y="127"/>
                    </a:lnTo>
                    <a:lnTo>
                      <a:pt x="145" y="124"/>
                    </a:lnTo>
                    <a:lnTo>
                      <a:pt x="140" y="125"/>
                    </a:lnTo>
                    <a:lnTo>
                      <a:pt x="139" y="123"/>
                    </a:lnTo>
                    <a:lnTo>
                      <a:pt x="138" y="120"/>
                    </a:lnTo>
                    <a:lnTo>
                      <a:pt x="143" y="116"/>
                    </a:lnTo>
                    <a:lnTo>
                      <a:pt x="163" y="107"/>
                    </a:lnTo>
                    <a:lnTo>
                      <a:pt x="165" y="102"/>
                    </a:lnTo>
                    <a:lnTo>
                      <a:pt x="169" y="101"/>
                    </a:lnTo>
                    <a:lnTo>
                      <a:pt x="173" y="98"/>
                    </a:lnTo>
                    <a:lnTo>
                      <a:pt x="176" y="97"/>
                    </a:lnTo>
                    <a:lnTo>
                      <a:pt x="179" y="96"/>
                    </a:lnTo>
                    <a:lnTo>
                      <a:pt x="181" y="97"/>
                    </a:lnTo>
                    <a:lnTo>
                      <a:pt x="193" y="100"/>
                    </a:lnTo>
                    <a:lnTo>
                      <a:pt x="193" y="101"/>
                    </a:lnTo>
                    <a:close/>
                    <a:moveTo>
                      <a:pt x="0" y="227"/>
                    </a:moveTo>
                    <a:lnTo>
                      <a:pt x="5" y="224"/>
                    </a:lnTo>
                    <a:lnTo>
                      <a:pt x="13" y="222"/>
                    </a:lnTo>
                    <a:lnTo>
                      <a:pt x="18" y="224"/>
                    </a:lnTo>
                    <a:lnTo>
                      <a:pt x="25" y="226"/>
                    </a:lnTo>
                    <a:lnTo>
                      <a:pt x="29" y="229"/>
                    </a:lnTo>
                    <a:lnTo>
                      <a:pt x="31" y="229"/>
                    </a:lnTo>
                    <a:lnTo>
                      <a:pt x="33" y="229"/>
                    </a:lnTo>
                    <a:lnTo>
                      <a:pt x="40" y="230"/>
                    </a:lnTo>
                    <a:lnTo>
                      <a:pt x="43" y="227"/>
                    </a:lnTo>
                    <a:lnTo>
                      <a:pt x="47" y="227"/>
                    </a:lnTo>
                    <a:lnTo>
                      <a:pt x="48" y="225"/>
                    </a:lnTo>
                    <a:lnTo>
                      <a:pt x="48" y="224"/>
                    </a:lnTo>
                    <a:lnTo>
                      <a:pt x="49" y="223"/>
                    </a:lnTo>
                    <a:lnTo>
                      <a:pt x="52" y="223"/>
                    </a:lnTo>
                    <a:lnTo>
                      <a:pt x="55" y="227"/>
                    </a:lnTo>
                    <a:lnTo>
                      <a:pt x="60" y="228"/>
                    </a:lnTo>
                    <a:lnTo>
                      <a:pt x="60" y="227"/>
                    </a:lnTo>
                    <a:lnTo>
                      <a:pt x="63" y="229"/>
                    </a:lnTo>
                    <a:lnTo>
                      <a:pt x="63" y="227"/>
                    </a:lnTo>
                    <a:lnTo>
                      <a:pt x="66" y="226"/>
                    </a:lnTo>
                    <a:lnTo>
                      <a:pt x="68" y="228"/>
                    </a:lnTo>
                    <a:lnTo>
                      <a:pt x="69" y="228"/>
                    </a:lnTo>
                    <a:lnTo>
                      <a:pt x="68" y="230"/>
                    </a:lnTo>
                    <a:lnTo>
                      <a:pt x="63" y="235"/>
                    </a:lnTo>
                    <a:lnTo>
                      <a:pt x="55" y="239"/>
                    </a:lnTo>
                    <a:lnTo>
                      <a:pt x="51" y="240"/>
                    </a:lnTo>
                    <a:lnTo>
                      <a:pt x="46" y="243"/>
                    </a:lnTo>
                    <a:lnTo>
                      <a:pt x="44" y="243"/>
                    </a:lnTo>
                    <a:lnTo>
                      <a:pt x="42" y="244"/>
                    </a:lnTo>
                    <a:lnTo>
                      <a:pt x="41" y="244"/>
                    </a:lnTo>
                    <a:lnTo>
                      <a:pt x="41" y="243"/>
                    </a:lnTo>
                    <a:lnTo>
                      <a:pt x="37" y="243"/>
                    </a:lnTo>
                    <a:lnTo>
                      <a:pt x="34" y="242"/>
                    </a:lnTo>
                    <a:lnTo>
                      <a:pt x="34" y="238"/>
                    </a:lnTo>
                    <a:lnTo>
                      <a:pt x="27" y="237"/>
                    </a:lnTo>
                    <a:lnTo>
                      <a:pt x="24" y="235"/>
                    </a:lnTo>
                    <a:lnTo>
                      <a:pt x="19" y="233"/>
                    </a:lnTo>
                    <a:lnTo>
                      <a:pt x="17" y="235"/>
                    </a:lnTo>
                    <a:lnTo>
                      <a:pt x="13" y="235"/>
                    </a:lnTo>
                    <a:lnTo>
                      <a:pt x="13" y="240"/>
                    </a:lnTo>
                    <a:lnTo>
                      <a:pt x="6" y="240"/>
                    </a:lnTo>
                    <a:lnTo>
                      <a:pt x="2" y="237"/>
                    </a:lnTo>
                    <a:lnTo>
                      <a:pt x="0" y="234"/>
                    </a:lnTo>
                    <a:lnTo>
                      <a:pt x="1" y="233"/>
                    </a:lnTo>
                    <a:lnTo>
                      <a:pt x="0" y="232"/>
                    </a:lnTo>
                    <a:lnTo>
                      <a:pt x="2" y="230"/>
                    </a:lnTo>
                    <a:lnTo>
                      <a:pt x="0" y="226"/>
                    </a:lnTo>
                    <a:lnTo>
                      <a:pt x="0" y="227"/>
                    </a:lnTo>
                    <a:close/>
                  </a:path>
                </a:pathLst>
              </a:custGeom>
              <a:solidFill>
                <a:srgbClr val="E7E7E4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54" name="Italy">
                <a:extLst>
                  <a:ext uri="{FF2B5EF4-FFF2-40B4-BE49-F238E27FC236}">
                    <a16:creationId xmlns:a16="http://schemas.microsoft.com/office/drawing/2014/main" id="{537DD0BC-142B-4C80-B057-113A951E01A6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4418484" y="3946186"/>
                <a:ext cx="1041575" cy="1406901"/>
              </a:xfrm>
              <a:custGeom>
                <a:avLst/>
                <a:gdLst>
                  <a:gd name="T0" fmla="*/ 802 w 929"/>
                  <a:gd name="T1" fmla="*/ 630 h 1102"/>
                  <a:gd name="T2" fmla="*/ 734 w 929"/>
                  <a:gd name="T3" fmla="*/ 543 h 1102"/>
                  <a:gd name="T4" fmla="*/ 581 w 929"/>
                  <a:gd name="T5" fmla="*/ 472 h 1102"/>
                  <a:gd name="T6" fmla="*/ 474 w 929"/>
                  <a:gd name="T7" fmla="*/ 328 h 1102"/>
                  <a:gd name="T8" fmla="*/ 453 w 929"/>
                  <a:gd name="T9" fmla="*/ 241 h 1102"/>
                  <a:gd name="T10" fmla="*/ 449 w 929"/>
                  <a:gd name="T11" fmla="*/ 214 h 1102"/>
                  <a:gd name="T12" fmla="*/ 438 w 929"/>
                  <a:gd name="T13" fmla="*/ 190 h 1102"/>
                  <a:gd name="T14" fmla="*/ 454 w 929"/>
                  <a:gd name="T15" fmla="*/ 166 h 1102"/>
                  <a:gd name="T16" fmla="*/ 491 w 929"/>
                  <a:gd name="T17" fmla="*/ 155 h 1102"/>
                  <a:gd name="T18" fmla="*/ 536 w 929"/>
                  <a:gd name="T19" fmla="*/ 146 h 1102"/>
                  <a:gd name="T20" fmla="*/ 544 w 929"/>
                  <a:gd name="T21" fmla="*/ 116 h 1102"/>
                  <a:gd name="T22" fmla="*/ 543 w 929"/>
                  <a:gd name="T23" fmla="*/ 73 h 1102"/>
                  <a:gd name="T24" fmla="*/ 444 w 929"/>
                  <a:gd name="T25" fmla="*/ 27 h 1102"/>
                  <a:gd name="T26" fmla="*/ 382 w 929"/>
                  <a:gd name="T27" fmla="*/ 9 h 1102"/>
                  <a:gd name="T28" fmla="*/ 301 w 929"/>
                  <a:gd name="T29" fmla="*/ 24 h 1102"/>
                  <a:gd name="T30" fmla="*/ 268 w 929"/>
                  <a:gd name="T31" fmla="*/ 62 h 1102"/>
                  <a:gd name="T32" fmla="*/ 241 w 929"/>
                  <a:gd name="T33" fmla="*/ 84 h 1102"/>
                  <a:gd name="T34" fmla="*/ 197 w 929"/>
                  <a:gd name="T35" fmla="*/ 98 h 1102"/>
                  <a:gd name="T36" fmla="*/ 171 w 929"/>
                  <a:gd name="T37" fmla="*/ 105 h 1102"/>
                  <a:gd name="T38" fmla="*/ 119 w 929"/>
                  <a:gd name="T39" fmla="*/ 84 h 1102"/>
                  <a:gd name="T40" fmla="*/ 66 w 929"/>
                  <a:gd name="T41" fmla="*/ 121 h 1102"/>
                  <a:gd name="T42" fmla="*/ 39 w 929"/>
                  <a:gd name="T43" fmla="*/ 175 h 1102"/>
                  <a:gd name="T44" fmla="*/ 10 w 929"/>
                  <a:gd name="T45" fmla="*/ 218 h 1102"/>
                  <a:gd name="T46" fmla="*/ 21 w 929"/>
                  <a:gd name="T47" fmla="*/ 283 h 1102"/>
                  <a:gd name="T48" fmla="*/ 85 w 929"/>
                  <a:gd name="T49" fmla="*/ 318 h 1102"/>
                  <a:gd name="T50" fmla="*/ 140 w 929"/>
                  <a:gd name="T51" fmla="*/ 303 h 1102"/>
                  <a:gd name="T52" fmla="*/ 225 w 929"/>
                  <a:gd name="T53" fmla="*/ 304 h 1102"/>
                  <a:gd name="T54" fmla="*/ 287 w 929"/>
                  <a:gd name="T55" fmla="*/ 374 h 1102"/>
                  <a:gd name="T56" fmla="*/ 350 w 929"/>
                  <a:gd name="T57" fmla="*/ 474 h 1102"/>
                  <a:gd name="T58" fmla="*/ 404 w 929"/>
                  <a:gd name="T59" fmla="*/ 527 h 1102"/>
                  <a:gd name="T60" fmla="*/ 508 w 929"/>
                  <a:gd name="T61" fmla="*/ 617 h 1102"/>
                  <a:gd name="T62" fmla="*/ 592 w 929"/>
                  <a:gd name="T63" fmla="*/ 665 h 1102"/>
                  <a:gd name="T64" fmla="*/ 654 w 929"/>
                  <a:gd name="T65" fmla="*/ 707 h 1102"/>
                  <a:gd name="T66" fmla="*/ 728 w 929"/>
                  <a:gd name="T67" fmla="*/ 800 h 1102"/>
                  <a:gd name="T68" fmla="*/ 705 w 929"/>
                  <a:gd name="T69" fmla="*/ 947 h 1102"/>
                  <a:gd name="T70" fmla="*/ 819 w 929"/>
                  <a:gd name="T71" fmla="*/ 865 h 1102"/>
                  <a:gd name="T72" fmla="*/ 773 w 929"/>
                  <a:gd name="T73" fmla="*/ 777 h 1102"/>
                  <a:gd name="T74" fmla="*/ 839 w 929"/>
                  <a:gd name="T75" fmla="*/ 711 h 1102"/>
                  <a:gd name="T76" fmla="*/ 919 w 929"/>
                  <a:gd name="T77" fmla="*/ 766 h 1102"/>
                  <a:gd name="T78" fmla="*/ 199 w 929"/>
                  <a:gd name="T79" fmla="*/ 625 h 1102"/>
                  <a:gd name="T80" fmla="*/ 123 w 929"/>
                  <a:gd name="T81" fmla="*/ 660 h 1102"/>
                  <a:gd name="T82" fmla="*/ 145 w 929"/>
                  <a:gd name="T83" fmla="*/ 718 h 1102"/>
                  <a:gd name="T84" fmla="*/ 151 w 929"/>
                  <a:gd name="T85" fmla="*/ 772 h 1102"/>
                  <a:gd name="T86" fmla="*/ 140 w 929"/>
                  <a:gd name="T87" fmla="*/ 836 h 1102"/>
                  <a:gd name="T88" fmla="*/ 154 w 929"/>
                  <a:gd name="T89" fmla="*/ 858 h 1102"/>
                  <a:gd name="T90" fmla="*/ 187 w 929"/>
                  <a:gd name="T91" fmla="*/ 829 h 1102"/>
                  <a:gd name="T92" fmla="*/ 233 w 929"/>
                  <a:gd name="T93" fmla="*/ 819 h 1102"/>
                  <a:gd name="T94" fmla="*/ 249 w 929"/>
                  <a:gd name="T95" fmla="*/ 702 h 1102"/>
                  <a:gd name="T96" fmla="*/ 227 w 929"/>
                  <a:gd name="T97" fmla="*/ 650 h 1102"/>
                  <a:gd name="T98" fmla="*/ 220 w 929"/>
                  <a:gd name="T99" fmla="*/ 633 h 1102"/>
                  <a:gd name="T100" fmla="*/ 223 w 929"/>
                  <a:gd name="T101" fmla="*/ 617 h 1102"/>
                  <a:gd name="T102" fmla="*/ 134 w 929"/>
                  <a:gd name="T103" fmla="*/ 632 h 1102"/>
                  <a:gd name="T104" fmla="*/ 288 w 929"/>
                  <a:gd name="T105" fmla="*/ 457 h 1102"/>
                  <a:gd name="T106" fmla="*/ 568 w 929"/>
                  <a:gd name="T107" fmla="*/ 675 h 1102"/>
                  <a:gd name="T108" fmla="*/ 646 w 929"/>
                  <a:gd name="T109" fmla="*/ 941 h 1102"/>
                  <a:gd name="T110" fmla="*/ 527 w 929"/>
                  <a:gd name="T111" fmla="*/ 941 h 1102"/>
                  <a:gd name="T112" fmla="*/ 472 w 929"/>
                  <a:gd name="T113" fmla="*/ 948 h 1102"/>
                  <a:gd name="T114" fmla="*/ 514 w 929"/>
                  <a:gd name="T115" fmla="*/ 1016 h 1102"/>
                  <a:gd name="T116" fmla="*/ 635 w 929"/>
                  <a:gd name="T117" fmla="*/ 1094 h 1102"/>
                  <a:gd name="T118" fmla="*/ 677 w 929"/>
                  <a:gd name="T119" fmla="*/ 1058 h 1102"/>
                  <a:gd name="T120" fmla="*/ 663 w 929"/>
                  <a:gd name="T121" fmla="*/ 1010 h 1102"/>
                  <a:gd name="T122" fmla="*/ 651 w 929"/>
                  <a:gd name="T123" fmla="*/ 915 h 1102"/>
                  <a:gd name="T124" fmla="*/ 416 w 929"/>
                  <a:gd name="T125" fmla="*/ 1082 h 110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929"/>
                  <a:gd name="T190" fmla="*/ 0 h 1102"/>
                  <a:gd name="T191" fmla="*/ 929 w 929"/>
                  <a:gd name="T192" fmla="*/ 1102 h 1102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929" h="1102">
                    <a:moveTo>
                      <a:pt x="929" y="733"/>
                    </a:moveTo>
                    <a:lnTo>
                      <a:pt x="928" y="732"/>
                    </a:lnTo>
                    <a:lnTo>
                      <a:pt x="927" y="729"/>
                    </a:lnTo>
                    <a:lnTo>
                      <a:pt x="925" y="727"/>
                    </a:lnTo>
                    <a:lnTo>
                      <a:pt x="925" y="724"/>
                    </a:lnTo>
                    <a:lnTo>
                      <a:pt x="922" y="718"/>
                    </a:lnTo>
                    <a:lnTo>
                      <a:pt x="920" y="716"/>
                    </a:lnTo>
                    <a:lnTo>
                      <a:pt x="913" y="707"/>
                    </a:lnTo>
                    <a:lnTo>
                      <a:pt x="911" y="706"/>
                    </a:lnTo>
                    <a:lnTo>
                      <a:pt x="908" y="701"/>
                    </a:lnTo>
                    <a:lnTo>
                      <a:pt x="899" y="696"/>
                    </a:lnTo>
                    <a:lnTo>
                      <a:pt x="892" y="690"/>
                    </a:lnTo>
                    <a:lnTo>
                      <a:pt x="892" y="687"/>
                    </a:lnTo>
                    <a:lnTo>
                      <a:pt x="893" y="686"/>
                    </a:lnTo>
                    <a:lnTo>
                      <a:pt x="890" y="682"/>
                    </a:lnTo>
                    <a:lnTo>
                      <a:pt x="890" y="680"/>
                    </a:lnTo>
                    <a:lnTo>
                      <a:pt x="886" y="680"/>
                    </a:lnTo>
                    <a:lnTo>
                      <a:pt x="886" y="679"/>
                    </a:lnTo>
                    <a:lnTo>
                      <a:pt x="884" y="677"/>
                    </a:lnTo>
                    <a:lnTo>
                      <a:pt x="876" y="675"/>
                    </a:lnTo>
                    <a:lnTo>
                      <a:pt x="873" y="673"/>
                    </a:lnTo>
                    <a:lnTo>
                      <a:pt x="865" y="668"/>
                    </a:lnTo>
                    <a:lnTo>
                      <a:pt x="855" y="664"/>
                    </a:lnTo>
                    <a:lnTo>
                      <a:pt x="848" y="661"/>
                    </a:lnTo>
                    <a:lnTo>
                      <a:pt x="847" y="659"/>
                    </a:lnTo>
                    <a:lnTo>
                      <a:pt x="842" y="655"/>
                    </a:lnTo>
                    <a:lnTo>
                      <a:pt x="839" y="653"/>
                    </a:lnTo>
                    <a:lnTo>
                      <a:pt x="836" y="649"/>
                    </a:lnTo>
                    <a:lnTo>
                      <a:pt x="834" y="646"/>
                    </a:lnTo>
                    <a:lnTo>
                      <a:pt x="827" y="642"/>
                    </a:lnTo>
                    <a:lnTo>
                      <a:pt x="825" y="639"/>
                    </a:lnTo>
                    <a:lnTo>
                      <a:pt x="822" y="639"/>
                    </a:lnTo>
                    <a:lnTo>
                      <a:pt x="815" y="634"/>
                    </a:lnTo>
                    <a:lnTo>
                      <a:pt x="802" y="630"/>
                    </a:lnTo>
                    <a:lnTo>
                      <a:pt x="800" y="629"/>
                    </a:lnTo>
                    <a:lnTo>
                      <a:pt x="796" y="628"/>
                    </a:lnTo>
                    <a:lnTo>
                      <a:pt x="793" y="626"/>
                    </a:lnTo>
                    <a:lnTo>
                      <a:pt x="786" y="623"/>
                    </a:lnTo>
                    <a:lnTo>
                      <a:pt x="779" y="621"/>
                    </a:lnTo>
                    <a:lnTo>
                      <a:pt x="774" y="617"/>
                    </a:lnTo>
                    <a:lnTo>
                      <a:pt x="768" y="615"/>
                    </a:lnTo>
                    <a:lnTo>
                      <a:pt x="766" y="613"/>
                    </a:lnTo>
                    <a:lnTo>
                      <a:pt x="760" y="610"/>
                    </a:lnTo>
                    <a:lnTo>
                      <a:pt x="753" y="607"/>
                    </a:lnTo>
                    <a:lnTo>
                      <a:pt x="748" y="604"/>
                    </a:lnTo>
                    <a:lnTo>
                      <a:pt x="745" y="604"/>
                    </a:lnTo>
                    <a:lnTo>
                      <a:pt x="742" y="601"/>
                    </a:lnTo>
                    <a:lnTo>
                      <a:pt x="732" y="597"/>
                    </a:lnTo>
                    <a:lnTo>
                      <a:pt x="728" y="592"/>
                    </a:lnTo>
                    <a:lnTo>
                      <a:pt x="725" y="588"/>
                    </a:lnTo>
                    <a:lnTo>
                      <a:pt x="725" y="585"/>
                    </a:lnTo>
                    <a:lnTo>
                      <a:pt x="724" y="582"/>
                    </a:lnTo>
                    <a:lnTo>
                      <a:pt x="725" y="578"/>
                    </a:lnTo>
                    <a:lnTo>
                      <a:pt x="728" y="576"/>
                    </a:lnTo>
                    <a:lnTo>
                      <a:pt x="735" y="572"/>
                    </a:lnTo>
                    <a:lnTo>
                      <a:pt x="740" y="566"/>
                    </a:lnTo>
                    <a:lnTo>
                      <a:pt x="744" y="564"/>
                    </a:lnTo>
                    <a:lnTo>
                      <a:pt x="748" y="560"/>
                    </a:lnTo>
                    <a:lnTo>
                      <a:pt x="747" y="560"/>
                    </a:lnTo>
                    <a:lnTo>
                      <a:pt x="748" y="559"/>
                    </a:lnTo>
                    <a:lnTo>
                      <a:pt x="748" y="556"/>
                    </a:lnTo>
                    <a:lnTo>
                      <a:pt x="746" y="552"/>
                    </a:lnTo>
                    <a:lnTo>
                      <a:pt x="747" y="550"/>
                    </a:lnTo>
                    <a:lnTo>
                      <a:pt x="746" y="550"/>
                    </a:lnTo>
                    <a:lnTo>
                      <a:pt x="744" y="546"/>
                    </a:lnTo>
                    <a:lnTo>
                      <a:pt x="742" y="546"/>
                    </a:lnTo>
                    <a:lnTo>
                      <a:pt x="739" y="544"/>
                    </a:lnTo>
                    <a:lnTo>
                      <a:pt x="734" y="543"/>
                    </a:lnTo>
                    <a:lnTo>
                      <a:pt x="715" y="546"/>
                    </a:lnTo>
                    <a:lnTo>
                      <a:pt x="708" y="546"/>
                    </a:lnTo>
                    <a:lnTo>
                      <a:pt x="704" y="545"/>
                    </a:lnTo>
                    <a:lnTo>
                      <a:pt x="687" y="548"/>
                    </a:lnTo>
                    <a:lnTo>
                      <a:pt x="682" y="547"/>
                    </a:lnTo>
                    <a:lnTo>
                      <a:pt x="681" y="546"/>
                    </a:lnTo>
                    <a:lnTo>
                      <a:pt x="678" y="546"/>
                    </a:lnTo>
                    <a:lnTo>
                      <a:pt x="673" y="546"/>
                    </a:lnTo>
                    <a:lnTo>
                      <a:pt x="668" y="546"/>
                    </a:lnTo>
                    <a:lnTo>
                      <a:pt x="663" y="544"/>
                    </a:lnTo>
                    <a:lnTo>
                      <a:pt x="660" y="543"/>
                    </a:lnTo>
                    <a:lnTo>
                      <a:pt x="655" y="537"/>
                    </a:lnTo>
                    <a:lnTo>
                      <a:pt x="646" y="535"/>
                    </a:lnTo>
                    <a:lnTo>
                      <a:pt x="642" y="533"/>
                    </a:lnTo>
                    <a:lnTo>
                      <a:pt x="640" y="531"/>
                    </a:lnTo>
                    <a:lnTo>
                      <a:pt x="634" y="528"/>
                    </a:lnTo>
                    <a:lnTo>
                      <a:pt x="633" y="526"/>
                    </a:lnTo>
                    <a:lnTo>
                      <a:pt x="633" y="523"/>
                    </a:lnTo>
                    <a:lnTo>
                      <a:pt x="632" y="522"/>
                    </a:lnTo>
                    <a:lnTo>
                      <a:pt x="633" y="520"/>
                    </a:lnTo>
                    <a:lnTo>
                      <a:pt x="632" y="519"/>
                    </a:lnTo>
                    <a:lnTo>
                      <a:pt x="621" y="514"/>
                    </a:lnTo>
                    <a:lnTo>
                      <a:pt x="616" y="510"/>
                    </a:lnTo>
                    <a:lnTo>
                      <a:pt x="616" y="509"/>
                    </a:lnTo>
                    <a:lnTo>
                      <a:pt x="613" y="506"/>
                    </a:lnTo>
                    <a:lnTo>
                      <a:pt x="610" y="503"/>
                    </a:lnTo>
                    <a:lnTo>
                      <a:pt x="608" y="499"/>
                    </a:lnTo>
                    <a:lnTo>
                      <a:pt x="607" y="497"/>
                    </a:lnTo>
                    <a:lnTo>
                      <a:pt x="597" y="491"/>
                    </a:lnTo>
                    <a:lnTo>
                      <a:pt x="595" y="489"/>
                    </a:lnTo>
                    <a:lnTo>
                      <a:pt x="590" y="484"/>
                    </a:lnTo>
                    <a:lnTo>
                      <a:pt x="588" y="481"/>
                    </a:lnTo>
                    <a:lnTo>
                      <a:pt x="587" y="480"/>
                    </a:lnTo>
                    <a:lnTo>
                      <a:pt x="581" y="472"/>
                    </a:lnTo>
                    <a:lnTo>
                      <a:pt x="580" y="469"/>
                    </a:lnTo>
                    <a:lnTo>
                      <a:pt x="578" y="467"/>
                    </a:lnTo>
                    <a:lnTo>
                      <a:pt x="575" y="462"/>
                    </a:lnTo>
                    <a:lnTo>
                      <a:pt x="574" y="457"/>
                    </a:lnTo>
                    <a:lnTo>
                      <a:pt x="572" y="453"/>
                    </a:lnTo>
                    <a:lnTo>
                      <a:pt x="570" y="445"/>
                    </a:lnTo>
                    <a:lnTo>
                      <a:pt x="567" y="436"/>
                    </a:lnTo>
                    <a:lnTo>
                      <a:pt x="565" y="424"/>
                    </a:lnTo>
                    <a:lnTo>
                      <a:pt x="565" y="422"/>
                    </a:lnTo>
                    <a:lnTo>
                      <a:pt x="560" y="412"/>
                    </a:lnTo>
                    <a:lnTo>
                      <a:pt x="560" y="407"/>
                    </a:lnTo>
                    <a:lnTo>
                      <a:pt x="558" y="406"/>
                    </a:lnTo>
                    <a:lnTo>
                      <a:pt x="557" y="402"/>
                    </a:lnTo>
                    <a:lnTo>
                      <a:pt x="555" y="399"/>
                    </a:lnTo>
                    <a:lnTo>
                      <a:pt x="553" y="392"/>
                    </a:lnTo>
                    <a:lnTo>
                      <a:pt x="547" y="380"/>
                    </a:lnTo>
                    <a:lnTo>
                      <a:pt x="547" y="376"/>
                    </a:lnTo>
                    <a:lnTo>
                      <a:pt x="547" y="375"/>
                    </a:lnTo>
                    <a:lnTo>
                      <a:pt x="547" y="374"/>
                    </a:lnTo>
                    <a:lnTo>
                      <a:pt x="545" y="372"/>
                    </a:lnTo>
                    <a:lnTo>
                      <a:pt x="543" y="372"/>
                    </a:lnTo>
                    <a:lnTo>
                      <a:pt x="543" y="369"/>
                    </a:lnTo>
                    <a:lnTo>
                      <a:pt x="538" y="366"/>
                    </a:lnTo>
                    <a:lnTo>
                      <a:pt x="537" y="368"/>
                    </a:lnTo>
                    <a:lnTo>
                      <a:pt x="535" y="368"/>
                    </a:lnTo>
                    <a:lnTo>
                      <a:pt x="522" y="361"/>
                    </a:lnTo>
                    <a:lnTo>
                      <a:pt x="513" y="354"/>
                    </a:lnTo>
                    <a:lnTo>
                      <a:pt x="503" y="344"/>
                    </a:lnTo>
                    <a:lnTo>
                      <a:pt x="499" y="342"/>
                    </a:lnTo>
                    <a:lnTo>
                      <a:pt x="491" y="334"/>
                    </a:lnTo>
                    <a:lnTo>
                      <a:pt x="488" y="334"/>
                    </a:lnTo>
                    <a:lnTo>
                      <a:pt x="483" y="330"/>
                    </a:lnTo>
                    <a:lnTo>
                      <a:pt x="478" y="329"/>
                    </a:lnTo>
                    <a:lnTo>
                      <a:pt x="474" y="328"/>
                    </a:lnTo>
                    <a:lnTo>
                      <a:pt x="467" y="321"/>
                    </a:lnTo>
                    <a:lnTo>
                      <a:pt x="465" y="317"/>
                    </a:lnTo>
                    <a:lnTo>
                      <a:pt x="465" y="318"/>
                    </a:lnTo>
                    <a:lnTo>
                      <a:pt x="464" y="317"/>
                    </a:lnTo>
                    <a:lnTo>
                      <a:pt x="460" y="315"/>
                    </a:lnTo>
                    <a:lnTo>
                      <a:pt x="454" y="307"/>
                    </a:lnTo>
                    <a:lnTo>
                      <a:pt x="449" y="301"/>
                    </a:lnTo>
                    <a:lnTo>
                      <a:pt x="448" y="297"/>
                    </a:lnTo>
                    <a:lnTo>
                      <a:pt x="447" y="293"/>
                    </a:lnTo>
                    <a:lnTo>
                      <a:pt x="445" y="289"/>
                    </a:lnTo>
                    <a:lnTo>
                      <a:pt x="445" y="284"/>
                    </a:lnTo>
                    <a:lnTo>
                      <a:pt x="442" y="276"/>
                    </a:lnTo>
                    <a:lnTo>
                      <a:pt x="442" y="272"/>
                    </a:lnTo>
                    <a:lnTo>
                      <a:pt x="443" y="262"/>
                    </a:lnTo>
                    <a:lnTo>
                      <a:pt x="441" y="259"/>
                    </a:lnTo>
                    <a:lnTo>
                      <a:pt x="440" y="253"/>
                    </a:lnTo>
                    <a:lnTo>
                      <a:pt x="441" y="244"/>
                    </a:lnTo>
                    <a:lnTo>
                      <a:pt x="441" y="243"/>
                    </a:lnTo>
                    <a:lnTo>
                      <a:pt x="442" y="242"/>
                    </a:lnTo>
                    <a:lnTo>
                      <a:pt x="442" y="241"/>
                    </a:lnTo>
                    <a:lnTo>
                      <a:pt x="442" y="240"/>
                    </a:lnTo>
                    <a:lnTo>
                      <a:pt x="443" y="238"/>
                    </a:lnTo>
                    <a:lnTo>
                      <a:pt x="445" y="238"/>
                    </a:lnTo>
                    <a:lnTo>
                      <a:pt x="446" y="241"/>
                    </a:lnTo>
                    <a:lnTo>
                      <a:pt x="449" y="242"/>
                    </a:lnTo>
                    <a:lnTo>
                      <a:pt x="448" y="242"/>
                    </a:lnTo>
                    <a:lnTo>
                      <a:pt x="451" y="244"/>
                    </a:lnTo>
                    <a:lnTo>
                      <a:pt x="452" y="242"/>
                    </a:lnTo>
                    <a:lnTo>
                      <a:pt x="453" y="242"/>
                    </a:lnTo>
                    <a:lnTo>
                      <a:pt x="453" y="241"/>
                    </a:lnTo>
                    <a:lnTo>
                      <a:pt x="454" y="240"/>
                    </a:lnTo>
                    <a:lnTo>
                      <a:pt x="452" y="240"/>
                    </a:lnTo>
                    <a:lnTo>
                      <a:pt x="452" y="239"/>
                    </a:lnTo>
                    <a:lnTo>
                      <a:pt x="453" y="238"/>
                    </a:lnTo>
                    <a:lnTo>
                      <a:pt x="451" y="235"/>
                    </a:lnTo>
                    <a:lnTo>
                      <a:pt x="452" y="233"/>
                    </a:lnTo>
                    <a:lnTo>
                      <a:pt x="453" y="231"/>
                    </a:lnTo>
                    <a:lnTo>
                      <a:pt x="455" y="232"/>
                    </a:lnTo>
                    <a:lnTo>
                      <a:pt x="455" y="234"/>
                    </a:lnTo>
                    <a:lnTo>
                      <a:pt x="454" y="236"/>
                    </a:lnTo>
                    <a:lnTo>
                      <a:pt x="456" y="240"/>
                    </a:lnTo>
                    <a:lnTo>
                      <a:pt x="455" y="241"/>
                    </a:lnTo>
                    <a:lnTo>
                      <a:pt x="456" y="240"/>
                    </a:lnTo>
                    <a:lnTo>
                      <a:pt x="458" y="236"/>
                    </a:lnTo>
                    <a:lnTo>
                      <a:pt x="460" y="232"/>
                    </a:lnTo>
                    <a:lnTo>
                      <a:pt x="460" y="230"/>
                    </a:lnTo>
                    <a:lnTo>
                      <a:pt x="459" y="230"/>
                    </a:lnTo>
                    <a:lnTo>
                      <a:pt x="459" y="229"/>
                    </a:lnTo>
                    <a:lnTo>
                      <a:pt x="460" y="230"/>
                    </a:lnTo>
                    <a:lnTo>
                      <a:pt x="462" y="227"/>
                    </a:lnTo>
                    <a:lnTo>
                      <a:pt x="461" y="227"/>
                    </a:lnTo>
                    <a:lnTo>
                      <a:pt x="461" y="226"/>
                    </a:lnTo>
                    <a:lnTo>
                      <a:pt x="463" y="226"/>
                    </a:lnTo>
                    <a:lnTo>
                      <a:pt x="462" y="223"/>
                    </a:lnTo>
                    <a:lnTo>
                      <a:pt x="459" y="222"/>
                    </a:lnTo>
                    <a:lnTo>
                      <a:pt x="460" y="224"/>
                    </a:lnTo>
                    <a:lnTo>
                      <a:pt x="459" y="224"/>
                    </a:lnTo>
                    <a:lnTo>
                      <a:pt x="457" y="223"/>
                    </a:lnTo>
                    <a:lnTo>
                      <a:pt x="454" y="218"/>
                    </a:lnTo>
                    <a:lnTo>
                      <a:pt x="455" y="220"/>
                    </a:lnTo>
                    <a:lnTo>
                      <a:pt x="452" y="218"/>
                    </a:lnTo>
                    <a:lnTo>
                      <a:pt x="453" y="217"/>
                    </a:lnTo>
                    <a:lnTo>
                      <a:pt x="449" y="214"/>
                    </a:lnTo>
                    <a:lnTo>
                      <a:pt x="451" y="216"/>
                    </a:lnTo>
                    <a:lnTo>
                      <a:pt x="451" y="218"/>
                    </a:lnTo>
                    <a:lnTo>
                      <a:pt x="449" y="220"/>
                    </a:lnTo>
                    <a:lnTo>
                      <a:pt x="449" y="219"/>
                    </a:lnTo>
                    <a:lnTo>
                      <a:pt x="449" y="218"/>
                    </a:lnTo>
                    <a:lnTo>
                      <a:pt x="450" y="218"/>
                    </a:lnTo>
                    <a:lnTo>
                      <a:pt x="448" y="213"/>
                    </a:lnTo>
                    <a:lnTo>
                      <a:pt x="446" y="212"/>
                    </a:lnTo>
                    <a:lnTo>
                      <a:pt x="446" y="214"/>
                    </a:lnTo>
                    <a:lnTo>
                      <a:pt x="444" y="212"/>
                    </a:lnTo>
                    <a:lnTo>
                      <a:pt x="444" y="208"/>
                    </a:lnTo>
                    <a:lnTo>
                      <a:pt x="445" y="208"/>
                    </a:lnTo>
                    <a:lnTo>
                      <a:pt x="445" y="210"/>
                    </a:lnTo>
                    <a:lnTo>
                      <a:pt x="446" y="211"/>
                    </a:lnTo>
                    <a:lnTo>
                      <a:pt x="446" y="206"/>
                    </a:lnTo>
                    <a:lnTo>
                      <a:pt x="446" y="204"/>
                    </a:lnTo>
                    <a:lnTo>
                      <a:pt x="444" y="200"/>
                    </a:lnTo>
                    <a:lnTo>
                      <a:pt x="444" y="197"/>
                    </a:lnTo>
                    <a:lnTo>
                      <a:pt x="444" y="198"/>
                    </a:lnTo>
                    <a:lnTo>
                      <a:pt x="443" y="199"/>
                    </a:lnTo>
                    <a:lnTo>
                      <a:pt x="441" y="199"/>
                    </a:lnTo>
                    <a:lnTo>
                      <a:pt x="442" y="200"/>
                    </a:lnTo>
                    <a:lnTo>
                      <a:pt x="441" y="201"/>
                    </a:lnTo>
                    <a:lnTo>
                      <a:pt x="440" y="201"/>
                    </a:lnTo>
                    <a:lnTo>
                      <a:pt x="439" y="200"/>
                    </a:lnTo>
                    <a:lnTo>
                      <a:pt x="438" y="198"/>
                    </a:lnTo>
                    <a:lnTo>
                      <a:pt x="438" y="197"/>
                    </a:lnTo>
                    <a:lnTo>
                      <a:pt x="437" y="196"/>
                    </a:lnTo>
                    <a:lnTo>
                      <a:pt x="437" y="195"/>
                    </a:lnTo>
                    <a:lnTo>
                      <a:pt x="438" y="195"/>
                    </a:lnTo>
                    <a:lnTo>
                      <a:pt x="437" y="193"/>
                    </a:lnTo>
                    <a:lnTo>
                      <a:pt x="438" y="192"/>
                    </a:lnTo>
                    <a:lnTo>
                      <a:pt x="438" y="190"/>
                    </a:lnTo>
                    <a:lnTo>
                      <a:pt x="436" y="190"/>
                    </a:lnTo>
                    <a:lnTo>
                      <a:pt x="437" y="192"/>
                    </a:lnTo>
                    <a:lnTo>
                      <a:pt x="436" y="193"/>
                    </a:lnTo>
                    <a:lnTo>
                      <a:pt x="434" y="193"/>
                    </a:lnTo>
                    <a:lnTo>
                      <a:pt x="433" y="193"/>
                    </a:lnTo>
                    <a:lnTo>
                      <a:pt x="433" y="191"/>
                    </a:lnTo>
                    <a:lnTo>
                      <a:pt x="432" y="190"/>
                    </a:lnTo>
                    <a:lnTo>
                      <a:pt x="433" y="187"/>
                    </a:lnTo>
                    <a:lnTo>
                      <a:pt x="435" y="189"/>
                    </a:lnTo>
                    <a:lnTo>
                      <a:pt x="437" y="189"/>
                    </a:lnTo>
                    <a:lnTo>
                      <a:pt x="438" y="188"/>
                    </a:lnTo>
                    <a:lnTo>
                      <a:pt x="438" y="186"/>
                    </a:lnTo>
                    <a:lnTo>
                      <a:pt x="438" y="184"/>
                    </a:lnTo>
                    <a:lnTo>
                      <a:pt x="440" y="183"/>
                    </a:lnTo>
                    <a:lnTo>
                      <a:pt x="440" y="182"/>
                    </a:lnTo>
                    <a:lnTo>
                      <a:pt x="440" y="181"/>
                    </a:lnTo>
                    <a:lnTo>
                      <a:pt x="441" y="180"/>
                    </a:lnTo>
                    <a:lnTo>
                      <a:pt x="440" y="179"/>
                    </a:lnTo>
                    <a:lnTo>
                      <a:pt x="441" y="176"/>
                    </a:lnTo>
                    <a:lnTo>
                      <a:pt x="441" y="173"/>
                    </a:lnTo>
                    <a:lnTo>
                      <a:pt x="442" y="173"/>
                    </a:lnTo>
                    <a:lnTo>
                      <a:pt x="443" y="170"/>
                    </a:lnTo>
                    <a:lnTo>
                      <a:pt x="447" y="169"/>
                    </a:lnTo>
                    <a:lnTo>
                      <a:pt x="448" y="167"/>
                    </a:lnTo>
                    <a:lnTo>
                      <a:pt x="450" y="168"/>
                    </a:lnTo>
                    <a:lnTo>
                      <a:pt x="450" y="169"/>
                    </a:lnTo>
                    <a:lnTo>
                      <a:pt x="451" y="169"/>
                    </a:lnTo>
                    <a:lnTo>
                      <a:pt x="454" y="169"/>
                    </a:lnTo>
                    <a:lnTo>
                      <a:pt x="454" y="168"/>
                    </a:lnTo>
                    <a:lnTo>
                      <a:pt x="451" y="167"/>
                    </a:lnTo>
                    <a:lnTo>
                      <a:pt x="451" y="166"/>
                    </a:lnTo>
                    <a:lnTo>
                      <a:pt x="452" y="165"/>
                    </a:lnTo>
                    <a:lnTo>
                      <a:pt x="452" y="166"/>
                    </a:lnTo>
                    <a:lnTo>
                      <a:pt x="454" y="166"/>
                    </a:lnTo>
                    <a:lnTo>
                      <a:pt x="454" y="167"/>
                    </a:lnTo>
                    <a:lnTo>
                      <a:pt x="456" y="167"/>
                    </a:lnTo>
                    <a:lnTo>
                      <a:pt x="455" y="166"/>
                    </a:lnTo>
                    <a:lnTo>
                      <a:pt x="456" y="164"/>
                    </a:lnTo>
                    <a:lnTo>
                      <a:pt x="458" y="163"/>
                    </a:lnTo>
                    <a:lnTo>
                      <a:pt x="458" y="161"/>
                    </a:lnTo>
                    <a:lnTo>
                      <a:pt x="459" y="162"/>
                    </a:lnTo>
                    <a:lnTo>
                      <a:pt x="460" y="161"/>
                    </a:lnTo>
                    <a:lnTo>
                      <a:pt x="460" y="163"/>
                    </a:lnTo>
                    <a:lnTo>
                      <a:pt x="463" y="165"/>
                    </a:lnTo>
                    <a:lnTo>
                      <a:pt x="465" y="163"/>
                    </a:lnTo>
                    <a:lnTo>
                      <a:pt x="466" y="163"/>
                    </a:lnTo>
                    <a:lnTo>
                      <a:pt x="464" y="166"/>
                    </a:lnTo>
                    <a:lnTo>
                      <a:pt x="462" y="166"/>
                    </a:lnTo>
                    <a:lnTo>
                      <a:pt x="461" y="167"/>
                    </a:lnTo>
                    <a:lnTo>
                      <a:pt x="462" y="169"/>
                    </a:lnTo>
                    <a:lnTo>
                      <a:pt x="461" y="169"/>
                    </a:lnTo>
                    <a:lnTo>
                      <a:pt x="459" y="169"/>
                    </a:lnTo>
                    <a:lnTo>
                      <a:pt x="460" y="169"/>
                    </a:lnTo>
                    <a:lnTo>
                      <a:pt x="460" y="167"/>
                    </a:lnTo>
                    <a:lnTo>
                      <a:pt x="459" y="168"/>
                    </a:lnTo>
                    <a:lnTo>
                      <a:pt x="457" y="167"/>
                    </a:lnTo>
                    <a:lnTo>
                      <a:pt x="457" y="169"/>
                    </a:lnTo>
                    <a:lnTo>
                      <a:pt x="457" y="170"/>
                    </a:lnTo>
                    <a:lnTo>
                      <a:pt x="456" y="169"/>
                    </a:lnTo>
                    <a:lnTo>
                      <a:pt x="455" y="169"/>
                    </a:lnTo>
                    <a:lnTo>
                      <a:pt x="455" y="172"/>
                    </a:lnTo>
                    <a:lnTo>
                      <a:pt x="452" y="175"/>
                    </a:lnTo>
                    <a:lnTo>
                      <a:pt x="454" y="175"/>
                    </a:lnTo>
                    <a:lnTo>
                      <a:pt x="479" y="163"/>
                    </a:lnTo>
                    <a:lnTo>
                      <a:pt x="488" y="158"/>
                    </a:lnTo>
                    <a:lnTo>
                      <a:pt x="489" y="157"/>
                    </a:lnTo>
                    <a:lnTo>
                      <a:pt x="491" y="155"/>
                    </a:lnTo>
                    <a:lnTo>
                      <a:pt x="497" y="155"/>
                    </a:lnTo>
                    <a:lnTo>
                      <a:pt x="497" y="153"/>
                    </a:lnTo>
                    <a:lnTo>
                      <a:pt x="498" y="155"/>
                    </a:lnTo>
                    <a:lnTo>
                      <a:pt x="505" y="154"/>
                    </a:lnTo>
                    <a:lnTo>
                      <a:pt x="507" y="151"/>
                    </a:lnTo>
                    <a:lnTo>
                      <a:pt x="510" y="147"/>
                    </a:lnTo>
                    <a:lnTo>
                      <a:pt x="506" y="149"/>
                    </a:lnTo>
                    <a:lnTo>
                      <a:pt x="505" y="148"/>
                    </a:lnTo>
                    <a:lnTo>
                      <a:pt x="504" y="146"/>
                    </a:lnTo>
                    <a:lnTo>
                      <a:pt x="506" y="143"/>
                    </a:lnTo>
                    <a:lnTo>
                      <a:pt x="508" y="143"/>
                    </a:lnTo>
                    <a:lnTo>
                      <a:pt x="507" y="143"/>
                    </a:lnTo>
                    <a:lnTo>
                      <a:pt x="507" y="141"/>
                    </a:lnTo>
                    <a:lnTo>
                      <a:pt x="509" y="139"/>
                    </a:lnTo>
                    <a:lnTo>
                      <a:pt x="509" y="141"/>
                    </a:lnTo>
                    <a:lnTo>
                      <a:pt x="510" y="142"/>
                    </a:lnTo>
                    <a:lnTo>
                      <a:pt x="511" y="141"/>
                    </a:lnTo>
                    <a:lnTo>
                      <a:pt x="512" y="139"/>
                    </a:lnTo>
                    <a:lnTo>
                      <a:pt x="513" y="139"/>
                    </a:lnTo>
                    <a:lnTo>
                      <a:pt x="514" y="139"/>
                    </a:lnTo>
                    <a:lnTo>
                      <a:pt x="515" y="139"/>
                    </a:lnTo>
                    <a:lnTo>
                      <a:pt x="516" y="141"/>
                    </a:lnTo>
                    <a:lnTo>
                      <a:pt x="518" y="141"/>
                    </a:lnTo>
                    <a:lnTo>
                      <a:pt x="527" y="143"/>
                    </a:lnTo>
                    <a:lnTo>
                      <a:pt x="528" y="145"/>
                    </a:lnTo>
                    <a:lnTo>
                      <a:pt x="530" y="144"/>
                    </a:lnTo>
                    <a:lnTo>
                      <a:pt x="532" y="146"/>
                    </a:lnTo>
                    <a:lnTo>
                      <a:pt x="532" y="147"/>
                    </a:lnTo>
                    <a:lnTo>
                      <a:pt x="528" y="149"/>
                    </a:lnTo>
                    <a:lnTo>
                      <a:pt x="529" y="150"/>
                    </a:lnTo>
                    <a:lnTo>
                      <a:pt x="532" y="149"/>
                    </a:lnTo>
                    <a:lnTo>
                      <a:pt x="535" y="147"/>
                    </a:lnTo>
                    <a:lnTo>
                      <a:pt x="536" y="146"/>
                    </a:lnTo>
                    <a:lnTo>
                      <a:pt x="537" y="146"/>
                    </a:lnTo>
                    <a:lnTo>
                      <a:pt x="541" y="144"/>
                    </a:lnTo>
                    <a:lnTo>
                      <a:pt x="541" y="143"/>
                    </a:lnTo>
                    <a:lnTo>
                      <a:pt x="539" y="143"/>
                    </a:lnTo>
                    <a:lnTo>
                      <a:pt x="540" y="139"/>
                    </a:lnTo>
                    <a:lnTo>
                      <a:pt x="541" y="138"/>
                    </a:lnTo>
                    <a:lnTo>
                      <a:pt x="547" y="139"/>
                    </a:lnTo>
                    <a:lnTo>
                      <a:pt x="550" y="142"/>
                    </a:lnTo>
                    <a:lnTo>
                      <a:pt x="554" y="147"/>
                    </a:lnTo>
                    <a:lnTo>
                      <a:pt x="556" y="148"/>
                    </a:lnTo>
                    <a:lnTo>
                      <a:pt x="557" y="151"/>
                    </a:lnTo>
                    <a:lnTo>
                      <a:pt x="556" y="153"/>
                    </a:lnTo>
                    <a:lnTo>
                      <a:pt x="559" y="154"/>
                    </a:lnTo>
                    <a:lnTo>
                      <a:pt x="560" y="156"/>
                    </a:lnTo>
                    <a:lnTo>
                      <a:pt x="561" y="156"/>
                    </a:lnTo>
                    <a:lnTo>
                      <a:pt x="560" y="157"/>
                    </a:lnTo>
                    <a:lnTo>
                      <a:pt x="555" y="157"/>
                    </a:lnTo>
                    <a:lnTo>
                      <a:pt x="555" y="158"/>
                    </a:lnTo>
                    <a:lnTo>
                      <a:pt x="565" y="159"/>
                    </a:lnTo>
                    <a:lnTo>
                      <a:pt x="570" y="153"/>
                    </a:lnTo>
                    <a:lnTo>
                      <a:pt x="566" y="151"/>
                    </a:lnTo>
                    <a:lnTo>
                      <a:pt x="565" y="149"/>
                    </a:lnTo>
                    <a:lnTo>
                      <a:pt x="564" y="145"/>
                    </a:lnTo>
                    <a:lnTo>
                      <a:pt x="562" y="143"/>
                    </a:lnTo>
                    <a:lnTo>
                      <a:pt x="560" y="141"/>
                    </a:lnTo>
                    <a:lnTo>
                      <a:pt x="556" y="140"/>
                    </a:lnTo>
                    <a:lnTo>
                      <a:pt x="551" y="137"/>
                    </a:lnTo>
                    <a:lnTo>
                      <a:pt x="545" y="135"/>
                    </a:lnTo>
                    <a:lnTo>
                      <a:pt x="544" y="131"/>
                    </a:lnTo>
                    <a:lnTo>
                      <a:pt x="544" y="127"/>
                    </a:lnTo>
                    <a:lnTo>
                      <a:pt x="547" y="125"/>
                    </a:lnTo>
                    <a:lnTo>
                      <a:pt x="548" y="121"/>
                    </a:lnTo>
                    <a:lnTo>
                      <a:pt x="548" y="117"/>
                    </a:lnTo>
                    <a:lnTo>
                      <a:pt x="544" y="116"/>
                    </a:lnTo>
                    <a:lnTo>
                      <a:pt x="541" y="119"/>
                    </a:lnTo>
                    <a:lnTo>
                      <a:pt x="540" y="118"/>
                    </a:lnTo>
                    <a:lnTo>
                      <a:pt x="538" y="117"/>
                    </a:lnTo>
                    <a:lnTo>
                      <a:pt x="536" y="114"/>
                    </a:lnTo>
                    <a:lnTo>
                      <a:pt x="538" y="112"/>
                    </a:lnTo>
                    <a:lnTo>
                      <a:pt x="538" y="111"/>
                    </a:lnTo>
                    <a:lnTo>
                      <a:pt x="537" y="109"/>
                    </a:lnTo>
                    <a:lnTo>
                      <a:pt x="540" y="109"/>
                    </a:lnTo>
                    <a:lnTo>
                      <a:pt x="541" y="106"/>
                    </a:lnTo>
                    <a:lnTo>
                      <a:pt x="545" y="105"/>
                    </a:lnTo>
                    <a:lnTo>
                      <a:pt x="549" y="100"/>
                    </a:lnTo>
                    <a:lnTo>
                      <a:pt x="550" y="97"/>
                    </a:lnTo>
                    <a:lnTo>
                      <a:pt x="549" y="95"/>
                    </a:lnTo>
                    <a:lnTo>
                      <a:pt x="543" y="95"/>
                    </a:lnTo>
                    <a:lnTo>
                      <a:pt x="542" y="93"/>
                    </a:lnTo>
                    <a:lnTo>
                      <a:pt x="539" y="92"/>
                    </a:lnTo>
                    <a:lnTo>
                      <a:pt x="538" y="92"/>
                    </a:lnTo>
                    <a:lnTo>
                      <a:pt x="537" y="91"/>
                    </a:lnTo>
                    <a:lnTo>
                      <a:pt x="535" y="91"/>
                    </a:lnTo>
                    <a:lnTo>
                      <a:pt x="533" y="90"/>
                    </a:lnTo>
                    <a:lnTo>
                      <a:pt x="534" y="93"/>
                    </a:lnTo>
                    <a:lnTo>
                      <a:pt x="531" y="93"/>
                    </a:lnTo>
                    <a:lnTo>
                      <a:pt x="531" y="92"/>
                    </a:lnTo>
                    <a:lnTo>
                      <a:pt x="531" y="90"/>
                    </a:lnTo>
                    <a:lnTo>
                      <a:pt x="530" y="89"/>
                    </a:lnTo>
                    <a:lnTo>
                      <a:pt x="529" y="86"/>
                    </a:lnTo>
                    <a:lnTo>
                      <a:pt x="528" y="84"/>
                    </a:lnTo>
                    <a:lnTo>
                      <a:pt x="531" y="83"/>
                    </a:lnTo>
                    <a:lnTo>
                      <a:pt x="532" y="81"/>
                    </a:lnTo>
                    <a:lnTo>
                      <a:pt x="533" y="80"/>
                    </a:lnTo>
                    <a:lnTo>
                      <a:pt x="533" y="78"/>
                    </a:lnTo>
                    <a:lnTo>
                      <a:pt x="535" y="77"/>
                    </a:lnTo>
                    <a:lnTo>
                      <a:pt x="539" y="74"/>
                    </a:lnTo>
                    <a:lnTo>
                      <a:pt x="543" y="73"/>
                    </a:lnTo>
                    <a:lnTo>
                      <a:pt x="545" y="69"/>
                    </a:lnTo>
                    <a:lnTo>
                      <a:pt x="549" y="68"/>
                    </a:lnTo>
                    <a:lnTo>
                      <a:pt x="552" y="68"/>
                    </a:lnTo>
                    <a:lnTo>
                      <a:pt x="554" y="64"/>
                    </a:lnTo>
                    <a:lnTo>
                      <a:pt x="553" y="63"/>
                    </a:lnTo>
                    <a:lnTo>
                      <a:pt x="555" y="60"/>
                    </a:lnTo>
                    <a:lnTo>
                      <a:pt x="550" y="60"/>
                    </a:lnTo>
                    <a:lnTo>
                      <a:pt x="546" y="58"/>
                    </a:lnTo>
                    <a:lnTo>
                      <a:pt x="544" y="58"/>
                    </a:lnTo>
                    <a:lnTo>
                      <a:pt x="541" y="56"/>
                    </a:lnTo>
                    <a:lnTo>
                      <a:pt x="539" y="57"/>
                    </a:lnTo>
                    <a:lnTo>
                      <a:pt x="537" y="55"/>
                    </a:lnTo>
                    <a:lnTo>
                      <a:pt x="533" y="56"/>
                    </a:lnTo>
                    <a:lnTo>
                      <a:pt x="531" y="56"/>
                    </a:lnTo>
                    <a:lnTo>
                      <a:pt x="530" y="54"/>
                    </a:lnTo>
                    <a:lnTo>
                      <a:pt x="528" y="54"/>
                    </a:lnTo>
                    <a:lnTo>
                      <a:pt x="523" y="56"/>
                    </a:lnTo>
                    <a:lnTo>
                      <a:pt x="517" y="56"/>
                    </a:lnTo>
                    <a:lnTo>
                      <a:pt x="515" y="55"/>
                    </a:lnTo>
                    <a:lnTo>
                      <a:pt x="510" y="52"/>
                    </a:lnTo>
                    <a:lnTo>
                      <a:pt x="486" y="51"/>
                    </a:lnTo>
                    <a:lnTo>
                      <a:pt x="485" y="49"/>
                    </a:lnTo>
                    <a:lnTo>
                      <a:pt x="481" y="47"/>
                    </a:lnTo>
                    <a:lnTo>
                      <a:pt x="478" y="48"/>
                    </a:lnTo>
                    <a:lnTo>
                      <a:pt x="474" y="46"/>
                    </a:lnTo>
                    <a:lnTo>
                      <a:pt x="464" y="46"/>
                    </a:lnTo>
                    <a:lnTo>
                      <a:pt x="461" y="44"/>
                    </a:lnTo>
                    <a:lnTo>
                      <a:pt x="455" y="42"/>
                    </a:lnTo>
                    <a:lnTo>
                      <a:pt x="451" y="40"/>
                    </a:lnTo>
                    <a:lnTo>
                      <a:pt x="448" y="34"/>
                    </a:lnTo>
                    <a:lnTo>
                      <a:pt x="443" y="32"/>
                    </a:lnTo>
                    <a:lnTo>
                      <a:pt x="443" y="30"/>
                    </a:lnTo>
                    <a:lnTo>
                      <a:pt x="444" y="27"/>
                    </a:lnTo>
                    <a:lnTo>
                      <a:pt x="444" y="24"/>
                    </a:lnTo>
                    <a:lnTo>
                      <a:pt x="442" y="24"/>
                    </a:lnTo>
                    <a:lnTo>
                      <a:pt x="443" y="23"/>
                    </a:lnTo>
                    <a:lnTo>
                      <a:pt x="441" y="21"/>
                    </a:lnTo>
                    <a:lnTo>
                      <a:pt x="439" y="21"/>
                    </a:lnTo>
                    <a:lnTo>
                      <a:pt x="437" y="23"/>
                    </a:lnTo>
                    <a:lnTo>
                      <a:pt x="435" y="19"/>
                    </a:lnTo>
                    <a:lnTo>
                      <a:pt x="432" y="19"/>
                    </a:lnTo>
                    <a:lnTo>
                      <a:pt x="433" y="16"/>
                    </a:lnTo>
                    <a:lnTo>
                      <a:pt x="431" y="13"/>
                    </a:lnTo>
                    <a:lnTo>
                      <a:pt x="431" y="12"/>
                    </a:lnTo>
                    <a:lnTo>
                      <a:pt x="430" y="9"/>
                    </a:lnTo>
                    <a:lnTo>
                      <a:pt x="431" y="8"/>
                    </a:lnTo>
                    <a:lnTo>
                      <a:pt x="436" y="6"/>
                    </a:lnTo>
                    <a:lnTo>
                      <a:pt x="439" y="3"/>
                    </a:lnTo>
                    <a:lnTo>
                      <a:pt x="439" y="1"/>
                    </a:lnTo>
                    <a:lnTo>
                      <a:pt x="438" y="1"/>
                    </a:lnTo>
                    <a:lnTo>
                      <a:pt x="435" y="0"/>
                    </a:lnTo>
                    <a:lnTo>
                      <a:pt x="430" y="1"/>
                    </a:lnTo>
                    <a:lnTo>
                      <a:pt x="429" y="1"/>
                    </a:lnTo>
                    <a:lnTo>
                      <a:pt x="426" y="3"/>
                    </a:lnTo>
                    <a:lnTo>
                      <a:pt x="424" y="3"/>
                    </a:lnTo>
                    <a:lnTo>
                      <a:pt x="423" y="5"/>
                    </a:lnTo>
                    <a:lnTo>
                      <a:pt x="420" y="5"/>
                    </a:lnTo>
                    <a:lnTo>
                      <a:pt x="414" y="6"/>
                    </a:lnTo>
                    <a:lnTo>
                      <a:pt x="408" y="10"/>
                    </a:lnTo>
                    <a:lnTo>
                      <a:pt x="404" y="11"/>
                    </a:lnTo>
                    <a:lnTo>
                      <a:pt x="402" y="12"/>
                    </a:lnTo>
                    <a:lnTo>
                      <a:pt x="399" y="12"/>
                    </a:lnTo>
                    <a:lnTo>
                      <a:pt x="397" y="10"/>
                    </a:lnTo>
                    <a:lnTo>
                      <a:pt x="393" y="9"/>
                    </a:lnTo>
                    <a:lnTo>
                      <a:pt x="391" y="9"/>
                    </a:lnTo>
                    <a:lnTo>
                      <a:pt x="384" y="10"/>
                    </a:lnTo>
                    <a:lnTo>
                      <a:pt x="382" y="9"/>
                    </a:lnTo>
                    <a:lnTo>
                      <a:pt x="380" y="8"/>
                    </a:lnTo>
                    <a:lnTo>
                      <a:pt x="378" y="12"/>
                    </a:lnTo>
                    <a:lnTo>
                      <a:pt x="375" y="13"/>
                    </a:lnTo>
                    <a:lnTo>
                      <a:pt x="373" y="12"/>
                    </a:lnTo>
                    <a:lnTo>
                      <a:pt x="370" y="10"/>
                    </a:lnTo>
                    <a:lnTo>
                      <a:pt x="356" y="13"/>
                    </a:lnTo>
                    <a:lnTo>
                      <a:pt x="355" y="15"/>
                    </a:lnTo>
                    <a:lnTo>
                      <a:pt x="352" y="18"/>
                    </a:lnTo>
                    <a:lnTo>
                      <a:pt x="350" y="19"/>
                    </a:lnTo>
                    <a:lnTo>
                      <a:pt x="350" y="22"/>
                    </a:lnTo>
                    <a:lnTo>
                      <a:pt x="348" y="25"/>
                    </a:lnTo>
                    <a:lnTo>
                      <a:pt x="348" y="29"/>
                    </a:lnTo>
                    <a:lnTo>
                      <a:pt x="346" y="30"/>
                    </a:lnTo>
                    <a:lnTo>
                      <a:pt x="344" y="34"/>
                    </a:lnTo>
                    <a:lnTo>
                      <a:pt x="338" y="33"/>
                    </a:lnTo>
                    <a:lnTo>
                      <a:pt x="333" y="34"/>
                    </a:lnTo>
                    <a:lnTo>
                      <a:pt x="331" y="32"/>
                    </a:lnTo>
                    <a:lnTo>
                      <a:pt x="328" y="33"/>
                    </a:lnTo>
                    <a:lnTo>
                      <a:pt x="326" y="31"/>
                    </a:lnTo>
                    <a:lnTo>
                      <a:pt x="323" y="32"/>
                    </a:lnTo>
                    <a:lnTo>
                      <a:pt x="322" y="31"/>
                    </a:lnTo>
                    <a:lnTo>
                      <a:pt x="324" y="29"/>
                    </a:lnTo>
                    <a:lnTo>
                      <a:pt x="324" y="28"/>
                    </a:lnTo>
                    <a:lnTo>
                      <a:pt x="319" y="25"/>
                    </a:lnTo>
                    <a:lnTo>
                      <a:pt x="319" y="24"/>
                    </a:lnTo>
                    <a:lnTo>
                      <a:pt x="318" y="24"/>
                    </a:lnTo>
                    <a:lnTo>
                      <a:pt x="316" y="23"/>
                    </a:lnTo>
                    <a:lnTo>
                      <a:pt x="308" y="26"/>
                    </a:lnTo>
                    <a:lnTo>
                      <a:pt x="307" y="25"/>
                    </a:lnTo>
                    <a:lnTo>
                      <a:pt x="303" y="26"/>
                    </a:lnTo>
                    <a:lnTo>
                      <a:pt x="301" y="24"/>
                    </a:lnTo>
                    <a:lnTo>
                      <a:pt x="301" y="22"/>
                    </a:lnTo>
                    <a:lnTo>
                      <a:pt x="301" y="24"/>
                    </a:lnTo>
                    <a:lnTo>
                      <a:pt x="300" y="29"/>
                    </a:lnTo>
                    <a:lnTo>
                      <a:pt x="298" y="31"/>
                    </a:lnTo>
                    <a:lnTo>
                      <a:pt x="299" y="34"/>
                    </a:lnTo>
                    <a:lnTo>
                      <a:pt x="299" y="36"/>
                    </a:lnTo>
                    <a:lnTo>
                      <a:pt x="296" y="38"/>
                    </a:lnTo>
                    <a:lnTo>
                      <a:pt x="297" y="40"/>
                    </a:lnTo>
                    <a:lnTo>
                      <a:pt x="294" y="42"/>
                    </a:lnTo>
                    <a:lnTo>
                      <a:pt x="294" y="43"/>
                    </a:lnTo>
                    <a:lnTo>
                      <a:pt x="296" y="48"/>
                    </a:lnTo>
                    <a:lnTo>
                      <a:pt x="299" y="48"/>
                    </a:lnTo>
                    <a:lnTo>
                      <a:pt x="301" y="48"/>
                    </a:lnTo>
                    <a:lnTo>
                      <a:pt x="302" y="50"/>
                    </a:lnTo>
                    <a:lnTo>
                      <a:pt x="302" y="52"/>
                    </a:lnTo>
                    <a:lnTo>
                      <a:pt x="301" y="54"/>
                    </a:lnTo>
                    <a:lnTo>
                      <a:pt x="301" y="57"/>
                    </a:lnTo>
                    <a:lnTo>
                      <a:pt x="299" y="58"/>
                    </a:lnTo>
                    <a:lnTo>
                      <a:pt x="297" y="57"/>
                    </a:lnTo>
                    <a:lnTo>
                      <a:pt x="295" y="58"/>
                    </a:lnTo>
                    <a:lnTo>
                      <a:pt x="292" y="56"/>
                    </a:lnTo>
                    <a:lnTo>
                      <a:pt x="291" y="58"/>
                    </a:lnTo>
                    <a:lnTo>
                      <a:pt x="288" y="57"/>
                    </a:lnTo>
                    <a:lnTo>
                      <a:pt x="286" y="54"/>
                    </a:lnTo>
                    <a:lnTo>
                      <a:pt x="283" y="54"/>
                    </a:lnTo>
                    <a:lnTo>
                      <a:pt x="284" y="50"/>
                    </a:lnTo>
                    <a:lnTo>
                      <a:pt x="283" y="48"/>
                    </a:lnTo>
                    <a:lnTo>
                      <a:pt x="280" y="50"/>
                    </a:lnTo>
                    <a:lnTo>
                      <a:pt x="278" y="49"/>
                    </a:lnTo>
                    <a:lnTo>
                      <a:pt x="274" y="51"/>
                    </a:lnTo>
                    <a:lnTo>
                      <a:pt x="273" y="50"/>
                    </a:lnTo>
                    <a:lnTo>
                      <a:pt x="271" y="54"/>
                    </a:lnTo>
                    <a:lnTo>
                      <a:pt x="271" y="56"/>
                    </a:lnTo>
                    <a:lnTo>
                      <a:pt x="268" y="58"/>
                    </a:lnTo>
                    <a:lnTo>
                      <a:pt x="269" y="60"/>
                    </a:lnTo>
                    <a:lnTo>
                      <a:pt x="268" y="62"/>
                    </a:lnTo>
                    <a:lnTo>
                      <a:pt x="268" y="64"/>
                    </a:lnTo>
                    <a:lnTo>
                      <a:pt x="269" y="66"/>
                    </a:lnTo>
                    <a:lnTo>
                      <a:pt x="268" y="67"/>
                    </a:lnTo>
                    <a:lnTo>
                      <a:pt x="268" y="68"/>
                    </a:lnTo>
                    <a:lnTo>
                      <a:pt x="271" y="70"/>
                    </a:lnTo>
                    <a:lnTo>
                      <a:pt x="275" y="70"/>
                    </a:lnTo>
                    <a:lnTo>
                      <a:pt x="277" y="72"/>
                    </a:lnTo>
                    <a:lnTo>
                      <a:pt x="276" y="74"/>
                    </a:lnTo>
                    <a:lnTo>
                      <a:pt x="274" y="75"/>
                    </a:lnTo>
                    <a:lnTo>
                      <a:pt x="274" y="77"/>
                    </a:lnTo>
                    <a:lnTo>
                      <a:pt x="273" y="79"/>
                    </a:lnTo>
                    <a:lnTo>
                      <a:pt x="273" y="81"/>
                    </a:lnTo>
                    <a:lnTo>
                      <a:pt x="275" y="82"/>
                    </a:lnTo>
                    <a:lnTo>
                      <a:pt x="278" y="87"/>
                    </a:lnTo>
                    <a:lnTo>
                      <a:pt x="278" y="88"/>
                    </a:lnTo>
                    <a:lnTo>
                      <a:pt x="275" y="91"/>
                    </a:lnTo>
                    <a:lnTo>
                      <a:pt x="272" y="91"/>
                    </a:lnTo>
                    <a:lnTo>
                      <a:pt x="271" y="92"/>
                    </a:lnTo>
                    <a:lnTo>
                      <a:pt x="269" y="91"/>
                    </a:lnTo>
                    <a:lnTo>
                      <a:pt x="269" y="88"/>
                    </a:lnTo>
                    <a:lnTo>
                      <a:pt x="264" y="84"/>
                    </a:lnTo>
                    <a:lnTo>
                      <a:pt x="264" y="82"/>
                    </a:lnTo>
                    <a:lnTo>
                      <a:pt x="263" y="80"/>
                    </a:lnTo>
                    <a:lnTo>
                      <a:pt x="264" y="78"/>
                    </a:lnTo>
                    <a:lnTo>
                      <a:pt x="260" y="75"/>
                    </a:lnTo>
                    <a:lnTo>
                      <a:pt x="259" y="76"/>
                    </a:lnTo>
                    <a:lnTo>
                      <a:pt x="257" y="75"/>
                    </a:lnTo>
                    <a:lnTo>
                      <a:pt x="251" y="76"/>
                    </a:lnTo>
                    <a:lnTo>
                      <a:pt x="246" y="79"/>
                    </a:lnTo>
                    <a:lnTo>
                      <a:pt x="244" y="78"/>
                    </a:lnTo>
                    <a:lnTo>
                      <a:pt x="243" y="79"/>
                    </a:lnTo>
                    <a:lnTo>
                      <a:pt x="243" y="82"/>
                    </a:lnTo>
                    <a:lnTo>
                      <a:pt x="241" y="84"/>
                    </a:lnTo>
                    <a:lnTo>
                      <a:pt x="239" y="83"/>
                    </a:lnTo>
                    <a:lnTo>
                      <a:pt x="234" y="84"/>
                    </a:lnTo>
                    <a:lnTo>
                      <a:pt x="229" y="83"/>
                    </a:lnTo>
                    <a:lnTo>
                      <a:pt x="227" y="82"/>
                    </a:lnTo>
                    <a:lnTo>
                      <a:pt x="225" y="77"/>
                    </a:lnTo>
                    <a:lnTo>
                      <a:pt x="222" y="74"/>
                    </a:lnTo>
                    <a:lnTo>
                      <a:pt x="223" y="73"/>
                    </a:lnTo>
                    <a:lnTo>
                      <a:pt x="222" y="70"/>
                    </a:lnTo>
                    <a:lnTo>
                      <a:pt x="222" y="62"/>
                    </a:lnTo>
                    <a:lnTo>
                      <a:pt x="219" y="63"/>
                    </a:lnTo>
                    <a:lnTo>
                      <a:pt x="219" y="65"/>
                    </a:lnTo>
                    <a:lnTo>
                      <a:pt x="218" y="66"/>
                    </a:lnTo>
                    <a:lnTo>
                      <a:pt x="215" y="64"/>
                    </a:lnTo>
                    <a:lnTo>
                      <a:pt x="216" y="62"/>
                    </a:lnTo>
                    <a:lnTo>
                      <a:pt x="215" y="62"/>
                    </a:lnTo>
                    <a:lnTo>
                      <a:pt x="213" y="62"/>
                    </a:lnTo>
                    <a:lnTo>
                      <a:pt x="210" y="62"/>
                    </a:lnTo>
                    <a:lnTo>
                      <a:pt x="208" y="63"/>
                    </a:lnTo>
                    <a:lnTo>
                      <a:pt x="207" y="64"/>
                    </a:lnTo>
                    <a:lnTo>
                      <a:pt x="208" y="66"/>
                    </a:lnTo>
                    <a:lnTo>
                      <a:pt x="206" y="68"/>
                    </a:lnTo>
                    <a:lnTo>
                      <a:pt x="206" y="70"/>
                    </a:lnTo>
                    <a:lnTo>
                      <a:pt x="208" y="70"/>
                    </a:lnTo>
                    <a:lnTo>
                      <a:pt x="208" y="76"/>
                    </a:lnTo>
                    <a:lnTo>
                      <a:pt x="209" y="78"/>
                    </a:lnTo>
                    <a:lnTo>
                      <a:pt x="209" y="80"/>
                    </a:lnTo>
                    <a:lnTo>
                      <a:pt x="209" y="81"/>
                    </a:lnTo>
                    <a:lnTo>
                      <a:pt x="208" y="82"/>
                    </a:lnTo>
                    <a:lnTo>
                      <a:pt x="208" y="85"/>
                    </a:lnTo>
                    <a:lnTo>
                      <a:pt x="206" y="87"/>
                    </a:lnTo>
                    <a:lnTo>
                      <a:pt x="205" y="91"/>
                    </a:lnTo>
                    <a:lnTo>
                      <a:pt x="202" y="93"/>
                    </a:lnTo>
                    <a:lnTo>
                      <a:pt x="201" y="96"/>
                    </a:lnTo>
                    <a:lnTo>
                      <a:pt x="197" y="98"/>
                    </a:lnTo>
                    <a:lnTo>
                      <a:pt x="193" y="103"/>
                    </a:lnTo>
                    <a:lnTo>
                      <a:pt x="192" y="104"/>
                    </a:lnTo>
                    <a:lnTo>
                      <a:pt x="193" y="106"/>
                    </a:lnTo>
                    <a:lnTo>
                      <a:pt x="192" y="109"/>
                    </a:lnTo>
                    <a:lnTo>
                      <a:pt x="189" y="109"/>
                    </a:lnTo>
                    <a:lnTo>
                      <a:pt x="187" y="112"/>
                    </a:lnTo>
                    <a:lnTo>
                      <a:pt x="189" y="115"/>
                    </a:lnTo>
                    <a:lnTo>
                      <a:pt x="186" y="118"/>
                    </a:lnTo>
                    <a:lnTo>
                      <a:pt x="186" y="119"/>
                    </a:lnTo>
                    <a:lnTo>
                      <a:pt x="187" y="119"/>
                    </a:lnTo>
                    <a:lnTo>
                      <a:pt x="187" y="121"/>
                    </a:lnTo>
                    <a:lnTo>
                      <a:pt x="188" y="122"/>
                    </a:lnTo>
                    <a:lnTo>
                      <a:pt x="191" y="123"/>
                    </a:lnTo>
                    <a:lnTo>
                      <a:pt x="193" y="126"/>
                    </a:lnTo>
                    <a:lnTo>
                      <a:pt x="191" y="129"/>
                    </a:lnTo>
                    <a:lnTo>
                      <a:pt x="189" y="134"/>
                    </a:lnTo>
                    <a:lnTo>
                      <a:pt x="186" y="134"/>
                    </a:lnTo>
                    <a:lnTo>
                      <a:pt x="185" y="133"/>
                    </a:lnTo>
                    <a:lnTo>
                      <a:pt x="183" y="133"/>
                    </a:lnTo>
                    <a:lnTo>
                      <a:pt x="183" y="132"/>
                    </a:lnTo>
                    <a:lnTo>
                      <a:pt x="179" y="133"/>
                    </a:lnTo>
                    <a:lnTo>
                      <a:pt x="181" y="129"/>
                    </a:lnTo>
                    <a:lnTo>
                      <a:pt x="180" y="125"/>
                    </a:lnTo>
                    <a:lnTo>
                      <a:pt x="178" y="123"/>
                    </a:lnTo>
                    <a:lnTo>
                      <a:pt x="178" y="120"/>
                    </a:lnTo>
                    <a:lnTo>
                      <a:pt x="171" y="117"/>
                    </a:lnTo>
                    <a:lnTo>
                      <a:pt x="170" y="117"/>
                    </a:lnTo>
                    <a:lnTo>
                      <a:pt x="170" y="113"/>
                    </a:lnTo>
                    <a:lnTo>
                      <a:pt x="173" y="112"/>
                    </a:lnTo>
                    <a:lnTo>
                      <a:pt x="173" y="110"/>
                    </a:lnTo>
                    <a:lnTo>
                      <a:pt x="174" y="109"/>
                    </a:lnTo>
                    <a:lnTo>
                      <a:pt x="174" y="107"/>
                    </a:lnTo>
                    <a:lnTo>
                      <a:pt x="173" y="105"/>
                    </a:lnTo>
                    <a:lnTo>
                      <a:pt x="171" y="105"/>
                    </a:lnTo>
                    <a:lnTo>
                      <a:pt x="169" y="105"/>
                    </a:lnTo>
                    <a:lnTo>
                      <a:pt x="167" y="105"/>
                    </a:lnTo>
                    <a:lnTo>
                      <a:pt x="167" y="103"/>
                    </a:lnTo>
                    <a:lnTo>
                      <a:pt x="163" y="105"/>
                    </a:lnTo>
                    <a:lnTo>
                      <a:pt x="161" y="103"/>
                    </a:lnTo>
                    <a:lnTo>
                      <a:pt x="159" y="103"/>
                    </a:lnTo>
                    <a:lnTo>
                      <a:pt x="156" y="103"/>
                    </a:lnTo>
                    <a:lnTo>
                      <a:pt x="156" y="100"/>
                    </a:lnTo>
                    <a:lnTo>
                      <a:pt x="155" y="100"/>
                    </a:lnTo>
                    <a:lnTo>
                      <a:pt x="155" y="98"/>
                    </a:lnTo>
                    <a:lnTo>
                      <a:pt x="153" y="97"/>
                    </a:lnTo>
                    <a:lnTo>
                      <a:pt x="149" y="93"/>
                    </a:lnTo>
                    <a:lnTo>
                      <a:pt x="144" y="91"/>
                    </a:lnTo>
                    <a:lnTo>
                      <a:pt x="143" y="89"/>
                    </a:lnTo>
                    <a:lnTo>
                      <a:pt x="143" y="87"/>
                    </a:lnTo>
                    <a:lnTo>
                      <a:pt x="142" y="84"/>
                    </a:lnTo>
                    <a:lnTo>
                      <a:pt x="144" y="80"/>
                    </a:lnTo>
                    <a:lnTo>
                      <a:pt x="144" y="76"/>
                    </a:lnTo>
                    <a:lnTo>
                      <a:pt x="144" y="73"/>
                    </a:lnTo>
                    <a:lnTo>
                      <a:pt x="144" y="70"/>
                    </a:lnTo>
                    <a:lnTo>
                      <a:pt x="144" y="68"/>
                    </a:lnTo>
                    <a:lnTo>
                      <a:pt x="143" y="66"/>
                    </a:lnTo>
                    <a:lnTo>
                      <a:pt x="137" y="68"/>
                    </a:lnTo>
                    <a:lnTo>
                      <a:pt x="132" y="70"/>
                    </a:lnTo>
                    <a:lnTo>
                      <a:pt x="131" y="72"/>
                    </a:lnTo>
                    <a:lnTo>
                      <a:pt x="133" y="74"/>
                    </a:lnTo>
                    <a:lnTo>
                      <a:pt x="131" y="76"/>
                    </a:lnTo>
                    <a:lnTo>
                      <a:pt x="128" y="77"/>
                    </a:lnTo>
                    <a:lnTo>
                      <a:pt x="128" y="78"/>
                    </a:lnTo>
                    <a:lnTo>
                      <a:pt x="126" y="79"/>
                    </a:lnTo>
                    <a:lnTo>
                      <a:pt x="124" y="82"/>
                    </a:lnTo>
                    <a:lnTo>
                      <a:pt x="120" y="84"/>
                    </a:lnTo>
                    <a:lnTo>
                      <a:pt x="119" y="84"/>
                    </a:lnTo>
                    <a:lnTo>
                      <a:pt x="116" y="86"/>
                    </a:lnTo>
                    <a:lnTo>
                      <a:pt x="115" y="88"/>
                    </a:lnTo>
                    <a:lnTo>
                      <a:pt x="119" y="92"/>
                    </a:lnTo>
                    <a:lnTo>
                      <a:pt x="120" y="97"/>
                    </a:lnTo>
                    <a:lnTo>
                      <a:pt x="119" y="98"/>
                    </a:lnTo>
                    <a:lnTo>
                      <a:pt x="120" y="99"/>
                    </a:lnTo>
                    <a:lnTo>
                      <a:pt x="117" y="101"/>
                    </a:lnTo>
                    <a:lnTo>
                      <a:pt x="116" y="103"/>
                    </a:lnTo>
                    <a:lnTo>
                      <a:pt x="112" y="105"/>
                    </a:lnTo>
                    <a:lnTo>
                      <a:pt x="110" y="109"/>
                    </a:lnTo>
                    <a:lnTo>
                      <a:pt x="111" y="111"/>
                    </a:lnTo>
                    <a:lnTo>
                      <a:pt x="109" y="113"/>
                    </a:lnTo>
                    <a:lnTo>
                      <a:pt x="109" y="115"/>
                    </a:lnTo>
                    <a:lnTo>
                      <a:pt x="107" y="116"/>
                    </a:lnTo>
                    <a:lnTo>
                      <a:pt x="101" y="117"/>
                    </a:lnTo>
                    <a:lnTo>
                      <a:pt x="98" y="119"/>
                    </a:lnTo>
                    <a:lnTo>
                      <a:pt x="98" y="120"/>
                    </a:lnTo>
                    <a:lnTo>
                      <a:pt x="98" y="121"/>
                    </a:lnTo>
                    <a:lnTo>
                      <a:pt x="98" y="123"/>
                    </a:lnTo>
                    <a:lnTo>
                      <a:pt x="97" y="124"/>
                    </a:lnTo>
                    <a:lnTo>
                      <a:pt x="95" y="123"/>
                    </a:lnTo>
                    <a:lnTo>
                      <a:pt x="92" y="124"/>
                    </a:lnTo>
                    <a:lnTo>
                      <a:pt x="90" y="121"/>
                    </a:lnTo>
                    <a:lnTo>
                      <a:pt x="87" y="123"/>
                    </a:lnTo>
                    <a:lnTo>
                      <a:pt x="85" y="122"/>
                    </a:lnTo>
                    <a:lnTo>
                      <a:pt x="85" y="120"/>
                    </a:lnTo>
                    <a:lnTo>
                      <a:pt x="83" y="119"/>
                    </a:lnTo>
                    <a:lnTo>
                      <a:pt x="80" y="117"/>
                    </a:lnTo>
                    <a:lnTo>
                      <a:pt x="75" y="117"/>
                    </a:lnTo>
                    <a:lnTo>
                      <a:pt x="74" y="117"/>
                    </a:lnTo>
                    <a:lnTo>
                      <a:pt x="72" y="117"/>
                    </a:lnTo>
                    <a:lnTo>
                      <a:pt x="71" y="119"/>
                    </a:lnTo>
                    <a:lnTo>
                      <a:pt x="68" y="120"/>
                    </a:lnTo>
                    <a:lnTo>
                      <a:pt x="66" y="121"/>
                    </a:lnTo>
                    <a:lnTo>
                      <a:pt x="60" y="124"/>
                    </a:lnTo>
                    <a:lnTo>
                      <a:pt x="54" y="123"/>
                    </a:lnTo>
                    <a:lnTo>
                      <a:pt x="49" y="126"/>
                    </a:lnTo>
                    <a:lnTo>
                      <a:pt x="46" y="127"/>
                    </a:lnTo>
                    <a:lnTo>
                      <a:pt x="45" y="128"/>
                    </a:lnTo>
                    <a:lnTo>
                      <a:pt x="38" y="128"/>
                    </a:lnTo>
                    <a:lnTo>
                      <a:pt x="33" y="123"/>
                    </a:lnTo>
                    <a:lnTo>
                      <a:pt x="31" y="124"/>
                    </a:lnTo>
                    <a:lnTo>
                      <a:pt x="30" y="127"/>
                    </a:lnTo>
                    <a:lnTo>
                      <a:pt x="28" y="129"/>
                    </a:lnTo>
                    <a:lnTo>
                      <a:pt x="23" y="131"/>
                    </a:lnTo>
                    <a:lnTo>
                      <a:pt x="20" y="131"/>
                    </a:lnTo>
                    <a:lnTo>
                      <a:pt x="19" y="133"/>
                    </a:lnTo>
                    <a:lnTo>
                      <a:pt x="17" y="132"/>
                    </a:lnTo>
                    <a:lnTo>
                      <a:pt x="16" y="133"/>
                    </a:lnTo>
                    <a:lnTo>
                      <a:pt x="15" y="133"/>
                    </a:lnTo>
                    <a:lnTo>
                      <a:pt x="14" y="139"/>
                    </a:lnTo>
                    <a:lnTo>
                      <a:pt x="15" y="144"/>
                    </a:lnTo>
                    <a:lnTo>
                      <a:pt x="18" y="147"/>
                    </a:lnTo>
                    <a:lnTo>
                      <a:pt x="19" y="149"/>
                    </a:lnTo>
                    <a:lnTo>
                      <a:pt x="22" y="149"/>
                    </a:lnTo>
                    <a:lnTo>
                      <a:pt x="22" y="150"/>
                    </a:lnTo>
                    <a:lnTo>
                      <a:pt x="24" y="151"/>
                    </a:lnTo>
                    <a:lnTo>
                      <a:pt x="26" y="151"/>
                    </a:lnTo>
                    <a:lnTo>
                      <a:pt x="29" y="153"/>
                    </a:lnTo>
                    <a:lnTo>
                      <a:pt x="28" y="155"/>
                    </a:lnTo>
                    <a:lnTo>
                      <a:pt x="28" y="158"/>
                    </a:lnTo>
                    <a:lnTo>
                      <a:pt x="29" y="160"/>
                    </a:lnTo>
                    <a:lnTo>
                      <a:pt x="29" y="162"/>
                    </a:lnTo>
                    <a:lnTo>
                      <a:pt x="30" y="166"/>
                    </a:lnTo>
                    <a:lnTo>
                      <a:pt x="33" y="167"/>
                    </a:lnTo>
                    <a:lnTo>
                      <a:pt x="34" y="169"/>
                    </a:lnTo>
                    <a:lnTo>
                      <a:pt x="36" y="169"/>
                    </a:lnTo>
                    <a:lnTo>
                      <a:pt x="39" y="175"/>
                    </a:lnTo>
                    <a:lnTo>
                      <a:pt x="44" y="177"/>
                    </a:lnTo>
                    <a:lnTo>
                      <a:pt x="43" y="180"/>
                    </a:lnTo>
                    <a:lnTo>
                      <a:pt x="42" y="182"/>
                    </a:lnTo>
                    <a:lnTo>
                      <a:pt x="41" y="183"/>
                    </a:lnTo>
                    <a:lnTo>
                      <a:pt x="40" y="185"/>
                    </a:lnTo>
                    <a:lnTo>
                      <a:pt x="39" y="186"/>
                    </a:lnTo>
                    <a:lnTo>
                      <a:pt x="40" y="192"/>
                    </a:lnTo>
                    <a:lnTo>
                      <a:pt x="40" y="194"/>
                    </a:lnTo>
                    <a:lnTo>
                      <a:pt x="38" y="194"/>
                    </a:lnTo>
                    <a:lnTo>
                      <a:pt x="35" y="198"/>
                    </a:lnTo>
                    <a:lnTo>
                      <a:pt x="34" y="196"/>
                    </a:lnTo>
                    <a:lnTo>
                      <a:pt x="32" y="197"/>
                    </a:lnTo>
                    <a:lnTo>
                      <a:pt x="27" y="198"/>
                    </a:lnTo>
                    <a:lnTo>
                      <a:pt x="27" y="200"/>
                    </a:lnTo>
                    <a:lnTo>
                      <a:pt x="25" y="202"/>
                    </a:lnTo>
                    <a:lnTo>
                      <a:pt x="21" y="203"/>
                    </a:lnTo>
                    <a:lnTo>
                      <a:pt x="21" y="204"/>
                    </a:lnTo>
                    <a:lnTo>
                      <a:pt x="22" y="205"/>
                    </a:lnTo>
                    <a:lnTo>
                      <a:pt x="20" y="206"/>
                    </a:lnTo>
                    <a:lnTo>
                      <a:pt x="18" y="206"/>
                    </a:lnTo>
                    <a:lnTo>
                      <a:pt x="15" y="204"/>
                    </a:lnTo>
                    <a:lnTo>
                      <a:pt x="11" y="203"/>
                    </a:lnTo>
                    <a:lnTo>
                      <a:pt x="9" y="206"/>
                    </a:lnTo>
                    <a:lnTo>
                      <a:pt x="6" y="205"/>
                    </a:lnTo>
                    <a:lnTo>
                      <a:pt x="4" y="206"/>
                    </a:lnTo>
                    <a:lnTo>
                      <a:pt x="4" y="207"/>
                    </a:lnTo>
                    <a:lnTo>
                      <a:pt x="1" y="208"/>
                    </a:lnTo>
                    <a:lnTo>
                      <a:pt x="0" y="209"/>
                    </a:lnTo>
                    <a:lnTo>
                      <a:pt x="0" y="210"/>
                    </a:lnTo>
                    <a:lnTo>
                      <a:pt x="0" y="209"/>
                    </a:lnTo>
                    <a:lnTo>
                      <a:pt x="3" y="213"/>
                    </a:lnTo>
                    <a:lnTo>
                      <a:pt x="3" y="216"/>
                    </a:lnTo>
                    <a:lnTo>
                      <a:pt x="10" y="218"/>
                    </a:lnTo>
                    <a:lnTo>
                      <a:pt x="9" y="221"/>
                    </a:lnTo>
                    <a:lnTo>
                      <a:pt x="10" y="224"/>
                    </a:lnTo>
                    <a:lnTo>
                      <a:pt x="9" y="226"/>
                    </a:lnTo>
                    <a:lnTo>
                      <a:pt x="10" y="227"/>
                    </a:lnTo>
                    <a:lnTo>
                      <a:pt x="10" y="229"/>
                    </a:lnTo>
                    <a:lnTo>
                      <a:pt x="15" y="232"/>
                    </a:lnTo>
                    <a:lnTo>
                      <a:pt x="19" y="235"/>
                    </a:lnTo>
                    <a:lnTo>
                      <a:pt x="22" y="236"/>
                    </a:lnTo>
                    <a:lnTo>
                      <a:pt x="26" y="235"/>
                    </a:lnTo>
                    <a:lnTo>
                      <a:pt x="30" y="236"/>
                    </a:lnTo>
                    <a:lnTo>
                      <a:pt x="32" y="238"/>
                    </a:lnTo>
                    <a:lnTo>
                      <a:pt x="31" y="241"/>
                    </a:lnTo>
                    <a:lnTo>
                      <a:pt x="31" y="242"/>
                    </a:lnTo>
                    <a:lnTo>
                      <a:pt x="31" y="243"/>
                    </a:lnTo>
                    <a:lnTo>
                      <a:pt x="32" y="244"/>
                    </a:lnTo>
                    <a:lnTo>
                      <a:pt x="32" y="248"/>
                    </a:lnTo>
                    <a:lnTo>
                      <a:pt x="35" y="250"/>
                    </a:lnTo>
                    <a:lnTo>
                      <a:pt x="35" y="253"/>
                    </a:lnTo>
                    <a:lnTo>
                      <a:pt x="30" y="253"/>
                    </a:lnTo>
                    <a:lnTo>
                      <a:pt x="28" y="254"/>
                    </a:lnTo>
                    <a:lnTo>
                      <a:pt x="26" y="256"/>
                    </a:lnTo>
                    <a:lnTo>
                      <a:pt x="27" y="260"/>
                    </a:lnTo>
                    <a:lnTo>
                      <a:pt x="26" y="260"/>
                    </a:lnTo>
                    <a:lnTo>
                      <a:pt x="24" y="265"/>
                    </a:lnTo>
                    <a:lnTo>
                      <a:pt x="22" y="267"/>
                    </a:lnTo>
                    <a:lnTo>
                      <a:pt x="20" y="267"/>
                    </a:lnTo>
                    <a:lnTo>
                      <a:pt x="18" y="269"/>
                    </a:lnTo>
                    <a:lnTo>
                      <a:pt x="19" y="273"/>
                    </a:lnTo>
                    <a:lnTo>
                      <a:pt x="20" y="274"/>
                    </a:lnTo>
                    <a:lnTo>
                      <a:pt x="25" y="280"/>
                    </a:lnTo>
                    <a:lnTo>
                      <a:pt x="21" y="282"/>
                    </a:lnTo>
                    <a:lnTo>
                      <a:pt x="21" y="283"/>
                    </a:lnTo>
                    <a:lnTo>
                      <a:pt x="20" y="287"/>
                    </a:lnTo>
                    <a:lnTo>
                      <a:pt x="22" y="288"/>
                    </a:lnTo>
                    <a:lnTo>
                      <a:pt x="22" y="289"/>
                    </a:lnTo>
                    <a:lnTo>
                      <a:pt x="25" y="291"/>
                    </a:lnTo>
                    <a:lnTo>
                      <a:pt x="25" y="293"/>
                    </a:lnTo>
                    <a:lnTo>
                      <a:pt x="28" y="296"/>
                    </a:lnTo>
                    <a:lnTo>
                      <a:pt x="29" y="300"/>
                    </a:lnTo>
                    <a:lnTo>
                      <a:pt x="31" y="301"/>
                    </a:lnTo>
                    <a:lnTo>
                      <a:pt x="34" y="300"/>
                    </a:lnTo>
                    <a:lnTo>
                      <a:pt x="38" y="302"/>
                    </a:lnTo>
                    <a:lnTo>
                      <a:pt x="40" y="304"/>
                    </a:lnTo>
                    <a:lnTo>
                      <a:pt x="42" y="303"/>
                    </a:lnTo>
                    <a:lnTo>
                      <a:pt x="46" y="307"/>
                    </a:lnTo>
                    <a:lnTo>
                      <a:pt x="48" y="307"/>
                    </a:lnTo>
                    <a:lnTo>
                      <a:pt x="51" y="309"/>
                    </a:lnTo>
                    <a:lnTo>
                      <a:pt x="55" y="310"/>
                    </a:lnTo>
                    <a:lnTo>
                      <a:pt x="57" y="313"/>
                    </a:lnTo>
                    <a:lnTo>
                      <a:pt x="59" y="312"/>
                    </a:lnTo>
                    <a:lnTo>
                      <a:pt x="62" y="313"/>
                    </a:lnTo>
                    <a:lnTo>
                      <a:pt x="64" y="311"/>
                    </a:lnTo>
                    <a:lnTo>
                      <a:pt x="66" y="312"/>
                    </a:lnTo>
                    <a:lnTo>
                      <a:pt x="70" y="310"/>
                    </a:lnTo>
                    <a:lnTo>
                      <a:pt x="73" y="310"/>
                    </a:lnTo>
                    <a:lnTo>
                      <a:pt x="73" y="309"/>
                    </a:lnTo>
                    <a:lnTo>
                      <a:pt x="77" y="309"/>
                    </a:lnTo>
                    <a:lnTo>
                      <a:pt x="78" y="307"/>
                    </a:lnTo>
                    <a:lnTo>
                      <a:pt x="79" y="306"/>
                    </a:lnTo>
                    <a:lnTo>
                      <a:pt x="82" y="307"/>
                    </a:lnTo>
                    <a:lnTo>
                      <a:pt x="82" y="308"/>
                    </a:lnTo>
                    <a:lnTo>
                      <a:pt x="82" y="310"/>
                    </a:lnTo>
                    <a:lnTo>
                      <a:pt x="81" y="312"/>
                    </a:lnTo>
                    <a:lnTo>
                      <a:pt x="82" y="313"/>
                    </a:lnTo>
                    <a:lnTo>
                      <a:pt x="85" y="316"/>
                    </a:lnTo>
                    <a:lnTo>
                      <a:pt x="85" y="318"/>
                    </a:lnTo>
                    <a:lnTo>
                      <a:pt x="84" y="321"/>
                    </a:lnTo>
                    <a:lnTo>
                      <a:pt x="82" y="322"/>
                    </a:lnTo>
                    <a:lnTo>
                      <a:pt x="81" y="326"/>
                    </a:lnTo>
                    <a:lnTo>
                      <a:pt x="77" y="330"/>
                    </a:lnTo>
                    <a:lnTo>
                      <a:pt x="74" y="331"/>
                    </a:lnTo>
                    <a:lnTo>
                      <a:pt x="72" y="336"/>
                    </a:lnTo>
                    <a:lnTo>
                      <a:pt x="68" y="339"/>
                    </a:lnTo>
                    <a:lnTo>
                      <a:pt x="68" y="342"/>
                    </a:lnTo>
                    <a:lnTo>
                      <a:pt x="71" y="349"/>
                    </a:lnTo>
                    <a:lnTo>
                      <a:pt x="76" y="348"/>
                    </a:lnTo>
                    <a:lnTo>
                      <a:pt x="83" y="349"/>
                    </a:lnTo>
                    <a:lnTo>
                      <a:pt x="85" y="348"/>
                    </a:lnTo>
                    <a:lnTo>
                      <a:pt x="88" y="348"/>
                    </a:lnTo>
                    <a:lnTo>
                      <a:pt x="90" y="346"/>
                    </a:lnTo>
                    <a:lnTo>
                      <a:pt x="92" y="346"/>
                    </a:lnTo>
                    <a:lnTo>
                      <a:pt x="94" y="346"/>
                    </a:lnTo>
                    <a:lnTo>
                      <a:pt x="97" y="344"/>
                    </a:lnTo>
                    <a:lnTo>
                      <a:pt x="104" y="343"/>
                    </a:lnTo>
                    <a:lnTo>
                      <a:pt x="106" y="341"/>
                    </a:lnTo>
                    <a:lnTo>
                      <a:pt x="113" y="337"/>
                    </a:lnTo>
                    <a:lnTo>
                      <a:pt x="115" y="335"/>
                    </a:lnTo>
                    <a:lnTo>
                      <a:pt x="117" y="334"/>
                    </a:lnTo>
                    <a:lnTo>
                      <a:pt x="118" y="332"/>
                    </a:lnTo>
                    <a:lnTo>
                      <a:pt x="121" y="331"/>
                    </a:lnTo>
                    <a:lnTo>
                      <a:pt x="120" y="329"/>
                    </a:lnTo>
                    <a:lnTo>
                      <a:pt x="120" y="327"/>
                    </a:lnTo>
                    <a:lnTo>
                      <a:pt x="126" y="322"/>
                    </a:lnTo>
                    <a:lnTo>
                      <a:pt x="126" y="316"/>
                    </a:lnTo>
                    <a:lnTo>
                      <a:pt x="129" y="312"/>
                    </a:lnTo>
                    <a:lnTo>
                      <a:pt x="130" y="311"/>
                    </a:lnTo>
                    <a:lnTo>
                      <a:pt x="139" y="308"/>
                    </a:lnTo>
                    <a:lnTo>
                      <a:pt x="140" y="306"/>
                    </a:lnTo>
                    <a:lnTo>
                      <a:pt x="140" y="303"/>
                    </a:lnTo>
                    <a:lnTo>
                      <a:pt x="142" y="301"/>
                    </a:lnTo>
                    <a:lnTo>
                      <a:pt x="143" y="299"/>
                    </a:lnTo>
                    <a:lnTo>
                      <a:pt x="142" y="297"/>
                    </a:lnTo>
                    <a:lnTo>
                      <a:pt x="146" y="293"/>
                    </a:lnTo>
                    <a:lnTo>
                      <a:pt x="152" y="289"/>
                    </a:lnTo>
                    <a:lnTo>
                      <a:pt x="155" y="288"/>
                    </a:lnTo>
                    <a:lnTo>
                      <a:pt x="158" y="285"/>
                    </a:lnTo>
                    <a:lnTo>
                      <a:pt x="162" y="285"/>
                    </a:lnTo>
                    <a:lnTo>
                      <a:pt x="166" y="281"/>
                    </a:lnTo>
                    <a:lnTo>
                      <a:pt x="173" y="282"/>
                    </a:lnTo>
                    <a:lnTo>
                      <a:pt x="174" y="283"/>
                    </a:lnTo>
                    <a:lnTo>
                      <a:pt x="173" y="283"/>
                    </a:lnTo>
                    <a:lnTo>
                      <a:pt x="178" y="284"/>
                    </a:lnTo>
                    <a:lnTo>
                      <a:pt x="179" y="284"/>
                    </a:lnTo>
                    <a:lnTo>
                      <a:pt x="179" y="283"/>
                    </a:lnTo>
                    <a:lnTo>
                      <a:pt x="180" y="283"/>
                    </a:lnTo>
                    <a:lnTo>
                      <a:pt x="181" y="285"/>
                    </a:lnTo>
                    <a:lnTo>
                      <a:pt x="183" y="285"/>
                    </a:lnTo>
                    <a:lnTo>
                      <a:pt x="184" y="285"/>
                    </a:lnTo>
                    <a:lnTo>
                      <a:pt x="195" y="288"/>
                    </a:lnTo>
                    <a:lnTo>
                      <a:pt x="197" y="289"/>
                    </a:lnTo>
                    <a:lnTo>
                      <a:pt x="198" y="293"/>
                    </a:lnTo>
                    <a:lnTo>
                      <a:pt x="202" y="295"/>
                    </a:lnTo>
                    <a:lnTo>
                      <a:pt x="203" y="295"/>
                    </a:lnTo>
                    <a:lnTo>
                      <a:pt x="203" y="292"/>
                    </a:lnTo>
                    <a:lnTo>
                      <a:pt x="204" y="290"/>
                    </a:lnTo>
                    <a:lnTo>
                      <a:pt x="213" y="294"/>
                    </a:lnTo>
                    <a:lnTo>
                      <a:pt x="216" y="297"/>
                    </a:lnTo>
                    <a:lnTo>
                      <a:pt x="216" y="298"/>
                    </a:lnTo>
                    <a:lnTo>
                      <a:pt x="217" y="299"/>
                    </a:lnTo>
                    <a:lnTo>
                      <a:pt x="219" y="299"/>
                    </a:lnTo>
                    <a:lnTo>
                      <a:pt x="220" y="301"/>
                    </a:lnTo>
                    <a:lnTo>
                      <a:pt x="224" y="301"/>
                    </a:lnTo>
                    <a:lnTo>
                      <a:pt x="225" y="304"/>
                    </a:lnTo>
                    <a:lnTo>
                      <a:pt x="228" y="305"/>
                    </a:lnTo>
                    <a:lnTo>
                      <a:pt x="231" y="308"/>
                    </a:lnTo>
                    <a:lnTo>
                      <a:pt x="233" y="309"/>
                    </a:lnTo>
                    <a:lnTo>
                      <a:pt x="234" y="311"/>
                    </a:lnTo>
                    <a:lnTo>
                      <a:pt x="236" y="312"/>
                    </a:lnTo>
                    <a:lnTo>
                      <a:pt x="238" y="311"/>
                    </a:lnTo>
                    <a:lnTo>
                      <a:pt x="240" y="313"/>
                    </a:lnTo>
                    <a:lnTo>
                      <a:pt x="242" y="315"/>
                    </a:lnTo>
                    <a:lnTo>
                      <a:pt x="243" y="317"/>
                    </a:lnTo>
                    <a:lnTo>
                      <a:pt x="250" y="320"/>
                    </a:lnTo>
                    <a:lnTo>
                      <a:pt x="252" y="323"/>
                    </a:lnTo>
                    <a:lnTo>
                      <a:pt x="253" y="322"/>
                    </a:lnTo>
                    <a:lnTo>
                      <a:pt x="251" y="322"/>
                    </a:lnTo>
                    <a:lnTo>
                      <a:pt x="252" y="319"/>
                    </a:lnTo>
                    <a:lnTo>
                      <a:pt x="250" y="317"/>
                    </a:lnTo>
                    <a:lnTo>
                      <a:pt x="251" y="317"/>
                    </a:lnTo>
                    <a:lnTo>
                      <a:pt x="251" y="316"/>
                    </a:lnTo>
                    <a:lnTo>
                      <a:pt x="252" y="315"/>
                    </a:lnTo>
                    <a:lnTo>
                      <a:pt x="254" y="317"/>
                    </a:lnTo>
                    <a:lnTo>
                      <a:pt x="256" y="317"/>
                    </a:lnTo>
                    <a:lnTo>
                      <a:pt x="257" y="319"/>
                    </a:lnTo>
                    <a:lnTo>
                      <a:pt x="262" y="322"/>
                    </a:lnTo>
                    <a:lnTo>
                      <a:pt x="263" y="321"/>
                    </a:lnTo>
                    <a:lnTo>
                      <a:pt x="264" y="321"/>
                    </a:lnTo>
                    <a:lnTo>
                      <a:pt x="270" y="323"/>
                    </a:lnTo>
                    <a:lnTo>
                      <a:pt x="273" y="325"/>
                    </a:lnTo>
                    <a:lnTo>
                      <a:pt x="278" y="332"/>
                    </a:lnTo>
                    <a:lnTo>
                      <a:pt x="283" y="340"/>
                    </a:lnTo>
                    <a:lnTo>
                      <a:pt x="285" y="348"/>
                    </a:lnTo>
                    <a:lnTo>
                      <a:pt x="286" y="356"/>
                    </a:lnTo>
                    <a:lnTo>
                      <a:pt x="286" y="361"/>
                    </a:lnTo>
                    <a:lnTo>
                      <a:pt x="288" y="372"/>
                    </a:lnTo>
                    <a:lnTo>
                      <a:pt x="287" y="374"/>
                    </a:lnTo>
                    <a:lnTo>
                      <a:pt x="289" y="382"/>
                    </a:lnTo>
                    <a:lnTo>
                      <a:pt x="294" y="385"/>
                    </a:lnTo>
                    <a:lnTo>
                      <a:pt x="296" y="390"/>
                    </a:lnTo>
                    <a:lnTo>
                      <a:pt x="297" y="390"/>
                    </a:lnTo>
                    <a:lnTo>
                      <a:pt x="298" y="394"/>
                    </a:lnTo>
                    <a:lnTo>
                      <a:pt x="304" y="403"/>
                    </a:lnTo>
                    <a:lnTo>
                      <a:pt x="305" y="406"/>
                    </a:lnTo>
                    <a:lnTo>
                      <a:pt x="307" y="416"/>
                    </a:lnTo>
                    <a:lnTo>
                      <a:pt x="306" y="425"/>
                    </a:lnTo>
                    <a:lnTo>
                      <a:pt x="304" y="433"/>
                    </a:lnTo>
                    <a:lnTo>
                      <a:pt x="302" y="433"/>
                    </a:lnTo>
                    <a:lnTo>
                      <a:pt x="302" y="436"/>
                    </a:lnTo>
                    <a:lnTo>
                      <a:pt x="303" y="439"/>
                    </a:lnTo>
                    <a:lnTo>
                      <a:pt x="306" y="440"/>
                    </a:lnTo>
                    <a:lnTo>
                      <a:pt x="307" y="439"/>
                    </a:lnTo>
                    <a:lnTo>
                      <a:pt x="307" y="437"/>
                    </a:lnTo>
                    <a:lnTo>
                      <a:pt x="310" y="436"/>
                    </a:lnTo>
                    <a:lnTo>
                      <a:pt x="318" y="438"/>
                    </a:lnTo>
                    <a:lnTo>
                      <a:pt x="324" y="441"/>
                    </a:lnTo>
                    <a:lnTo>
                      <a:pt x="325" y="442"/>
                    </a:lnTo>
                    <a:lnTo>
                      <a:pt x="324" y="445"/>
                    </a:lnTo>
                    <a:lnTo>
                      <a:pt x="324" y="449"/>
                    </a:lnTo>
                    <a:lnTo>
                      <a:pt x="323" y="452"/>
                    </a:lnTo>
                    <a:lnTo>
                      <a:pt x="322" y="453"/>
                    </a:lnTo>
                    <a:lnTo>
                      <a:pt x="325" y="455"/>
                    </a:lnTo>
                    <a:lnTo>
                      <a:pt x="327" y="455"/>
                    </a:lnTo>
                    <a:lnTo>
                      <a:pt x="332" y="457"/>
                    </a:lnTo>
                    <a:lnTo>
                      <a:pt x="339" y="461"/>
                    </a:lnTo>
                    <a:lnTo>
                      <a:pt x="341" y="463"/>
                    </a:lnTo>
                    <a:lnTo>
                      <a:pt x="343" y="468"/>
                    </a:lnTo>
                    <a:lnTo>
                      <a:pt x="349" y="471"/>
                    </a:lnTo>
                    <a:lnTo>
                      <a:pt x="349" y="473"/>
                    </a:lnTo>
                    <a:lnTo>
                      <a:pt x="350" y="474"/>
                    </a:lnTo>
                    <a:lnTo>
                      <a:pt x="352" y="478"/>
                    </a:lnTo>
                    <a:lnTo>
                      <a:pt x="352" y="479"/>
                    </a:lnTo>
                    <a:lnTo>
                      <a:pt x="354" y="478"/>
                    </a:lnTo>
                    <a:lnTo>
                      <a:pt x="356" y="482"/>
                    </a:lnTo>
                    <a:lnTo>
                      <a:pt x="357" y="484"/>
                    </a:lnTo>
                    <a:lnTo>
                      <a:pt x="356" y="487"/>
                    </a:lnTo>
                    <a:lnTo>
                      <a:pt x="355" y="490"/>
                    </a:lnTo>
                    <a:lnTo>
                      <a:pt x="355" y="491"/>
                    </a:lnTo>
                    <a:lnTo>
                      <a:pt x="350" y="491"/>
                    </a:lnTo>
                    <a:lnTo>
                      <a:pt x="349" y="492"/>
                    </a:lnTo>
                    <a:lnTo>
                      <a:pt x="350" y="496"/>
                    </a:lnTo>
                    <a:lnTo>
                      <a:pt x="353" y="497"/>
                    </a:lnTo>
                    <a:lnTo>
                      <a:pt x="354" y="499"/>
                    </a:lnTo>
                    <a:lnTo>
                      <a:pt x="355" y="498"/>
                    </a:lnTo>
                    <a:lnTo>
                      <a:pt x="356" y="499"/>
                    </a:lnTo>
                    <a:lnTo>
                      <a:pt x="358" y="497"/>
                    </a:lnTo>
                    <a:lnTo>
                      <a:pt x="358" y="493"/>
                    </a:lnTo>
                    <a:lnTo>
                      <a:pt x="363" y="493"/>
                    </a:lnTo>
                    <a:lnTo>
                      <a:pt x="365" y="495"/>
                    </a:lnTo>
                    <a:lnTo>
                      <a:pt x="366" y="495"/>
                    </a:lnTo>
                    <a:lnTo>
                      <a:pt x="371" y="496"/>
                    </a:lnTo>
                    <a:lnTo>
                      <a:pt x="370" y="495"/>
                    </a:lnTo>
                    <a:lnTo>
                      <a:pt x="372" y="495"/>
                    </a:lnTo>
                    <a:lnTo>
                      <a:pt x="373" y="496"/>
                    </a:lnTo>
                    <a:lnTo>
                      <a:pt x="372" y="496"/>
                    </a:lnTo>
                    <a:lnTo>
                      <a:pt x="376" y="497"/>
                    </a:lnTo>
                    <a:lnTo>
                      <a:pt x="384" y="502"/>
                    </a:lnTo>
                    <a:lnTo>
                      <a:pt x="391" y="505"/>
                    </a:lnTo>
                    <a:lnTo>
                      <a:pt x="397" y="514"/>
                    </a:lnTo>
                    <a:lnTo>
                      <a:pt x="398" y="516"/>
                    </a:lnTo>
                    <a:lnTo>
                      <a:pt x="400" y="520"/>
                    </a:lnTo>
                    <a:lnTo>
                      <a:pt x="401" y="524"/>
                    </a:lnTo>
                    <a:lnTo>
                      <a:pt x="404" y="527"/>
                    </a:lnTo>
                    <a:lnTo>
                      <a:pt x="403" y="528"/>
                    </a:lnTo>
                    <a:lnTo>
                      <a:pt x="405" y="529"/>
                    </a:lnTo>
                    <a:lnTo>
                      <a:pt x="405" y="532"/>
                    </a:lnTo>
                    <a:lnTo>
                      <a:pt x="407" y="534"/>
                    </a:lnTo>
                    <a:lnTo>
                      <a:pt x="412" y="534"/>
                    </a:lnTo>
                    <a:lnTo>
                      <a:pt x="414" y="534"/>
                    </a:lnTo>
                    <a:lnTo>
                      <a:pt x="417" y="535"/>
                    </a:lnTo>
                    <a:lnTo>
                      <a:pt x="419" y="538"/>
                    </a:lnTo>
                    <a:lnTo>
                      <a:pt x="422" y="539"/>
                    </a:lnTo>
                    <a:lnTo>
                      <a:pt x="424" y="542"/>
                    </a:lnTo>
                    <a:lnTo>
                      <a:pt x="431" y="546"/>
                    </a:lnTo>
                    <a:lnTo>
                      <a:pt x="435" y="552"/>
                    </a:lnTo>
                    <a:lnTo>
                      <a:pt x="437" y="558"/>
                    </a:lnTo>
                    <a:lnTo>
                      <a:pt x="437" y="562"/>
                    </a:lnTo>
                    <a:lnTo>
                      <a:pt x="438" y="564"/>
                    </a:lnTo>
                    <a:lnTo>
                      <a:pt x="439" y="565"/>
                    </a:lnTo>
                    <a:lnTo>
                      <a:pt x="449" y="570"/>
                    </a:lnTo>
                    <a:lnTo>
                      <a:pt x="452" y="574"/>
                    </a:lnTo>
                    <a:lnTo>
                      <a:pt x="455" y="577"/>
                    </a:lnTo>
                    <a:lnTo>
                      <a:pt x="462" y="584"/>
                    </a:lnTo>
                    <a:lnTo>
                      <a:pt x="469" y="596"/>
                    </a:lnTo>
                    <a:lnTo>
                      <a:pt x="473" y="595"/>
                    </a:lnTo>
                    <a:lnTo>
                      <a:pt x="476" y="596"/>
                    </a:lnTo>
                    <a:lnTo>
                      <a:pt x="480" y="600"/>
                    </a:lnTo>
                    <a:lnTo>
                      <a:pt x="481" y="599"/>
                    </a:lnTo>
                    <a:lnTo>
                      <a:pt x="486" y="599"/>
                    </a:lnTo>
                    <a:lnTo>
                      <a:pt x="490" y="601"/>
                    </a:lnTo>
                    <a:lnTo>
                      <a:pt x="493" y="604"/>
                    </a:lnTo>
                    <a:lnTo>
                      <a:pt x="498" y="611"/>
                    </a:lnTo>
                    <a:lnTo>
                      <a:pt x="501" y="616"/>
                    </a:lnTo>
                    <a:lnTo>
                      <a:pt x="501" y="619"/>
                    </a:lnTo>
                    <a:lnTo>
                      <a:pt x="502" y="619"/>
                    </a:lnTo>
                    <a:lnTo>
                      <a:pt x="506" y="619"/>
                    </a:lnTo>
                    <a:lnTo>
                      <a:pt x="508" y="617"/>
                    </a:lnTo>
                    <a:lnTo>
                      <a:pt x="512" y="615"/>
                    </a:lnTo>
                    <a:lnTo>
                      <a:pt x="515" y="613"/>
                    </a:lnTo>
                    <a:lnTo>
                      <a:pt x="517" y="613"/>
                    </a:lnTo>
                    <a:lnTo>
                      <a:pt x="520" y="612"/>
                    </a:lnTo>
                    <a:lnTo>
                      <a:pt x="526" y="613"/>
                    </a:lnTo>
                    <a:lnTo>
                      <a:pt x="533" y="617"/>
                    </a:lnTo>
                    <a:lnTo>
                      <a:pt x="535" y="618"/>
                    </a:lnTo>
                    <a:lnTo>
                      <a:pt x="537" y="619"/>
                    </a:lnTo>
                    <a:lnTo>
                      <a:pt x="538" y="619"/>
                    </a:lnTo>
                    <a:lnTo>
                      <a:pt x="539" y="619"/>
                    </a:lnTo>
                    <a:lnTo>
                      <a:pt x="541" y="621"/>
                    </a:lnTo>
                    <a:lnTo>
                      <a:pt x="543" y="621"/>
                    </a:lnTo>
                    <a:lnTo>
                      <a:pt x="544" y="621"/>
                    </a:lnTo>
                    <a:lnTo>
                      <a:pt x="542" y="620"/>
                    </a:lnTo>
                    <a:lnTo>
                      <a:pt x="543" y="618"/>
                    </a:lnTo>
                    <a:lnTo>
                      <a:pt x="546" y="616"/>
                    </a:lnTo>
                    <a:lnTo>
                      <a:pt x="549" y="615"/>
                    </a:lnTo>
                    <a:lnTo>
                      <a:pt x="551" y="617"/>
                    </a:lnTo>
                    <a:lnTo>
                      <a:pt x="554" y="616"/>
                    </a:lnTo>
                    <a:lnTo>
                      <a:pt x="555" y="617"/>
                    </a:lnTo>
                    <a:lnTo>
                      <a:pt x="559" y="621"/>
                    </a:lnTo>
                    <a:lnTo>
                      <a:pt x="564" y="627"/>
                    </a:lnTo>
                    <a:lnTo>
                      <a:pt x="569" y="635"/>
                    </a:lnTo>
                    <a:lnTo>
                      <a:pt x="570" y="641"/>
                    </a:lnTo>
                    <a:lnTo>
                      <a:pt x="575" y="646"/>
                    </a:lnTo>
                    <a:lnTo>
                      <a:pt x="580" y="658"/>
                    </a:lnTo>
                    <a:lnTo>
                      <a:pt x="580" y="665"/>
                    </a:lnTo>
                    <a:lnTo>
                      <a:pt x="583" y="665"/>
                    </a:lnTo>
                    <a:lnTo>
                      <a:pt x="583" y="666"/>
                    </a:lnTo>
                    <a:lnTo>
                      <a:pt x="582" y="662"/>
                    </a:lnTo>
                    <a:lnTo>
                      <a:pt x="584" y="661"/>
                    </a:lnTo>
                    <a:lnTo>
                      <a:pt x="588" y="662"/>
                    </a:lnTo>
                    <a:lnTo>
                      <a:pt x="590" y="664"/>
                    </a:lnTo>
                    <a:lnTo>
                      <a:pt x="592" y="665"/>
                    </a:lnTo>
                    <a:lnTo>
                      <a:pt x="593" y="664"/>
                    </a:lnTo>
                    <a:lnTo>
                      <a:pt x="594" y="661"/>
                    </a:lnTo>
                    <a:lnTo>
                      <a:pt x="596" y="661"/>
                    </a:lnTo>
                    <a:lnTo>
                      <a:pt x="598" y="659"/>
                    </a:lnTo>
                    <a:lnTo>
                      <a:pt x="602" y="661"/>
                    </a:lnTo>
                    <a:lnTo>
                      <a:pt x="607" y="668"/>
                    </a:lnTo>
                    <a:lnTo>
                      <a:pt x="610" y="668"/>
                    </a:lnTo>
                    <a:lnTo>
                      <a:pt x="613" y="670"/>
                    </a:lnTo>
                    <a:lnTo>
                      <a:pt x="614" y="674"/>
                    </a:lnTo>
                    <a:lnTo>
                      <a:pt x="608" y="679"/>
                    </a:lnTo>
                    <a:lnTo>
                      <a:pt x="608" y="680"/>
                    </a:lnTo>
                    <a:lnTo>
                      <a:pt x="607" y="682"/>
                    </a:lnTo>
                    <a:lnTo>
                      <a:pt x="605" y="682"/>
                    </a:lnTo>
                    <a:lnTo>
                      <a:pt x="604" y="682"/>
                    </a:lnTo>
                    <a:lnTo>
                      <a:pt x="602" y="686"/>
                    </a:lnTo>
                    <a:lnTo>
                      <a:pt x="602" y="688"/>
                    </a:lnTo>
                    <a:lnTo>
                      <a:pt x="603" y="688"/>
                    </a:lnTo>
                    <a:lnTo>
                      <a:pt x="605" y="686"/>
                    </a:lnTo>
                    <a:lnTo>
                      <a:pt x="611" y="683"/>
                    </a:lnTo>
                    <a:lnTo>
                      <a:pt x="615" y="682"/>
                    </a:lnTo>
                    <a:lnTo>
                      <a:pt x="618" y="684"/>
                    </a:lnTo>
                    <a:lnTo>
                      <a:pt x="621" y="684"/>
                    </a:lnTo>
                    <a:lnTo>
                      <a:pt x="623" y="682"/>
                    </a:lnTo>
                    <a:lnTo>
                      <a:pt x="626" y="680"/>
                    </a:lnTo>
                    <a:lnTo>
                      <a:pt x="629" y="681"/>
                    </a:lnTo>
                    <a:lnTo>
                      <a:pt x="631" y="681"/>
                    </a:lnTo>
                    <a:lnTo>
                      <a:pt x="632" y="679"/>
                    </a:lnTo>
                    <a:lnTo>
                      <a:pt x="635" y="677"/>
                    </a:lnTo>
                    <a:lnTo>
                      <a:pt x="637" y="677"/>
                    </a:lnTo>
                    <a:lnTo>
                      <a:pt x="642" y="682"/>
                    </a:lnTo>
                    <a:lnTo>
                      <a:pt x="647" y="690"/>
                    </a:lnTo>
                    <a:lnTo>
                      <a:pt x="650" y="699"/>
                    </a:lnTo>
                    <a:lnTo>
                      <a:pt x="652" y="700"/>
                    </a:lnTo>
                    <a:lnTo>
                      <a:pt x="654" y="707"/>
                    </a:lnTo>
                    <a:lnTo>
                      <a:pt x="654" y="710"/>
                    </a:lnTo>
                    <a:lnTo>
                      <a:pt x="650" y="714"/>
                    </a:lnTo>
                    <a:lnTo>
                      <a:pt x="650" y="719"/>
                    </a:lnTo>
                    <a:lnTo>
                      <a:pt x="647" y="721"/>
                    </a:lnTo>
                    <a:lnTo>
                      <a:pt x="648" y="723"/>
                    </a:lnTo>
                    <a:lnTo>
                      <a:pt x="654" y="726"/>
                    </a:lnTo>
                    <a:lnTo>
                      <a:pt x="656" y="728"/>
                    </a:lnTo>
                    <a:lnTo>
                      <a:pt x="657" y="730"/>
                    </a:lnTo>
                    <a:lnTo>
                      <a:pt x="664" y="730"/>
                    </a:lnTo>
                    <a:lnTo>
                      <a:pt x="676" y="741"/>
                    </a:lnTo>
                    <a:lnTo>
                      <a:pt x="676" y="744"/>
                    </a:lnTo>
                    <a:lnTo>
                      <a:pt x="676" y="745"/>
                    </a:lnTo>
                    <a:lnTo>
                      <a:pt x="679" y="745"/>
                    </a:lnTo>
                    <a:lnTo>
                      <a:pt x="683" y="749"/>
                    </a:lnTo>
                    <a:lnTo>
                      <a:pt x="685" y="749"/>
                    </a:lnTo>
                    <a:lnTo>
                      <a:pt x="687" y="749"/>
                    </a:lnTo>
                    <a:lnTo>
                      <a:pt x="689" y="746"/>
                    </a:lnTo>
                    <a:lnTo>
                      <a:pt x="692" y="744"/>
                    </a:lnTo>
                    <a:lnTo>
                      <a:pt x="695" y="741"/>
                    </a:lnTo>
                    <a:lnTo>
                      <a:pt x="698" y="740"/>
                    </a:lnTo>
                    <a:lnTo>
                      <a:pt x="704" y="741"/>
                    </a:lnTo>
                    <a:lnTo>
                      <a:pt x="704" y="743"/>
                    </a:lnTo>
                    <a:lnTo>
                      <a:pt x="707" y="745"/>
                    </a:lnTo>
                    <a:lnTo>
                      <a:pt x="708" y="749"/>
                    </a:lnTo>
                    <a:lnTo>
                      <a:pt x="710" y="751"/>
                    </a:lnTo>
                    <a:lnTo>
                      <a:pt x="715" y="762"/>
                    </a:lnTo>
                    <a:lnTo>
                      <a:pt x="715" y="764"/>
                    </a:lnTo>
                    <a:lnTo>
                      <a:pt x="715" y="767"/>
                    </a:lnTo>
                    <a:lnTo>
                      <a:pt x="716" y="771"/>
                    </a:lnTo>
                    <a:lnTo>
                      <a:pt x="718" y="782"/>
                    </a:lnTo>
                    <a:lnTo>
                      <a:pt x="720" y="786"/>
                    </a:lnTo>
                    <a:lnTo>
                      <a:pt x="723" y="796"/>
                    </a:lnTo>
                    <a:lnTo>
                      <a:pt x="728" y="800"/>
                    </a:lnTo>
                    <a:lnTo>
                      <a:pt x="731" y="806"/>
                    </a:lnTo>
                    <a:lnTo>
                      <a:pt x="735" y="818"/>
                    </a:lnTo>
                    <a:lnTo>
                      <a:pt x="737" y="827"/>
                    </a:lnTo>
                    <a:lnTo>
                      <a:pt x="738" y="839"/>
                    </a:lnTo>
                    <a:lnTo>
                      <a:pt x="739" y="844"/>
                    </a:lnTo>
                    <a:lnTo>
                      <a:pt x="740" y="851"/>
                    </a:lnTo>
                    <a:lnTo>
                      <a:pt x="743" y="854"/>
                    </a:lnTo>
                    <a:lnTo>
                      <a:pt x="745" y="859"/>
                    </a:lnTo>
                    <a:lnTo>
                      <a:pt x="750" y="862"/>
                    </a:lnTo>
                    <a:lnTo>
                      <a:pt x="750" y="870"/>
                    </a:lnTo>
                    <a:lnTo>
                      <a:pt x="749" y="876"/>
                    </a:lnTo>
                    <a:lnTo>
                      <a:pt x="747" y="881"/>
                    </a:lnTo>
                    <a:lnTo>
                      <a:pt x="743" y="884"/>
                    </a:lnTo>
                    <a:lnTo>
                      <a:pt x="740" y="884"/>
                    </a:lnTo>
                    <a:lnTo>
                      <a:pt x="737" y="883"/>
                    </a:lnTo>
                    <a:lnTo>
                      <a:pt x="732" y="883"/>
                    </a:lnTo>
                    <a:lnTo>
                      <a:pt x="729" y="886"/>
                    </a:lnTo>
                    <a:lnTo>
                      <a:pt x="721" y="890"/>
                    </a:lnTo>
                    <a:lnTo>
                      <a:pt x="720" y="891"/>
                    </a:lnTo>
                    <a:lnTo>
                      <a:pt x="720" y="894"/>
                    </a:lnTo>
                    <a:lnTo>
                      <a:pt x="723" y="897"/>
                    </a:lnTo>
                    <a:lnTo>
                      <a:pt x="727" y="902"/>
                    </a:lnTo>
                    <a:lnTo>
                      <a:pt x="726" y="910"/>
                    </a:lnTo>
                    <a:lnTo>
                      <a:pt x="722" y="916"/>
                    </a:lnTo>
                    <a:lnTo>
                      <a:pt x="722" y="919"/>
                    </a:lnTo>
                    <a:lnTo>
                      <a:pt x="720" y="921"/>
                    </a:lnTo>
                    <a:lnTo>
                      <a:pt x="720" y="925"/>
                    </a:lnTo>
                    <a:lnTo>
                      <a:pt x="718" y="928"/>
                    </a:lnTo>
                    <a:lnTo>
                      <a:pt x="713" y="932"/>
                    </a:lnTo>
                    <a:lnTo>
                      <a:pt x="710" y="932"/>
                    </a:lnTo>
                    <a:lnTo>
                      <a:pt x="704" y="935"/>
                    </a:lnTo>
                    <a:lnTo>
                      <a:pt x="704" y="937"/>
                    </a:lnTo>
                    <a:lnTo>
                      <a:pt x="706" y="944"/>
                    </a:lnTo>
                    <a:lnTo>
                      <a:pt x="705" y="947"/>
                    </a:lnTo>
                    <a:lnTo>
                      <a:pt x="704" y="949"/>
                    </a:lnTo>
                    <a:lnTo>
                      <a:pt x="704" y="951"/>
                    </a:lnTo>
                    <a:lnTo>
                      <a:pt x="706" y="955"/>
                    </a:lnTo>
                    <a:lnTo>
                      <a:pt x="704" y="958"/>
                    </a:lnTo>
                    <a:lnTo>
                      <a:pt x="707" y="963"/>
                    </a:lnTo>
                    <a:lnTo>
                      <a:pt x="711" y="967"/>
                    </a:lnTo>
                    <a:lnTo>
                      <a:pt x="715" y="968"/>
                    </a:lnTo>
                    <a:lnTo>
                      <a:pt x="726" y="967"/>
                    </a:lnTo>
                    <a:lnTo>
                      <a:pt x="733" y="968"/>
                    </a:lnTo>
                    <a:lnTo>
                      <a:pt x="738" y="968"/>
                    </a:lnTo>
                    <a:lnTo>
                      <a:pt x="741" y="963"/>
                    </a:lnTo>
                    <a:lnTo>
                      <a:pt x="743" y="958"/>
                    </a:lnTo>
                    <a:lnTo>
                      <a:pt x="745" y="945"/>
                    </a:lnTo>
                    <a:lnTo>
                      <a:pt x="750" y="939"/>
                    </a:lnTo>
                    <a:lnTo>
                      <a:pt x="758" y="928"/>
                    </a:lnTo>
                    <a:lnTo>
                      <a:pt x="770" y="923"/>
                    </a:lnTo>
                    <a:lnTo>
                      <a:pt x="778" y="914"/>
                    </a:lnTo>
                    <a:lnTo>
                      <a:pt x="778" y="905"/>
                    </a:lnTo>
                    <a:lnTo>
                      <a:pt x="777" y="899"/>
                    </a:lnTo>
                    <a:lnTo>
                      <a:pt x="776" y="891"/>
                    </a:lnTo>
                    <a:lnTo>
                      <a:pt x="776" y="887"/>
                    </a:lnTo>
                    <a:lnTo>
                      <a:pt x="775" y="884"/>
                    </a:lnTo>
                    <a:lnTo>
                      <a:pt x="778" y="877"/>
                    </a:lnTo>
                    <a:lnTo>
                      <a:pt x="781" y="873"/>
                    </a:lnTo>
                    <a:lnTo>
                      <a:pt x="784" y="872"/>
                    </a:lnTo>
                    <a:lnTo>
                      <a:pt x="790" y="867"/>
                    </a:lnTo>
                    <a:lnTo>
                      <a:pt x="797" y="863"/>
                    </a:lnTo>
                    <a:lnTo>
                      <a:pt x="806" y="860"/>
                    </a:lnTo>
                    <a:lnTo>
                      <a:pt x="810" y="861"/>
                    </a:lnTo>
                    <a:lnTo>
                      <a:pt x="813" y="864"/>
                    </a:lnTo>
                    <a:lnTo>
                      <a:pt x="815" y="862"/>
                    </a:lnTo>
                    <a:lnTo>
                      <a:pt x="818" y="863"/>
                    </a:lnTo>
                    <a:lnTo>
                      <a:pt x="819" y="864"/>
                    </a:lnTo>
                    <a:lnTo>
                      <a:pt x="819" y="865"/>
                    </a:lnTo>
                    <a:lnTo>
                      <a:pt x="822" y="860"/>
                    </a:lnTo>
                    <a:lnTo>
                      <a:pt x="825" y="858"/>
                    </a:lnTo>
                    <a:lnTo>
                      <a:pt x="824" y="856"/>
                    </a:lnTo>
                    <a:lnTo>
                      <a:pt x="824" y="854"/>
                    </a:lnTo>
                    <a:lnTo>
                      <a:pt x="826" y="852"/>
                    </a:lnTo>
                    <a:lnTo>
                      <a:pt x="827" y="851"/>
                    </a:lnTo>
                    <a:lnTo>
                      <a:pt x="825" y="851"/>
                    </a:lnTo>
                    <a:lnTo>
                      <a:pt x="823" y="849"/>
                    </a:lnTo>
                    <a:lnTo>
                      <a:pt x="822" y="848"/>
                    </a:lnTo>
                    <a:lnTo>
                      <a:pt x="822" y="845"/>
                    </a:lnTo>
                    <a:lnTo>
                      <a:pt x="821" y="845"/>
                    </a:lnTo>
                    <a:lnTo>
                      <a:pt x="820" y="843"/>
                    </a:lnTo>
                    <a:lnTo>
                      <a:pt x="823" y="832"/>
                    </a:lnTo>
                    <a:lnTo>
                      <a:pt x="820" y="826"/>
                    </a:lnTo>
                    <a:lnTo>
                      <a:pt x="820" y="821"/>
                    </a:lnTo>
                    <a:lnTo>
                      <a:pt x="822" y="815"/>
                    </a:lnTo>
                    <a:lnTo>
                      <a:pt x="824" y="812"/>
                    </a:lnTo>
                    <a:lnTo>
                      <a:pt x="821" y="811"/>
                    </a:lnTo>
                    <a:lnTo>
                      <a:pt x="815" y="807"/>
                    </a:lnTo>
                    <a:lnTo>
                      <a:pt x="813" y="803"/>
                    </a:lnTo>
                    <a:lnTo>
                      <a:pt x="807" y="801"/>
                    </a:lnTo>
                    <a:lnTo>
                      <a:pt x="806" y="800"/>
                    </a:lnTo>
                    <a:lnTo>
                      <a:pt x="801" y="798"/>
                    </a:lnTo>
                    <a:lnTo>
                      <a:pt x="801" y="797"/>
                    </a:lnTo>
                    <a:lnTo>
                      <a:pt x="798" y="795"/>
                    </a:lnTo>
                    <a:lnTo>
                      <a:pt x="796" y="791"/>
                    </a:lnTo>
                    <a:lnTo>
                      <a:pt x="795" y="791"/>
                    </a:lnTo>
                    <a:lnTo>
                      <a:pt x="792" y="788"/>
                    </a:lnTo>
                    <a:lnTo>
                      <a:pt x="791" y="789"/>
                    </a:lnTo>
                    <a:lnTo>
                      <a:pt x="781" y="788"/>
                    </a:lnTo>
                    <a:lnTo>
                      <a:pt x="776" y="786"/>
                    </a:lnTo>
                    <a:lnTo>
                      <a:pt x="774" y="783"/>
                    </a:lnTo>
                    <a:lnTo>
                      <a:pt x="773" y="781"/>
                    </a:lnTo>
                    <a:lnTo>
                      <a:pt x="773" y="777"/>
                    </a:lnTo>
                    <a:lnTo>
                      <a:pt x="772" y="776"/>
                    </a:lnTo>
                    <a:lnTo>
                      <a:pt x="771" y="773"/>
                    </a:lnTo>
                    <a:lnTo>
                      <a:pt x="772" y="767"/>
                    </a:lnTo>
                    <a:lnTo>
                      <a:pt x="775" y="762"/>
                    </a:lnTo>
                    <a:lnTo>
                      <a:pt x="783" y="752"/>
                    </a:lnTo>
                    <a:lnTo>
                      <a:pt x="781" y="749"/>
                    </a:lnTo>
                    <a:lnTo>
                      <a:pt x="780" y="744"/>
                    </a:lnTo>
                    <a:lnTo>
                      <a:pt x="781" y="739"/>
                    </a:lnTo>
                    <a:lnTo>
                      <a:pt x="783" y="736"/>
                    </a:lnTo>
                    <a:lnTo>
                      <a:pt x="787" y="732"/>
                    </a:lnTo>
                    <a:lnTo>
                      <a:pt x="789" y="729"/>
                    </a:lnTo>
                    <a:lnTo>
                      <a:pt x="790" y="726"/>
                    </a:lnTo>
                    <a:lnTo>
                      <a:pt x="792" y="722"/>
                    </a:lnTo>
                    <a:lnTo>
                      <a:pt x="795" y="716"/>
                    </a:lnTo>
                    <a:lnTo>
                      <a:pt x="801" y="706"/>
                    </a:lnTo>
                    <a:lnTo>
                      <a:pt x="806" y="700"/>
                    </a:lnTo>
                    <a:lnTo>
                      <a:pt x="811" y="696"/>
                    </a:lnTo>
                    <a:lnTo>
                      <a:pt x="817" y="694"/>
                    </a:lnTo>
                    <a:lnTo>
                      <a:pt x="825" y="696"/>
                    </a:lnTo>
                    <a:lnTo>
                      <a:pt x="825" y="698"/>
                    </a:lnTo>
                    <a:lnTo>
                      <a:pt x="828" y="698"/>
                    </a:lnTo>
                    <a:lnTo>
                      <a:pt x="830" y="696"/>
                    </a:lnTo>
                    <a:lnTo>
                      <a:pt x="831" y="696"/>
                    </a:lnTo>
                    <a:lnTo>
                      <a:pt x="832" y="697"/>
                    </a:lnTo>
                    <a:lnTo>
                      <a:pt x="834" y="696"/>
                    </a:lnTo>
                    <a:lnTo>
                      <a:pt x="836" y="696"/>
                    </a:lnTo>
                    <a:lnTo>
                      <a:pt x="837" y="696"/>
                    </a:lnTo>
                    <a:lnTo>
                      <a:pt x="835" y="699"/>
                    </a:lnTo>
                    <a:lnTo>
                      <a:pt x="829" y="698"/>
                    </a:lnTo>
                    <a:lnTo>
                      <a:pt x="830" y="702"/>
                    </a:lnTo>
                    <a:lnTo>
                      <a:pt x="829" y="704"/>
                    </a:lnTo>
                    <a:lnTo>
                      <a:pt x="827" y="704"/>
                    </a:lnTo>
                    <a:lnTo>
                      <a:pt x="827" y="705"/>
                    </a:lnTo>
                    <a:lnTo>
                      <a:pt x="839" y="711"/>
                    </a:lnTo>
                    <a:lnTo>
                      <a:pt x="842" y="714"/>
                    </a:lnTo>
                    <a:lnTo>
                      <a:pt x="845" y="714"/>
                    </a:lnTo>
                    <a:lnTo>
                      <a:pt x="847" y="715"/>
                    </a:lnTo>
                    <a:lnTo>
                      <a:pt x="850" y="716"/>
                    </a:lnTo>
                    <a:lnTo>
                      <a:pt x="851" y="717"/>
                    </a:lnTo>
                    <a:lnTo>
                      <a:pt x="864" y="716"/>
                    </a:lnTo>
                    <a:lnTo>
                      <a:pt x="878" y="718"/>
                    </a:lnTo>
                    <a:lnTo>
                      <a:pt x="879" y="720"/>
                    </a:lnTo>
                    <a:lnTo>
                      <a:pt x="882" y="722"/>
                    </a:lnTo>
                    <a:lnTo>
                      <a:pt x="881" y="722"/>
                    </a:lnTo>
                    <a:lnTo>
                      <a:pt x="883" y="725"/>
                    </a:lnTo>
                    <a:lnTo>
                      <a:pt x="883" y="728"/>
                    </a:lnTo>
                    <a:lnTo>
                      <a:pt x="884" y="730"/>
                    </a:lnTo>
                    <a:lnTo>
                      <a:pt x="888" y="734"/>
                    </a:lnTo>
                    <a:lnTo>
                      <a:pt x="890" y="738"/>
                    </a:lnTo>
                    <a:lnTo>
                      <a:pt x="889" y="741"/>
                    </a:lnTo>
                    <a:lnTo>
                      <a:pt x="887" y="743"/>
                    </a:lnTo>
                    <a:lnTo>
                      <a:pt x="889" y="744"/>
                    </a:lnTo>
                    <a:lnTo>
                      <a:pt x="891" y="745"/>
                    </a:lnTo>
                    <a:lnTo>
                      <a:pt x="891" y="748"/>
                    </a:lnTo>
                    <a:lnTo>
                      <a:pt x="890" y="749"/>
                    </a:lnTo>
                    <a:lnTo>
                      <a:pt x="889" y="749"/>
                    </a:lnTo>
                    <a:lnTo>
                      <a:pt x="891" y="752"/>
                    </a:lnTo>
                    <a:lnTo>
                      <a:pt x="893" y="756"/>
                    </a:lnTo>
                    <a:lnTo>
                      <a:pt x="902" y="763"/>
                    </a:lnTo>
                    <a:lnTo>
                      <a:pt x="905" y="765"/>
                    </a:lnTo>
                    <a:lnTo>
                      <a:pt x="910" y="766"/>
                    </a:lnTo>
                    <a:lnTo>
                      <a:pt x="913" y="767"/>
                    </a:lnTo>
                    <a:lnTo>
                      <a:pt x="916" y="771"/>
                    </a:lnTo>
                    <a:lnTo>
                      <a:pt x="919" y="770"/>
                    </a:lnTo>
                    <a:lnTo>
                      <a:pt x="920" y="768"/>
                    </a:lnTo>
                    <a:lnTo>
                      <a:pt x="919" y="766"/>
                    </a:lnTo>
                    <a:lnTo>
                      <a:pt x="920" y="764"/>
                    </a:lnTo>
                    <a:lnTo>
                      <a:pt x="920" y="760"/>
                    </a:lnTo>
                    <a:lnTo>
                      <a:pt x="920" y="757"/>
                    </a:lnTo>
                    <a:lnTo>
                      <a:pt x="922" y="749"/>
                    </a:lnTo>
                    <a:lnTo>
                      <a:pt x="923" y="748"/>
                    </a:lnTo>
                    <a:lnTo>
                      <a:pt x="923" y="746"/>
                    </a:lnTo>
                    <a:lnTo>
                      <a:pt x="927" y="744"/>
                    </a:lnTo>
                    <a:lnTo>
                      <a:pt x="927" y="740"/>
                    </a:lnTo>
                    <a:lnTo>
                      <a:pt x="929" y="738"/>
                    </a:lnTo>
                    <a:lnTo>
                      <a:pt x="929" y="733"/>
                    </a:lnTo>
                    <a:close/>
                    <a:moveTo>
                      <a:pt x="132" y="836"/>
                    </a:moveTo>
                    <a:lnTo>
                      <a:pt x="132" y="839"/>
                    </a:lnTo>
                    <a:lnTo>
                      <a:pt x="131" y="844"/>
                    </a:lnTo>
                    <a:lnTo>
                      <a:pt x="130" y="844"/>
                    </a:lnTo>
                    <a:lnTo>
                      <a:pt x="128" y="843"/>
                    </a:lnTo>
                    <a:lnTo>
                      <a:pt x="127" y="842"/>
                    </a:lnTo>
                    <a:lnTo>
                      <a:pt x="128" y="842"/>
                    </a:lnTo>
                    <a:lnTo>
                      <a:pt x="127" y="840"/>
                    </a:lnTo>
                    <a:lnTo>
                      <a:pt x="128" y="839"/>
                    </a:lnTo>
                    <a:lnTo>
                      <a:pt x="125" y="839"/>
                    </a:lnTo>
                    <a:lnTo>
                      <a:pt x="125" y="836"/>
                    </a:lnTo>
                    <a:lnTo>
                      <a:pt x="132" y="833"/>
                    </a:lnTo>
                    <a:lnTo>
                      <a:pt x="132" y="836"/>
                    </a:lnTo>
                    <a:close/>
                    <a:moveTo>
                      <a:pt x="206" y="617"/>
                    </a:moveTo>
                    <a:lnTo>
                      <a:pt x="204" y="617"/>
                    </a:lnTo>
                    <a:lnTo>
                      <a:pt x="204" y="615"/>
                    </a:lnTo>
                    <a:lnTo>
                      <a:pt x="202" y="617"/>
                    </a:lnTo>
                    <a:lnTo>
                      <a:pt x="200" y="617"/>
                    </a:lnTo>
                    <a:lnTo>
                      <a:pt x="199" y="618"/>
                    </a:lnTo>
                    <a:lnTo>
                      <a:pt x="199" y="620"/>
                    </a:lnTo>
                    <a:lnTo>
                      <a:pt x="198" y="622"/>
                    </a:lnTo>
                    <a:lnTo>
                      <a:pt x="199" y="625"/>
                    </a:lnTo>
                    <a:lnTo>
                      <a:pt x="198" y="627"/>
                    </a:lnTo>
                    <a:lnTo>
                      <a:pt x="196" y="627"/>
                    </a:lnTo>
                    <a:lnTo>
                      <a:pt x="196" y="628"/>
                    </a:lnTo>
                    <a:lnTo>
                      <a:pt x="194" y="629"/>
                    </a:lnTo>
                    <a:lnTo>
                      <a:pt x="189" y="629"/>
                    </a:lnTo>
                    <a:lnTo>
                      <a:pt x="187" y="630"/>
                    </a:lnTo>
                    <a:lnTo>
                      <a:pt x="184" y="635"/>
                    </a:lnTo>
                    <a:lnTo>
                      <a:pt x="182" y="636"/>
                    </a:lnTo>
                    <a:lnTo>
                      <a:pt x="180" y="639"/>
                    </a:lnTo>
                    <a:lnTo>
                      <a:pt x="177" y="640"/>
                    </a:lnTo>
                    <a:lnTo>
                      <a:pt x="178" y="641"/>
                    </a:lnTo>
                    <a:lnTo>
                      <a:pt x="176" y="641"/>
                    </a:lnTo>
                    <a:lnTo>
                      <a:pt x="176" y="643"/>
                    </a:lnTo>
                    <a:lnTo>
                      <a:pt x="175" y="646"/>
                    </a:lnTo>
                    <a:lnTo>
                      <a:pt x="171" y="650"/>
                    </a:lnTo>
                    <a:lnTo>
                      <a:pt x="168" y="652"/>
                    </a:lnTo>
                    <a:lnTo>
                      <a:pt x="164" y="652"/>
                    </a:lnTo>
                    <a:lnTo>
                      <a:pt x="158" y="654"/>
                    </a:lnTo>
                    <a:lnTo>
                      <a:pt x="156" y="658"/>
                    </a:lnTo>
                    <a:lnTo>
                      <a:pt x="153" y="659"/>
                    </a:lnTo>
                    <a:lnTo>
                      <a:pt x="146" y="662"/>
                    </a:lnTo>
                    <a:lnTo>
                      <a:pt x="140" y="659"/>
                    </a:lnTo>
                    <a:lnTo>
                      <a:pt x="137" y="660"/>
                    </a:lnTo>
                    <a:lnTo>
                      <a:pt x="133" y="659"/>
                    </a:lnTo>
                    <a:lnTo>
                      <a:pt x="130" y="658"/>
                    </a:lnTo>
                    <a:lnTo>
                      <a:pt x="126" y="653"/>
                    </a:lnTo>
                    <a:lnTo>
                      <a:pt x="126" y="649"/>
                    </a:lnTo>
                    <a:lnTo>
                      <a:pt x="126" y="647"/>
                    </a:lnTo>
                    <a:lnTo>
                      <a:pt x="124" y="646"/>
                    </a:lnTo>
                    <a:lnTo>
                      <a:pt x="122" y="650"/>
                    </a:lnTo>
                    <a:lnTo>
                      <a:pt x="123" y="652"/>
                    </a:lnTo>
                    <a:lnTo>
                      <a:pt x="125" y="653"/>
                    </a:lnTo>
                    <a:lnTo>
                      <a:pt x="125" y="655"/>
                    </a:lnTo>
                    <a:lnTo>
                      <a:pt x="123" y="660"/>
                    </a:lnTo>
                    <a:lnTo>
                      <a:pt x="122" y="664"/>
                    </a:lnTo>
                    <a:lnTo>
                      <a:pt x="121" y="664"/>
                    </a:lnTo>
                    <a:lnTo>
                      <a:pt x="120" y="668"/>
                    </a:lnTo>
                    <a:lnTo>
                      <a:pt x="118" y="671"/>
                    </a:lnTo>
                    <a:lnTo>
                      <a:pt x="121" y="674"/>
                    </a:lnTo>
                    <a:lnTo>
                      <a:pt x="122" y="676"/>
                    </a:lnTo>
                    <a:lnTo>
                      <a:pt x="123" y="676"/>
                    </a:lnTo>
                    <a:lnTo>
                      <a:pt x="123" y="677"/>
                    </a:lnTo>
                    <a:lnTo>
                      <a:pt x="122" y="682"/>
                    </a:lnTo>
                    <a:lnTo>
                      <a:pt x="119" y="682"/>
                    </a:lnTo>
                    <a:lnTo>
                      <a:pt x="119" y="686"/>
                    </a:lnTo>
                    <a:lnTo>
                      <a:pt x="120" y="689"/>
                    </a:lnTo>
                    <a:lnTo>
                      <a:pt x="121" y="686"/>
                    </a:lnTo>
                    <a:lnTo>
                      <a:pt x="123" y="684"/>
                    </a:lnTo>
                    <a:lnTo>
                      <a:pt x="125" y="684"/>
                    </a:lnTo>
                    <a:lnTo>
                      <a:pt x="124" y="686"/>
                    </a:lnTo>
                    <a:lnTo>
                      <a:pt x="123" y="688"/>
                    </a:lnTo>
                    <a:lnTo>
                      <a:pt x="124" y="688"/>
                    </a:lnTo>
                    <a:lnTo>
                      <a:pt x="126" y="688"/>
                    </a:lnTo>
                    <a:lnTo>
                      <a:pt x="127" y="687"/>
                    </a:lnTo>
                    <a:lnTo>
                      <a:pt x="129" y="686"/>
                    </a:lnTo>
                    <a:lnTo>
                      <a:pt x="131" y="686"/>
                    </a:lnTo>
                    <a:lnTo>
                      <a:pt x="133" y="688"/>
                    </a:lnTo>
                    <a:lnTo>
                      <a:pt x="132" y="690"/>
                    </a:lnTo>
                    <a:lnTo>
                      <a:pt x="134" y="694"/>
                    </a:lnTo>
                    <a:lnTo>
                      <a:pt x="137" y="696"/>
                    </a:lnTo>
                    <a:lnTo>
                      <a:pt x="139" y="704"/>
                    </a:lnTo>
                    <a:lnTo>
                      <a:pt x="138" y="709"/>
                    </a:lnTo>
                    <a:lnTo>
                      <a:pt x="137" y="710"/>
                    </a:lnTo>
                    <a:lnTo>
                      <a:pt x="138" y="712"/>
                    </a:lnTo>
                    <a:lnTo>
                      <a:pt x="142" y="713"/>
                    </a:lnTo>
                    <a:lnTo>
                      <a:pt x="143" y="714"/>
                    </a:lnTo>
                    <a:lnTo>
                      <a:pt x="144" y="714"/>
                    </a:lnTo>
                    <a:lnTo>
                      <a:pt x="145" y="718"/>
                    </a:lnTo>
                    <a:lnTo>
                      <a:pt x="146" y="719"/>
                    </a:lnTo>
                    <a:lnTo>
                      <a:pt x="144" y="724"/>
                    </a:lnTo>
                    <a:lnTo>
                      <a:pt x="144" y="728"/>
                    </a:lnTo>
                    <a:lnTo>
                      <a:pt x="144" y="730"/>
                    </a:lnTo>
                    <a:lnTo>
                      <a:pt x="145" y="735"/>
                    </a:lnTo>
                    <a:lnTo>
                      <a:pt x="146" y="737"/>
                    </a:lnTo>
                    <a:lnTo>
                      <a:pt x="146" y="739"/>
                    </a:lnTo>
                    <a:lnTo>
                      <a:pt x="143" y="743"/>
                    </a:lnTo>
                    <a:lnTo>
                      <a:pt x="140" y="744"/>
                    </a:lnTo>
                    <a:lnTo>
                      <a:pt x="139" y="744"/>
                    </a:lnTo>
                    <a:lnTo>
                      <a:pt x="137" y="745"/>
                    </a:lnTo>
                    <a:lnTo>
                      <a:pt x="139" y="745"/>
                    </a:lnTo>
                    <a:lnTo>
                      <a:pt x="140" y="746"/>
                    </a:lnTo>
                    <a:lnTo>
                      <a:pt x="140" y="749"/>
                    </a:lnTo>
                    <a:lnTo>
                      <a:pt x="138" y="751"/>
                    </a:lnTo>
                    <a:lnTo>
                      <a:pt x="139" y="754"/>
                    </a:lnTo>
                    <a:lnTo>
                      <a:pt x="139" y="758"/>
                    </a:lnTo>
                    <a:lnTo>
                      <a:pt x="142" y="761"/>
                    </a:lnTo>
                    <a:lnTo>
                      <a:pt x="142" y="763"/>
                    </a:lnTo>
                    <a:lnTo>
                      <a:pt x="143" y="760"/>
                    </a:lnTo>
                    <a:lnTo>
                      <a:pt x="144" y="759"/>
                    </a:lnTo>
                    <a:lnTo>
                      <a:pt x="142" y="760"/>
                    </a:lnTo>
                    <a:lnTo>
                      <a:pt x="142" y="759"/>
                    </a:lnTo>
                    <a:lnTo>
                      <a:pt x="144" y="757"/>
                    </a:lnTo>
                    <a:lnTo>
                      <a:pt x="145" y="758"/>
                    </a:lnTo>
                    <a:lnTo>
                      <a:pt x="149" y="758"/>
                    </a:lnTo>
                    <a:lnTo>
                      <a:pt x="152" y="763"/>
                    </a:lnTo>
                    <a:lnTo>
                      <a:pt x="151" y="769"/>
                    </a:lnTo>
                    <a:lnTo>
                      <a:pt x="150" y="772"/>
                    </a:lnTo>
                    <a:lnTo>
                      <a:pt x="148" y="774"/>
                    </a:lnTo>
                    <a:lnTo>
                      <a:pt x="151" y="772"/>
                    </a:lnTo>
                    <a:lnTo>
                      <a:pt x="147" y="777"/>
                    </a:lnTo>
                    <a:lnTo>
                      <a:pt x="149" y="780"/>
                    </a:lnTo>
                    <a:lnTo>
                      <a:pt x="151" y="779"/>
                    </a:lnTo>
                    <a:lnTo>
                      <a:pt x="152" y="781"/>
                    </a:lnTo>
                    <a:lnTo>
                      <a:pt x="148" y="781"/>
                    </a:lnTo>
                    <a:lnTo>
                      <a:pt x="146" y="779"/>
                    </a:lnTo>
                    <a:lnTo>
                      <a:pt x="144" y="774"/>
                    </a:lnTo>
                    <a:lnTo>
                      <a:pt x="143" y="774"/>
                    </a:lnTo>
                    <a:lnTo>
                      <a:pt x="143" y="779"/>
                    </a:lnTo>
                    <a:lnTo>
                      <a:pt x="143" y="780"/>
                    </a:lnTo>
                    <a:lnTo>
                      <a:pt x="143" y="782"/>
                    </a:lnTo>
                    <a:lnTo>
                      <a:pt x="143" y="784"/>
                    </a:lnTo>
                    <a:lnTo>
                      <a:pt x="143" y="787"/>
                    </a:lnTo>
                    <a:lnTo>
                      <a:pt x="145" y="791"/>
                    </a:lnTo>
                    <a:lnTo>
                      <a:pt x="143" y="798"/>
                    </a:lnTo>
                    <a:lnTo>
                      <a:pt x="138" y="805"/>
                    </a:lnTo>
                    <a:lnTo>
                      <a:pt x="138" y="806"/>
                    </a:lnTo>
                    <a:lnTo>
                      <a:pt x="140" y="807"/>
                    </a:lnTo>
                    <a:lnTo>
                      <a:pt x="140" y="809"/>
                    </a:lnTo>
                    <a:lnTo>
                      <a:pt x="139" y="812"/>
                    </a:lnTo>
                    <a:lnTo>
                      <a:pt x="137" y="814"/>
                    </a:lnTo>
                    <a:lnTo>
                      <a:pt x="138" y="816"/>
                    </a:lnTo>
                    <a:lnTo>
                      <a:pt x="139" y="818"/>
                    </a:lnTo>
                    <a:lnTo>
                      <a:pt x="141" y="818"/>
                    </a:lnTo>
                    <a:lnTo>
                      <a:pt x="141" y="820"/>
                    </a:lnTo>
                    <a:lnTo>
                      <a:pt x="142" y="824"/>
                    </a:lnTo>
                    <a:lnTo>
                      <a:pt x="141" y="826"/>
                    </a:lnTo>
                    <a:lnTo>
                      <a:pt x="137" y="829"/>
                    </a:lnTo>
                    <a:lnTo>
                      <a:pt x="137" y="830"/>
                    </a:lnTo>
                    <a:lnTo>
                      <a:pt x="137" y="832"/>
                    </a:lnTo>
                    <a:lnTo>
                      <a:pt x="139" y="832"/>
                    </a:lnTo>
                    <a:lnTo>
                      <a:pt x="140" y="836"/>
                    </a:lnTo>
                    <a:lnTo>
                      <a:pt x="140" y="837"/>
                    </a:lnTo>
                    <a:lnTo>
                      <a:pt x="140" y="836"/>
                    </a:lnTo>
                    <a:lnTo>
                      <a:pt x="140" y="835"/>
                    </a:lnTo>
                    <a:lnTo>
                      <a:pt x="142" y="837"/>
                    </a:lnTo>
                    <a:lnTo>
                      <a:pt x="142" y="842"/>
                    </a:lnTo>
                    <a:lnTo>
                      <a:pt x="144" y="842"/>
                    </a:lnTo>
                    <a:lnTo>
                      <a:pt x="146" y="845"/>
                    </a:lnTo>
                    <a:lnTo>
                      <a:pt x="145" y="848"/>
                    </a:lnTo>
                    <a:lnTo>
                      <a:pt x="144" y="848"/>
                    </a:lnTo>
                    <a:lnTo>
                      <a:pt x="143" y="844"/>
                    </a:lnTo>
                    <a:lnTo>
                      <a:pt x="141" y="842"/>
                    </a:lnTo>
                    <a:lnTo>
                      <a:pt x="137" y="844"/>
                    </a:lnTo>
                    <a:lnTo>
                      <a:pt x="136" y="842"/>
                    </a:lnTo>
                    <a:lnTo>
                      <a:pt x="135" y="846"/>
                    </a:lnTo>
                    <a:lnTo>
                      <a:pt x="136" y="851"/>
                    </a:lnTo>
                    <a:lnTo>
                      <a:pt x="140" y="858"/>
                    </a:lnTo>
                    <a:lnTo>
                      <a:pt x="142" y="858"/>
                    </a:lnTo>
                    <a:lnTo>
                      <a:pt x="143" y="857"/>
                    </a:lnTo>
                    <a:lnTo>
                      <a:pt x="142" y="856"/>
                    </a:lnTo>
                    <a:lnTo>
                      <a:pt x="143" y="855"/>
                    </a:lnTo>
                    <a:lnTo>
                      <a:pt x="143" y="852"/>
                    </a:lnTo>
                    <a:lnTo>
                      <a:pt x="144" y="850"/>
                    </a:lnTo>
                    <a:lnTo>
                      <a:pt x="144" y="849"/>
                    </a:lnTo>
                    <a:lnTo>
                      <a:pt x="146" y="847"/>
                    </a:lnTo>
                    <a:lnTo>
                      <a:pt x="145" y="846"/>
                    </a:lnTo>
                    <a:lnTo>
                      <a:pt x="147" y="845"/>
                    </a:lnTo>
                    <a:lnTo>
                      <a:pt x="148" y="845"/>
                    </a:lnTo>
                    <a:lnTo>
                      <a:pt x="148" y="848"/>
                    </a:lnTo>
                    <a:lnTo>
                      <a:pt x="149" y="848"/>
                    </a:lnTo>
                    <a:lnTo>
                      <a:pt x="151" y="850"/>
                    </a:lnTo>
                    <a:lnTo>
                      <a:pt x="151" y="848"/>
                    </a:lnTo>
                    <a:lnTo>
                      <a:pt x="152" y="849"/>
                    </a:lnTo>
                    <a:lnTo>
                      <a:pt x="153" y="851"/>
                    </a:lnTo>
                    <a:lnTo>
                      <a:pt x="152" y="854"/>
                    </a:lnTo>
                    <a:lnTo>
                      <a:pt x="154" y="858"/>
                    </a:lnTo>
                    <a:lnTo>
                      <a:pt x="155" y="858"/>
                    </a:lnTo>
                    <a:lnTo>
                      <a:pt x="156" y="859"/>
                    </a:lnTo>
                    <a:lnTo>
                      <a:pt x="156" y="862"/>
                    </a:lnTo>
                    <a:lnTo>
                      <a:pt x="155" y="865"/>
                    </a:lnTo>
                    <a:lnTo>
                      <a:pt x="156" y="866"/>
                    </a:lnTo>
                    <a:lnTo>
                      <a:pt x="158" y="865"/>
                    </a:lnTo>
                    <a:lnTo>
                      <a:pt x="158" y="868"/>
                    </a:lnTo>
                    <a:lnTo>
                      <a:pt x="159" y="868"/>
                    </a:lnTo>
                    <a:lnTo>
                      <a:pt x="159" y="866"/>
                    </a:lnTo>
                    <a:lnTo>
                      <a:pt x="160" y="864"/>
                    </a:lnTo>
                    <a:lnTo>
                      <a:pt x="164" y="862"/>
                    </a:lnTo>
                    <a:lnTo>
                      <a:pt x="165" y="861"/>
                    </a:lnTo>
                    <a:lnTo>
                      <a:pt x="168" y="863"/>
                    </a:lnTo>
                    <a:lnTo>
                      <a:pt x="171" y="866"/>
                    </a:lnTo>
                    <a:lnTo>
                      <a:pt x="170" y="864"/>
                    </a:lnTo>
                    <a:lnTo>
                      <a:pt x="173" y="867"/>
                    </a:lnTo>
                    <a:lnTo>
                      <a:pt x="175" y="867"/>
                    </a:lnTo>
                    <a:lnTo>
                      <a:pt x="176" y="865"/>
                    </a:lnTo>
                    <a:lnTo>
                      <a:pt x="179" y="864"/>
                    </a:lnTo>
                    <a:lnTo>
                      <a:pt x="180" y="862"/>
                    </a:lnTo>
                    <a:lnTo>
                      <a:pt x="184" y="858"/>
                    </a:lnTo>
                    <a:lnTo>
                      <a:pt x="186" y="855"/>
                    </a:lnTo>
                    <a:lnTo>
                      <a:pt x="188" y="856"/>
                    </a:lnTo>
                    <a:lnTo>
                      <a:pt x="188" y="851"/>
                    </a:lnTo>
                    <a:lnTo>
                      <a:pt x="190" y="848"/>
                    </a:lnTo>
                    <a:lnTo>
                      <a:pt x="188" y="845"/>
                    </a:lnTo>
                    <a:lnTo>
                      <a:pt x="187" y="839"/>
                    </a:lnTo>
                    <a:lnTo>
                      <a:pt x="189" y="836"/>
                    </a:lnTo>
                    <a:lnTo>
                      <a:pt x="193" y="832"/>
                    </a:lnTo>
                    <a:lnTo>
                      <a:pt x="192" y="830"/>
                    </a:lnTo>
                    <a:lnTo>
                      <a:pt x="189" y="831"/>
                    </a:lnTo>
                    <a:lnTo>
                      <a:pt x="189" y="830"/>
                    </a:lnTo>
                    <a:lnTo>
                      <a:pt x="188" y="830"/>
                    </a:lnTo>
                    <a:lnTo>
                      <a:pt x="187" y="829"/>
                    </a:lnTo>
                    <a:lnTo>
                      <a:pt x="188" y="827"/>
                    </a:lnTo>
                    <a:lnTo>
                      <a:pt x="187" y="827"/>
                    </a:lnTo>
                    <a:lnTo>
                      <a:pt x="187" y="826"/>
                    </a:lnTo>
                    <a:lnTo>
                      <a:pt x="189" y="827"/>
                    </a:lnTo>
                    <a:lnTo>
                      <a:pt x="191" y="829"/>
                    </a:lnTo>
                    <a:lnTo>
                      <a:pt x="192" y="828"/>
                    </a:lnTo>
                    <a:lnTo>
                      <a:pt x="194" y="832"/>
                    </a:lnTo>
                    <a:lnTo>
                      <a:pt x="198" y="835"/>
                    </a:lnTo>
                    <a:lnTo>
                      <a:pt x="199" y="834"/>
                    </a:lnTo>
                    <a:lnTo>
                      <a:pt x="199" y="832"/>
                    </a:lnTo>
                    <a:lnTo>
                      <a:pt x="200" y="832"/>
                    </a:lnTo>
                    <a:lnTo>
                      <a:pt x="203" y="830"/>
                    </a:lnTo>
                    <a:lnTo>
                      <a:pt x="211" y="832"/>
                    </a:lnTo>
                    <a:lnTo>
                      <a:pt x="213" y="833"/>
                    </a:lnTo>
                    <a:lnTo>
                      <a:pt x="213" y="835"/>
                    </a:lnTo>
                    <a:lnTo>
                      <a:pt x="215" y="835"/>
                    </a:lnTo>
                    <a:lnTo>
                      <a:pt x="217" y="838"/>
                    </a:lnTo>
                    <a:lnTo>
                      <a:pt x="217" y="839"/>
                    </a:lnTo>
                    <a:lnTo>
                      <a:pt x="218" y="839"/>
                    </a:lnTo>
                    <a:lnTo>
                      <a:pt x="220" y="841"/>
                    </a:lnTo>
                    <a:lnTo>
                      <a:pt x="225" y="839"/>
                    </a:lnTo>
                    <a:lnTo>
                      <a:pt x="225" y="840"/>
                    </a:lnTo>
                    <a:lnTo>
                      <a:pt x="225" y="843"/>
                    </a:lnTo>
                    <a:lnTo>
                      <a:pt x="226" y="844"/>
                    </a:lnTo>
                    <a:lnTo>
                      <a:pt x="227" y="842"/>
                    </a:lnTo>
                    <a:lnTo>
                      <a:pt x="231" y="839"/>
                    </a:lnTo>
                    <a:lnTo>
                      <a:pt x="231" y="836"/>
                    </a:lnTo>
                    <a:lnTo>
                      <a:pt x="231" y="835"/>
                    </a:lnTo>
                    <a:lnTo>
                      <a:pt x="230" y="833"/>
                    </a:lnTo>
                    <a:lnTo>
                      <a:pt x="231" y="827"/>
                    </a:lnTo>
                    <a:lnTo>
                      <a:pt x="233" y="824"/>
                    </a:lnTo>
                    <a:lnTo>
                      <a:pt x="236" y="822"/>
                    </a:lnTo>
                    <a:lnTo>
                      <a:pt x="233" y="820"/>
                    </a:lnTo>
                    <a:lnTo>
                      <a:pt x="233" y="819"/>
                    </a:lnTo>
                    <a:lnTo>
                      <a:pt x="233" y="814"/>
                    </a:lnTo>
                    <a:lnTo>
                      <a:pt x="236" y="806"/>
                    </a:lnTo>
                    <a:lnTo>
                      <a:pt x="236" y="803"/>
                    </a:lnTo>
                    <a:lnTo>
                      <a:pt x="236" y="801"/>
                    </a:lnTo>
                    <a:lnTo>
                      <a:pt x="237" y="793"/>
                    </a:lnTo>
                    <a:lnTo>
                      <a:pt x="237" y="784"/>
                    </a:lnTo>
                    <a:lnTo>
                      <a:pt x="238" y="783"/>
                    </a:lnTo>
                    <a:lnTo>
                      <a:pt x="238" y="781"/>
                    </a:lnTo>
                    <a:lnTo>
                      <a:pt x="239" y="779"/>
                    </a:lnTo>
                    <a:lnTo>
                      <a:pt x="239" y="772"/>
                    </a:lnTo>
                    <a:lnTo>
                      <a:pt x="239" y="767"/>
                    </a:lnTo>
                    <a:lnTo>
                      <a:pt x="240" y="764"/>
                    </a:lnTo>
                    <a:lnTo>
                      <a:pt x="239" y="763"/>
                    </a:lnTo>
                    <a:lnTo>
                      <a:pt x="239" y="759"/>
                    </a:lnTo>
                    <a:lnTo>
                      <a:pt x="240" y="758"/>
                    </a:lnTo>
                    <a:lnTo>
                      <a:pt x="242" y="757"/>
                    </a:lnTo>
                    <a:lnTo>
                      <a:pt x="242" y="755"/>
                    </a:lnTo>
                    <a:lnTo>
                      <a:pt x="241" y="755"/>
                    </a:lnTo>
                    <a:lnTo>
                      <a:pt x="240" y="755"/>
                    </a:lnTo>
                    <a:lnTo>
                      <a:pt x="240" y="752"/>
                    </a:lnTo>
                    <a:lnTo>
                      <a:pt x="241" y="745"/>
                    </a:lnTo>
                    <a:lnTo>
                      <a:pt x="243" y="743"/>
                    </a:lnTo>
                    <a:lnTo>
                      <a:pt x="243" y="741"/>
                    </a:lnTo>
                    <a:lnTo>
                      <a:pt x="243" y="739"/>
                    </a:lnTo>
                    <a:lnTo>
                      <a:pt x="240" y="737"/>
                    </a:lnTo>
                    <a:lnTo>
                      <a:pt x="237" y="733"/>
                    </a:lnTo>
                    <a:lnTo>
                      <a:pt x="235" y="727"/>
                    </a:lnTo>
                    <a:lnTo>
                      <a:pt x="235" y="722"/>
                    </a:lnTo>
                    <a:lnTo>
                      <a:pt x="237" y="716"/>
                    </a:lnTo>
                    <a:lnTo>
                      <a:pt x="239" y="714"/>
                    </a:lnTo>
                    <a:lnTo>
                      <a:pt x="241" y="712"/>
                    </a:lnTo>
                    <a:lnTo>
                      <a:pt x="246" y="707"/>
                    </a:lnTo>
                    <a:lnTo>
                      <a:pt x="247" y="704"/>
                    </a:lnTo>
                    <a:lnTo>
                      <a:pt x="249" y="702"/>
                    </a:lnTo>
                    <a:lnTo>
                      <a:pt x="251" y="693"/>
                    </a:lnTo>
                    <a:lnTo>
                      <a:pt x="248" y="690"/>
                    </a:lnTo>
                    <a:lnTo>
                      <a:pt x="247" y="688"/>
                    </a:lnTo>
                    <a:lnTo>
                      <a:pt x="245" y="686"/>
                    </a:lnTo>
                    <a:lnTo>
                      <a:pt x="245" y="684"/>
                    </a:lnTo>
                    <a:lnTo>
                      <a:pt x="244" y="682"/>
                    </a:lnTo>
                    <a:lnTo>
                      <a:pt x="245" y="679"/>
                    </a:lnTo>
                    <a:lnTo>
                      <a:pt x="244" y="676"/>
                    </a:lnTo>
                    <a:lnTo>
                      <a:pt x="242" y="674"/>
                    </a:lnTo>
                    <a:lnTo>
                      <a:pt x="242" y="670"/>
                    </a:lnTo>
                    <a:lnTo>
                      <a:pt x="239" y="667"/>
                    </a:lnTo>
                    <a:lnTo>
                      <a:pt x="239" y="664"/>
                    </a:lnTo>
                    <a:lnTo>
                      <a:pt x="239" y="665"/>
                    </a:lnTo>
                    <a:lnTo>
                      <a:pt x="237" y="665"/>
                    </a:lnTo>
                    <a:lnTo>
                      <a:pt x="237" y="664"/>
                    </a:lnTo>
                    <a:lnTo>
                      <a:pt x="239" y="663"/>
                    </a:lnTo>
                    <a:lnTo>
                      <a:pt x="240" y="663"/>
                    </a:lnTo>
                    <a:lnTo>
                      <a:pt x="239" y="661"/>
                    </a:lnTo>
                    <a:lnTo>
                      <a:pt x="240" y="660"/>
                    </a:lnTo>
                    <a:lnTo>
                      <a:pt x="242" y="659"/>
                    </a:lnTo>
                    <a:lnTo>
                      <a:pt x="240" y="659"/>
                    </a:lnTo>
                    <a:lnTo>
                      <a:pt x="239" y="658"/>
                    </a:lnTo>
                    <a:lnTo>
                      <a:pt x="237" y="658"/>
                    </a:lnTo>
                    <a:lnTo>
                      <a:pt x="237" y="655"/>
                    </a:lnTo>
                    <a:lnTo>
                      <a:pt x="234" y="654"/>
                    </a:lnTo>
                    <a:lnTo>
                      <a:pt x="236" y="651"/>
                    </a:lnTo>
                    <a:lnTo>
                      <a:pt x="235" y="651"/>
                    </a:lnTo>
                    <a:lnTo>
                      <a:pt x="232" y="653"/>
                    </a:lnTo>
                    <a:lnTo>
                      <a:pt x="231" y="653"/>
                    </a:lnTo>
                    <a:lnTo>
                      <a:pt x="230" y="652"/>
                    </a:lnTo>
                    <a:lnTo>
                      <a:pt x="225" y="651"/>
                    </a:lnTo>
                    <a:lnTo>
                      <a:pt x="227" y="651"/>
                    </a:lnTo>
                    <a:lnTo>
                      <a:pt x="226" y="651"/>
                    </a:lnTo>
                    <a:lnTo>
                      <a:pt x="227" y="650"/>
                    </a:lnTo>
                    <a:lnTo>
                      <a:pt x="231" y="651"/>
                    </a:lnTo>
                    <a:lnTo>
                      <a:pt x="231" y="649"/>
                    </a:lnTo>
                    <a:lnTo>
                      <a:pt x="230" y="649"/>
                    </a:lnTo>
                    <a:lnTo>
                      <a:pt x="232" y="647"/>
                    </a:lnTo>
                    <a:lnTo>
                      <a:pt x="231" y="645"/>
                    </a:lnTo>
                    <a:lnTo>
                      <a:pt x="232" y="643"/>
                    </a:lnTo>
                    <a:lnTo>
                      <a:pt x="233" y="643"/>
                    </a:lnTo>
                    <a:lnTo>
                      <a:pt x="237" y="644"/>
                    </a:lnTo>
                    <a:lnTo>
                      <a:pt x="238" y="643"/>
                    </a:lnTo>
                    <a:lnTo>
                      <a:pt x="235" y="642"/>
                    </a:lnTo>
                    <a:lnTo>
                      <a:pt x="233" y="641"/>
                    </a:lnTo>
                    <a:lnTo>
                      <a:pt x="231" y="641"/>
                    </a:lnTo>
                    <a:lnTo>
                      <a:pt x="231" y="642"/>
                    </a:lnTo>
                    <a:lnTo>
                      <a:pt x="229" y="642"/>
                    </a:lnTo>
                    <a:lnTo>
                      <a:pt x="229" y="639"/>
                    </a:lnTo>
                    <a:lnTo>
                      <a:pt x="228" y="639"/>
                    </a:lnTo>
                    <a:lnTo>
                      <a:pt x="228" y="641"/>
                    </a:lnTo>
                    <a:lnTo>
                      <a:pt x="226" y="642"/>
                    </a:lnTo>
                    <a:lnTo>
                      <a:pt x="226" y="641"/>
                    </a:lnTo>
                    <a:lnTo>
                      <a:pt x="227" y="640"/>
                    </a:lnTo>
                    <a:lnTo>
                      <a:pt x="228" y="634"/>
                    </a:lnTo>
                    <a:lnTo>
                      <a:pt x="229" y="635"/>
                    </a:lnTo>
                    <a:lnTo>
                      <a:pt x="230" y="634"/>
                    </a:lnTo>
                    <a:lnTo>
                      <a:pt x="231" y="632"/>
                    </a:lnTo>
                    <a:lnTo>
                      <a:pt x="230" y="631"/>
                    </a:lnTo>
                    <a:lnTo>
                      <a:pt x="228" y="631"/>
                    </a:lnTo>
                    <a:lnTo>
                      <a:pt x="228" y="629"/>
                    </a:lnTo>
                    <a:lnTo>
                      <a:pt x="227" y="627"/>
                    </a:lnTo>
                    <a:lnTo>
                      <a:pt x="226" y="628"/>
                    </a:lnTo>
                    <a:lnTo>
                      <a:pt x="222" y="628"/>
                    </a:lnTo>
                    <a:lnTo>
                      <a:pt x="223" y="629"/>
                    </a:lnTo>
                    <a:lnTo>
                      <a:pt x="220" y="633"/>
                    </a:lnTo>
                    <a:lnTo>
                      <a:pt x="220" y="630"/>
                    </a:lnTo>
                    <a:lnTo>
                      <a:pt x="220" y="629"/>
                    </a:lnTo>
                    <a:lnTo>
                      <a:pt x="219" y="627"/>
                    </a:lnTo>
                    <a:lnTo>
                      <a:pt x="218" y="626"/>
                    </a:lnTo>
                    <a:lnTo>
                      <a:pt x="219" y="624"/>
                    </a:lnTo>
                    <a:lnTo>
                      <a:pt x="215" y="623"/>
                    </a:lnTo>
                    <a:lnTo>
                      <a:pt x="215" y="621"/>
                    </a:lnTo>
                    <a:lnTo>
                      <a:pt x="214" y="621"/>
                    </a:lnTo>
                    <a:lnTo>
                      <a:pt x="212" y="621"/>
                    </a:lnTo>
                    <a:lnTo>
                      <a:pt x="212" y="623"/>
                    </a:lnTo>
                    <a:lnTo>
                      <a:pt x="211" y="623"/>
                    </a:lnTo>
                    <a:lnTo>
                      <a:pt x="211" y="622"/>
                    </a:lnTo>
                    <a:lnTo>
                      <a:pt x="210" y="623"/>
                    </a:lnTo>
                    <a:lnTo>
                      <a:pt x="209" y="623"/>
                    </a:lnTo>
                    <a:lnTo>
                      <a:pt x="209" y="621"/>
                    </a:lnTo>
                    <a:lnTo>
                      <a:pt x="208" y="620"/>
                    </a:lnTo>
                    <a:lnTo>
                      <a:pt x="208" y="622"/>
                    </a:lnTo>
                    <a:lnTo>
                      <a:pt x="208" y="623"/>
                    </a:lnTo>
                    <a:lnTo>
                      <a:pt x="207" y="623"/>
                    </a:lnTo>
                    <a:lnTo>
                      <a:pt x="207" y="621"/>
                    </a:lnTo>
                    <a:lnTo>
                      <a:pt x="208" y="619"/>
                    </a:lnTo>
                    <a:lnTo>
                      <a:pt x="206" y="617"/>
                    </a:lnTo>
                    <a:close/>
                    <a:moveTo>
                      <a:pt x="223" y="617"/>
                    </a:moveTo>
                    <a:lnTo>
                      <a:pt x="223" y="618"/>
                    </a:lnTo>
                    <a:lnTo>
                      <a:pt x="223" y="620"/>
                    </a:lnTo>
                    <a:lnTo>
                      <a:pt x="223" y="624"/>
                    </a:lnTo>
                    <a:lnTo>
                      <a:pt x="222" y="624"/>
                    </a:lnTo>
                    <a:lnTo>
                      <a:pt x="222" y="623"/>
                    </a:lnTo>
                    <a:lnTo>
                      <a:pt x="220" y="623"/>
                    </a:lnTo>
                    <a:lnTo>
                      <a:pt x="222" y="617"/>
                    </a:lnTo>
                    <a:lnTo>
                      <a:pt x="223" y="617"/>
                    </a:lnTo>
                    <a:close/>
                    <a:moveTo>
                      <a:pt x="219" y="615"/>
                    </a:moveTo>
                    <a:lnTo>
                      <a:pt x="220" y="619"/>
                    </a:lnTo>
                    <a:lnTo>
                      <a:pt x="220" y="618"/>
                    </a:lnTo>
                    <a:lnTo>
                      <a:pt x="220" y="619"/>
                    </a:lnTo>
                    <a:lnTo>
                      <a:pt x="216" y="621"/>
                    </a:lnTo>
                    <a:lnTo>
                      <a:pt x="216" y="618"/>
                    </a:lnTo>
                    <a:lnTo>
                      <a:pt x="217" y="617"/>
                    </a:lnTo>
                    <a:lnTo>
                      <a:pt x="217" y="615"/>
                    </a:lnTo>
                    <a:lnTo>
                      <a:pt x="218" y="616"/>
                    </a:lnTo>
                    <a:lnTo>
                      <a:pt x="218" y="614"/>
                    </a:lnTo>
                    <a:lnTo>
                      <a:pt x="219" y="615"/>
                    </a:lnTo>
                    <a:close/>
                    <a:moveTo>
                      <a:pt x="134" y="632"/>
                    </a:moveTo>
                    <a:lnTo>
                      <a:pt x="135" y="633"/>
                    </a:lnTo>
                    <a:lnTo>
                      <a:pt x="134" y="635"/>
                    </a:lnTo>
                    <a:lnTo>
                      <a:pt x="134" y="636"/>
                    </a:lnTo>
                    <a:lnTo>
                      <a:pt x="134" y="637"/>
                    </a:lnTo>
                    <a:lnTo>
                      <a:pt x="130" y="636"/>
                    </a:lnTo>
                    <a:lnTo>
                      <a:pt x="129" y="637"/>
                    </a:lnTo>
                    <a:lnTo>
                      <a:pt x="127" y="639"/>
                    </a:lnTo>
                    <a:lnTo>
                      <a:pt x="128" y="643"/>
                    </a:lnTo>
                    <a:lnTo>
                      <a:pt x="127" y="644"/>
                    </a:lnTo>
                    <a:lnTo>
                      <a:pt x="124" y="644"/>
                    </a:lnTo>
                    <a:lnTo>
                      <a:pt x="125" y="643"/>
                    </a:lnTo>
                    <a:lnTo>
                      <a:pt x="126" y="641"/>
                    </a:lnTo>
                    <a:lnTo>
                      <a:pt x="125" y="640"/>
                    </a:lnTo>
                    <a:lnTo>
                      <a:pt x="125" y="639"/>
                    </a:lnTo>
                    <a:lnTo>
                      <a:pt x="130" y="635"/>
                    </a:lnTo>
                    <a:lnTo>
                      <a:pt x="129" y="633"/>
                    </a:lnTo>
                    <a:lnTo>
                      <a:pt x="130" y="632"/>
                    </a:lnTo>
                    <a:lnTo>
                      <a:pt x="132" y="632"/>
                    </a:lnTo>
                    <a:lnTo>
                      <a:pt x="133" y="630"/>
                    </a:lnTo>
                    <a:lnTo>
                      <a:pt x="133" y="632"/>
                    </a:lnTo>
                    <a:lnTo>
                      <a:pt x="134" y="632"/>
                    </a:lnTo>
                    <a:close/>
                    <a:moveTo>
                      <a:pt x="335" y="497"/>
                    </a:moveTo>
                    <a:lnTo>
                      <a:pt x="336" y="498"/>
                    </a:lnTo>
                    <a:lnTo>
                      <a:pt x="336" y="500"/>
                    </a:lnTo>
                    <a:lnTo>
                      <a:pt x="336" y="502"/>
                    </a:lnTo>
                    <a:lnTo>
                      <a:pt x="336" y="503"/>
                    </a:lnTo>
                    <a:lnTo>
                      <a:pt x="332" y="499"/>
                    </a:lnTo>
                    <a:lnTo>
                      <a:pt x="333" y="496"/>
                    </a:lnTo>
                    <a:lnTo>
                      <a:pt x="335" y="497"/>
                    </a:lnTo>
                    <a:close/>
                    <a:moveTo>
                      <a:pt x="252" y="425"/>
                    </a:moveTo>
                    <a:lnTo>
                      <a:pt x="252" y="426"/>
                    </a:lnTo>
                    <a:lnTo>
                      <a:pt x="253" y="427"/>
                    </a:lnTo>
                    <a:lnTo>
                      <a:pt x="252" y="428"/>
                    </a:lnTo>
                    <a:lnTo>
                      <a:pt x="250" y="431"/>
                    </a:lnTo>
                    <a:lnTo>
                      <a:pt x="248" y="429"/>
                    </a:lnTo>
                    <a:lnTo>
                      <a:pt x="249" y="425"/>
                    </a:lnTo>
                    <a:lnTo>
                      <a:pt x="251" y="424"/>
                    </a:lnTo>
                    <a:lnTo>
                      <a:pt x="252" y="425"/>
                    </a:lnTo>
                    <a:close/>
                    <a:moveTo>
                      <a:pt x="299" y="448"/>
                    </a:moveTo>
                    <a:lnTo>
                      <a:pt x="298" y="451"/>
                    </a:lnTo>
                    <a:lnTo>
                      <a:pt x="298" y="455"/>
                    </a:lnTo>
                    <a:lnTo>
                      <a:pt x="295" y="457"/>
                    </a:lnTo>
                    <a:lnTo>
                      <a:pt x="298" y="459"/>
                    </a:lnTo>
                    <a:lnTo>
                      <a:pt x="298" y="461"/>
                    </a:lnTo>
                    <a:lnTo>
                      <a:pt x="297" y="463"/>
                    </a:lnTo>
                    <a:lnTo>
                      <a:pt x="297" y="462"/>
                    </a:lnTo>
                    <a:lnTo>
                      <a:pt x="294" y="461"/>
                    </a:lnTo>
                    <a:lnTo>
                      <a:pt x="292" y="457"/>
                    </a:lnTo>
                    <a:lnTo>
                      <a:pt x="291" y="457"/>
                    </a:lnTo>
                    <a:lnTo>
                      <a:pt x="289" y="457"/>
                    </a:lnTo>
                    <a:lnTo>
                      <a:pt x="289" y="459"/>
                    </a:lnTo>
                    <a:lnTo>
                      <a:pt x="288" y="457"/>
                    </a:lnTo>
                    <a:lnTo>
                      <a:pt x="286" y="458"/>
                    </a:lnTo>
                    <a:lnTo>
                      <a:pt x="286" y="459"/>
                    </a:lnTo>
                    <a:lnTo>
                      <a:pt x="283" y="458"/>
                    </a:lnTo>
                    <a:lnTo>
                      <a:pt x="283" y="461"/>
                    </a:lnTo>
                    <a:lnTo>
                      <a:pt x="279" y="459"/>
                    </a:lnTo>
                    <a:lnTo>
                      <a:pt x="277" y="461"/>
                    </a:lnTo>
                    <a:lnTo>
                      <a:pt x="274" y="459"/>
                    </a:lnTo>
                    <a:lnTo>
                      <a:pt x="272" y="456"/>
                    </a:lnTo>
                    <a:lnTo>
                      <a:pt x="273" y="453"/>
                    </a:lnTo>
                    <a:lnTo>
                      <a:pt x="275" y="452"/>
                    </a:lnTo>
                    <a:lnTo>
                      <a:pt x="280" y="452"/>
                    </a:lnTo>
                    <a:lnTo>
                      <a:pt x="283" y="454"/>
                    </a:lnTo>
                    <a:lnTo>
                      <a:pt x="283" y="453"/>
                    </a:lnTo>
                    <a:lnTo>
                      <a:pt x="285" y="453"/>
                    </a:lnTo>
                    <a:lnTo>
                      <a:pt x="284" y="452"/>
                    </a:lnTo>
                    <a:lnTo>
                      <a:pt x="286" y="451"/>
                    </a:lnTo>
                    <a:lnTo>
                      <a:pt x="284" y="450"/>
                    </a:lnTo>
                    <a:lnTo>
                      <a:pt x="290" y="451"/>
                    </a:lnTo>
                    <a:lnTo>
                      <a:pt x="289" y="452"/>
                    </a:lnTo>
                    <a:lnTo>
                      <a:pt x="292" y="453"/>
                    </a:lnTo>
                    <a:lnTo>
                      <a:pt x="292" y="451"/>
                    </a:lnTo>
                    <a:lnTo>
                      <a:pt x="294" y="450"/>
                    </a:lnTo>
                    <a:lnTo>
                      <a:pt x="295" y="447"/>
                    </a:lnTo>
                    <a:lnTo>
                      <a:pt x="297" y="445"/>
                    </a:lnTo>
                    <a:lnTo>
                      <a:pt x="298" y="447"/>
                    </a:lnTo>
                    <a:lnTo>
                      <a:pt x="299" y="448"/>
                    </a:lnTo>
                    <a:close/>
                    <a:moveTo>
                      <a:pt x="568" y="668"/>
                    </a:moveTo>
                    <a:lnTo>
                      <a:pt x="572" y="670"/>
                    </a:lnTo>
                    <a:lnTo>
                      <a:pt x="574" y="671"/>
                    </a:lnTo>
                    <a:lnTo>
                      <a:pt x="574" y="673"/>
                    </a:lnTo>
                    <a:lnTo>
                      <a:pt x="573" y="674"/>
                    </a:lnTo>
                    <a:lnTo>
                      <a:pt x="568" y="675"/>
                    </a:lnTo>
                    <a:lnTo>
                      <a:pt x="568" y="676"/>
                    </a:lnTo>
                    <a:lnTo>
                      <a:pt x="568" y="675"/>
                    </a:lnTo>
                    <a:lnTo>
                      <a:pt x="566" y="674"/>
                    </a:lnTo>
                    <a:lnTo>
                      <a:pt x="565" y="674"/>
                    </a:lnTo>
                    <a:lnTo>
                      <a:pt x="565" y="672"/>
                    </a:lnTo>
                    <a:lnTo>
                      <a:pt x="565" y="671"/>
                    </a:lnTo>
                    <a:lnTo>
                      <a:pt x="566" y="670"/>
                    </a:lnTo>
                    <a:lnTo>
                      <a:pt x="566" y="668"/>
                    </a:lnTo>
                    <a:lnTo>
                      <a:pt x="568" y="668"/>
                    </a:lnTo>
                    <a:close/>
                    <a:moveTo>
                      <a:pt x="703" y="932"/>
                    </a:moveTo>
                    <a:lnTo>
                      <a:pt x="706" y="931"/>
                    </a:lnTo>
                    <a:lnTo>
                      <a:pt x="705" y="931"/>
                    </a:lnTo>
                    <a:lnTo>
                      <a:pt x="702" y="931"/>
                    </a:lnTo>
                    <a:lnTo>
                      <a:pt x="698" y="928"/>
                    </a:lnTo>
                    <a:lnTo>
                      <a:pt x="696" y="928"/>
                    </a:lnTo>
                    <a:lnTo>
                      <a:pt x="687" y="934"/>
                    </a:lnTo>
                    <a:lnTo>
                      <a:pt x="683" y="936"/>
                    </a:lnTo>
                    <a:lnTo>
                      <a:pt x="677" y="938"/>
                    </a:lnTo>
                    <a:lnTo>
                      <a:pt x="674" y="937"/>
                    </a:lnTo>
                    <a:lnTo>
                      <a:pt x="673" y="936"/>
                    </a:lnTo>
                    <a:lnTo>
                      <a:pt x="674" y="932"/>
                    </a:lnTo>
                    <a:lnTo>
                      <a:pt x="673" y="931"/>
                    </a:lnTo>
                    <a:lnTo>
                      <a:pt x="673" y="932"/>
                    </a:lnTo>
                    <a:lnTo>
                      <a:pt x="673" y="935"/>
                    </a:lnTo>
                    <a:lnTo>
                      <a:pt x="671" y="940"/>
                    </a:lnTo>
                    <a:lnTo>
                      <a:pt x="668" y="943"/>
                    </a:lnTo>
                    <a:lnTo>
                      <a:pt x="662" y="947"/>
                    </a:lnTo>
                    <a:lnTo>
                      <a:pt x="660" y="946"/>
                    </a:lnTo>
                    <a:lnTo>
                      <a:pt x="658" y="943"/>
                    </a:lnTo>
                    <a:lnTo>
                      <a:pt x="652" y="943"/>
                    </a:lnTo>
                    <a:lnTo>
                      <a:pt x="650" y="941"/>
                    </a:lnTo>
                    <a:lnTo>
                      <a:pt x="648" y="939"/>
                    </a:lnTo>
                    <a:lnTo>
                      <a:pt x="646" y="941"/>
                    </a:lnTo>
                    <a:lnTo>
                      <a:pt x="638" y="943"/>
                    </a:lnTo>
                    <a:lnTo>
                      <a:pt x="634" y="942"/>
                    </a:lnTo>
                    <a:lnTo>
                      <a:pt x="627" y="951"/>
                    </a:lnTo>
                    <a:lnTo>
                      <a:pt x="621" y="953"/>
                    </a:lnTo>
                    <a:lnTo>
                      <a:pt x="617" y="955"/>
                    </a:lnTo>
                    <a:lnTo>
                      <a:pt x="613" y="955"/>
                    </a:lnTo>
                    <a:lnTo>
                      <a:pt x="610" y="955"/>
                    </a:lnTo>
                    <a:lnTo>
                      <a:pt x="605" y="957"/>
                    </a:lnTo>
                    <a:lnTo>
                      <a:pt x="596" y="958"/>
                    </a:lnTo>
                    <a:lnTo>
                      <a:pt x="588" y="957"/>
                    </a:lnTo>
                    <a:lnTo>
                      <a:pt x="585" y="957"/>
                    </a:lnTo>
                    <a:lnTo>
                      <a:pt x="584" y="957"/>
                    </a:lnTo>
                    <a:lnTo>
                      <a:pt x="582" y="957"/>
                    </a:lnTo>
                    <a:lnTo>
                      <a:pt x="578" y="955"/>
                    </a:lnTo>
                    <a:lnTo>
                      <a:pt x="577" y="956"/>
                    </a:lnTo>
                    <a:lnTo>
                      <a:pt x="572" y="956"/>
                    </a:lnTo>
                    <a:lnTo>
                      <a:pt x="569" y="959"/>
                    </a:lnTo>
                    <a:lnTo>
                      <a:pt x="558" y="963"/>
                    </a:lnTo>
                    <a:lnTo>
                      <a:pt x="554" y="962"/>
                    </a:lnTo>
                    <a:lnTo>
                      <a:pt x="553" y="961"/>
                    </a:lnTo>
                    <a:lnTo>
                      <a:pt x="554" y="961"/>
                    </a:lnTo>
                    <a:lnTo>
                      <a:pt x="550" y="960"/>
                    </a:lnTo>
                    <a:lnTo>
                      <a:pt x="543" y="955"/>
                    </a:lnTo>
                    <a:lnTo>
                      <a:pt x="541" y="953"/>
                    </a:lnTo>
                    <a:lnTo>
                      <a:pt x="540" y="948"/>
                    </a:lnTo>
                    <a:lnTo>
                      <a:pt x="538" y="947"/>
                    </a:lnTo>
                    <a:lnTo>
                      <a:pt x="536" y="949"/>
                    </a:lnTo>
                    <a:lnTo>
                      <a:pt x="534" y="949"/>
                    </a:lnTo>
                    <a:lnTo>
                      <a:pt x="528" y="948"/>
                    </a:lnTo>
                    <a:lnTo>
                      <a:pt x="527" y="946"/>
                    </a:lnTo>
                    <a:lnTo>
                      <a:pt x="528" y="946"/>
                    </a:lnTo>
                    <a:lnTo>
                      <a:pt x="527" y="945"/>
                    </a:lnTo>
                    <a:lnTo>
                      <a:pt x="528" y="943"/>
                    </a:lnTo>
                    <a:lnTo>
                      <a:pt x="527" y="941"/>
                    </a:lnTo>
                    <a:lnTo>
                      <a:pt x="526" y="939"/>
                    </a:lnTo>
                    <a:lnTo>
                      <a:pt x="524" y="939"/>
                    </a:lnTo>
                    <a:lnTo>
                      <a:pt x="524" y="937"/>
                    </a:lnTo>
                    <a:lnTo>
                      <a:pt x="523" y="937"/>
                    </a:lnTo>
                    <a:lnTo>
                      <a:pt x="520" y="938"/>
                    </a:lnTo>
                    <a:lnTo>
                      <a:pt x="517" y="938"/>
                    </a:lnTo>
                    <a:lnTo>
                      <a:pt x="516" y="940"/>
                    </a:lnTo>
                    <a:lnTo>
                      <a:pt x="513" y="941"/>
                    </a:lnTo>
                    <a:lnTo>
                      <a:pt x="511" y="941"/>
                    </a:lnTo>
                    <a:lnTo>
                      <a:pt x="510" y="940"/>
                    </a:lnTo>
                    <a:lnTo>
                      <a:pt x="506" y="940"/>
                    </a:lnTo>
                    <a:lnTo>
                      <a:pt x="505" y="941"/>
                    </a:lnTo>
                    <a:lnTo>
                      <a:pt x="505" y="943"/>
                    </a:lnTo>
                    <a:lnTo>
                      <a:pt x="502" y="945"/>
                    </a:lnTo>
                    <a:lnTo>
                      <a:pt x="505" y="949"/>
                    </a:lnTo>
                    <a:lnTo>
                      <a:pt x="503" y="951"/>
                    </a:lnTo>
                    <a:lnTo>
                      <a:pt x="495" y="956"/>
                    </a:lnTo>
                    <a:lnTo>
                      <a:pt x="491" y="957"/>
                    </a:lnTo>
                    <a:lnTo>
                      <a:pt x="489" y="956"/>
                    </a:lnTo>
                    <a:lnTo>
                      <a:pt x="489" y="955"/>
                    </a:lnTo>
                    <a:lnTo>
                      <a:pt x="485" y="953"/>
                    </a:lnTo>
                    <a:lnTo>
                      <a:pt x="482" y="948"/>
                    </a:lnTo>
                    <a:lnTo>
                      <a:pt x="482" y="945"/>
                    </a:lnTo>
                    <a:lnTo>
                      <a:pt x="481" y="943"/>
                    </a:lnTo>
                    <a:lnTo>
                      <a:pt x="480" y="943"/>
                    </a:lnTo>
                    <a:lnTo>
                      <a:pt x="480" y="941"/>
                    </a:lnTo>
                    <a:lnTo>
                      <a:pt x="478" y="941"/>
                    </a:lnTo>
                    <a:lnTo>
                      <a:pt x="477" y="940"/>
                    </a:lnTo>
                    <a:lnTo>
                      <a:pt x="476" y="941"/>
                    </a:lnTo>
                    <a:lnTo>
                      <a:pt x="478" y="944"/>
                    </a:lnTo>
                    <a:lnTo>
                      <a:pt x="477" y="947"/>
                    </a:lnTo>
                    <a:lnTo>
                      <a:pt x="475" y="948"/>
                    </a:lnTo>
                    <a:lnTo>
                      <a:pt x="472" y="947"/>
                    </a:lnTo>
                    <a:lnTo>
                      <a:pt x="472" y="948"/>
                    </a:lnTo>
                    <a:lnTo>
                      <a:pt x="472" y="949"/>
                    </a:lnTo>
                    <a:lnTo>
                      <a:pt x="470" y="951"/>
                    </a:lnTo>
                    <a:lnTo>
                      <a:pt x="468" y="953"/>
                    </a:lnTo>
                    <a:lnTo>
                      <a:pt x="464" y="953"/>
                    </a:lnTo>
                    <a:lnTo>
                      <a:pt x="462" y="957"/>
                    </a:lnTo>
                    <a:lnTo>
                      <a:pt x="459" y="958"/>
                    </a:lnTo>
                    <a:lnTo>
                      <a:pt x="460" y="959"/>
                    </a:lnTo>
                    <a:lnTo>
                      <a:pt x="459" y="961"/>
                    </a:lnTo>
                    <a:lnTo>
                      <a:pt x="459" y="963"/>
                    </a:lnTo>
                    <a:lnTo>
                      <a:pt x="458" y="967"/>
                    </a:lnTo>
                    <a:lnTo>
                      <a:pt x="456" y="969"/>
                    </a:lnTo>
                    <a:lnTo>
                      <a:pt x="458" y="973"/>
                    </a:lnTo>
                    <a:lnTo>
                      <a:pt x="458" y="974"/>
                    </a:lnTo>
                    <a:lnTo>
                      <a:pt x="457" y="976"/>
                    </a:lnTo>
                    <a:lnTo>
                      <a:pt x="457" y="979"/>
                    </a:lnTo>
                    <a:lnTo>
                      <a:pt x="455" y="980"/>
                    </a:lnTo>
                    <a:lnTo>
                      <a:pt x="455" y="979"/>
                    </a:lnTo>
                    <a:lnTo>
                      <a:pt x="454" y="981"/>
                    </a:lnTo>
                    <a:lnTo>
                      <a:pt x="455" y="983"/>
                    </a:lnTo>
                    <a:lnTo>
                      <a:pt x="457" y="987"/>
                    </a:lnTo>
                    <a:lnTo>
                      <a:pt x="457" y="991"/>
                    </a:lnTo>
                    <a:lnTo>
                      <a:pt x="461" y="995"/>
                    </a:lnTo>
                    <a:lnTo>
                      <a:pt x="464" y="995"/>
                    </a:lnTo>
                    <a:lnTo>
                      <a:pt x="467" y="998"/>
                    </a:lnTo>
                    <a:lnTo>
                      <a:pt x="471" y="1005"/>
                    </a:lnTo>
                    <a:lnTo>
                      <a:pt x="472" y="1006"/>
                    </a:lnTo>
                    <a:lnTo>
                      <a:pt x="473" y="1006"/>
                    </a:lnTo>
                    <a:lnTo>
                      <a:pt x="483" y="1004"/>
                    </a:lnTo>
                    <a:lnTo>
                      <a:pt x="492" y="1004"/>
                    </a:lnTo>
                    <a:lnTo>
                      <a:pt x="497" y="1007"/>
                    </a:lnTo>
                    <a:lnTo>
                      <a:pt x="500" y="1013"/>
                    </a:lnTo>
                    <a:lnTo>
                      <a:pt x="504" y="1012"/>
                    </a:lnTo>
                    <a:lnTo>
                      <a:pt x="511" y="1013"/>
                    </a:lnTo>
                    <a:lnTo>
                      <a:pt x="514" y="1016"/>
                    </a:lnTo>
                    <a:lnTo>
                      <a:pt x="515" y="1017"/>
                    </a:lnTo>
                    <a:lnTo>
                      <a:pt x="517" y="1019"/>
                    </a:lnTo>
                    <a:lnTo>
                      <a:pt x="518" y="1020"/>
                    </a:lnTo>
                    <a:lnTo>
                      <a:pt x="520" y="1024"/>
                    </a:lnTo>
                    <a:lnTo>
                      <a:pt x="522" y="1024"/>
                    </a:lnTo>
                    <a:lnTo>
                      <a:pt x="524" y="1027"/>
                    </a:lnTo>
                    <a:lnTo>
                      <a:pt x="528" y="1029"/>
                    </a:lnTo>
                    <a:lnTo>
                      <a:pt x="531" y="1031"/>
                    </a:lnTo>
                    <a:lnTo>
                      <a:pt x="532" y="1033"/>
                    </a:lnTo>
                    <a:lnTo>
                      <a:pt x="536" y="1035"/>
                    </a:lnTo>
                    <a:lnTo>
                      <a:pt x="543" y="1036"/>
                    </a:lnTo>
                    <a:lnTo>
                      <a:pt x="547" y="1040"/>
                    </a:lnTo>
                    <a:lnTo>
                      <a:pt x="549" y="1042"/>
                    </a:lnTo>
                    <a:lnTo>
                      <a:pt x="551" y="1045"/>
                    </a:lnTo>
                    <a:lnTo>
                      <a:pt x="556" y="1048"/>
                    </a:lnTo>
                    <a:lnTo>
                      <a:pt x="559" y="1049"/>
                    </a:lnTo>
                    <a:lnTo>
                      <a:pt x="563" y="1049"/>
                    </a:lnTo>
                    <a:lnTo>
                      <a:pt x="566" y="1053"/>
                    </a:lnTo>
                    <a:lnTo>
                      <a:pt x="568" y="1055"/>
                    </a:lnTo>
                    <a:lnTo>
                      <a:pt x="571" y="1055"/>
                    </a:lnTo>
                    <a:lnTo>
                      <a:pt x="575" y="1053"/>
                    </a:lnTo>
                    <a:lnTo>
                      <a:pt x="584" y="1053"/>
                    </a:lnTo>
                    <a:lnTo>
                      <a:pt x="596" y="1058"/>
                    </a:lnTo>
                    <a:lnTo>
                      <a:pt x="605" y="1068"/>
                    </a:lnTo>
                    <a:lnTo>
                      <a:pt x="611" y="1079"/>
                    </a:lnTo>
                    <a:lnTo>
                      <a:pt x="613" y="1082"/>
                    </a:lnTo>
                    <a:lnTo>
                      <a:pt x="613" y="1085"/>
                    </a:lnTo>
                    <a:lnTo>
                      <a:pt x="615" y="1088"/>
                    </a:lnTo>
                    <a:lnTo>
                      <a:pt x="623" y="1088"/>
                    </a:lnTo>
                    <a:lnTo>
                      <a:pt x="623" y="1090"/>
                    </a:lnTo>
                    <a:lnTo>
                      <a:pt x="626" y="1090"/>
                    </a:lnTo>
                    <a:lnTo>
                      <a:pt x="629" y="1092"/>
                    </a:lnTo>
                    <a:lnTo>
                      <a:pt x="631" y="1095"/>
                    </a:lnTo>
                    <a:lnTo>
                      <a:pt x="635" y="1094"/>
                    </a:lnTo>
                    <a:lnTo>
                      <a:pt x="638" y="1097"/>
                    </a:lnTo>
                    <a:lnTo>
                      <a:pt x="644" y="1093"/>
                    </a:lnTo>
                    <a:lnTo>
                      <a:pt x="648" y="1094"/>
                    </a:lnTo>
                    <a:lnTo>
                      <a:pt x="652" y="1098"/>
                    </a:lnTo>
                    <a:lnTo>
                      <a:pt x="656" y="1097"/>
                    </a:lnTo>
                    <a:lnTo>
                      <a:pt x="657" y="1097"/>
                    </a:lnTo>
                    <a:lnTo>
                      <a:pt x="660" y="1101"/>
                    </a:lnTo>
                    <a:lnTo>
                      <a:pt x="661" y="1102"/>
                    </a:lnTo>
                    <a:lnTo>
                      <a:pt x="663" y="1101"/>
                    </a:lnTo>
                    <a:lnTo>
                      <a:pt x="664" y="1100"/>
                    </a:lnTo>
                    <a:lnTo>
                      <a:pt x="665" y="1100"/>
                    </a:lnTo>
                    <a:lnTo>
                      <a:pt x="665" y="1099"/>
                    </a:lnTo>
                    <a:lnTo>
                      <a:pt x="665" y="1097"/>
                    </a:lnTo>
                    <a:lnTo>
                      <a:pt x="664" y="1093"/>
                    </a:lnTo>
                    <a:lnTo>
                      <a:pt x="663" y="1091"/>
                    </a:lnTo>
                    <a:lnTo>
                      <a:pt x="662" y="1086"/>
                    </a:lnTo>
                    <a:lnTo>
                      <a:pt x="663" y="1084"/>
                    </a:lnTo>
                    <a:lnTo>
                      <a:pt x="663" y="1082"/>
                    </a:lnTo>
                    <a:lnTo>
                      <a:pt x="664" y="1081"/>
                    </a:lnTo>
                    <a:lnTo>
                      <a:pt x="665" y="1079"/>
                    </a:lnTo>
                    <a:lnTo>
                      <a:pt x="666" y="1074"/>
                    </a:lnTo>
                    <a:lnTo>
                      <a:pt x="670" y="1070"/>
                    </a:lnTo>
                    <a:lnTo>
                      <a:pt x="671" y="1070"/>
                    </a:lnTo>
                    <a:lnTo>
                      <a:pt x="671" y="1069"/>
                    </a:lnTo>
                    <a:lnTo>
                      <a:pt x="676" y="1068"/>
                    </a:lnTo>
                    <a:lnTo>
                      <a:pt x="675" y="1067"/>
                    </a:lnTo>
                    <a:lnTo>
                      <a:pt x="676" y="1064"/>
                    </a:lnTo>
                    <a:lnTo>
                      <a:pt x="679" y="1063"/>
                    </a:lnTo>
                    <a:lnTo>
                      <a:pt x="680" y="1064"/>
                    </a:lnTo>
                    <a:lnTo>
                      <a:pt x="681" y="1064"/>
                    </a:lnTo>
                    <a:lnTo>
                      <a:pt x="679" y="1060"/>
                    </a:lnTo>
                    <a:lnTo>
                      <a:pt x="677" y="1061"/>
                    </a:lnTo>
                    <a:lnTo>
                      <a:pt x="676" y="1058"/>
                    </a:lnTo>
                    <a:lnTo>
                      <a:pt x="677" y="1058"/>
                    </a:lnTo>
                    <a:lnTo>
                      <a:pt x="679" y="1058"/>
                    </a:lnTo>
                    <a:lnTo>
                      <a:pt x="679" y="1056"/>
                    </a:lnTo>
                    <a:lnTo>
                      <a:pt x="679" y="1055"/>
                    </a:lnTo>
                    <a:lnTo>
                      <a:pt x="674" y="1053"/>
                    </a:lnTo>
                    <a:lnTo>
                      <a:pt x="673" y="1052"/>
                    </a:lnTo>
                    <a:lnTo>
                      <a:pt x="673" y="1050"/>
                    </a:lnTo>
                    <a:lnTo>
                      <a:pt x="674" y="1050"/>
                    </a:lnTo>
                    <a:lnTo>
                      <a:pt x="674" y="1048"/>
                    </a:lnTo>
                    <a:lnTo>
                      <a:pt x="671" y="1049"/>
                    </a:lnTo>
                    <a:lnTo>
                      <a:pt x="670" y="1046"/>
                    </a:lnTo>
                    <a:lnTo>
                      <a:pt x="669" y="1045"/>
                    </a:lnTo>
                    <a:lnTo>
                      <a:pt x="669" y="1042"/>
                    </a:lnTo>
                    <a:lnTo>
                      <a:pt x="670" y="1042"/>
                    </a:lnTo>
                    <a:lnTo>
                      <a:pt x="670" y="1040"/>
                    </a:lnTo>
                    <a:lnTo>
                      <a:pt x="671" y="1039"/>
                    </a:lnTo>
                    <a:lnTo>
                      <a:pt x="672" y="1040"/>
                    </a:lnTo>
                    <a:lnTo>
                      <a:pt x="673" y="1042"/>
                    </a:lnTo>
                    <a:lnTo>
                      <a:pt x="673" y="1039"/>
                    </a:lnTo>
                    <a:lnTo>
                      <a:pt x="675" y="1040"/>
                    </a:lnTo>
                    <a:lnTo>
                      <a:pt x="676" y="1039"/>
                    </a:lnTo>
                    <a:lnTo>
                      <a:pt x="674" y="1038"/>
                    </a:lnTo>
                    <a:lnTo>
                      <a:pt x="674" y="1037"/>
                    </a:lnTo>
                    <a:lnTo>
                      <a:pt x="673" y="1036"/>
                    </a:lnTo>
                    <a:lnTo>
                      <a:pt x="671" y="1034"/>
                    </a:lnTo>
                    <a:lnTo>
                      <a:pt x="670" y="1035"/>
                    </a:lnTo>
                    <a:lnTo>
                      <a:pt x="668" y="1034"/>
                    </a:lnTo>
                    <a:lnTo>
                      <a:pt x="667" y="1034"/>
                    </a:lnTo>
                    <a:lnTo>
                      <a:pt x="666" y="1032"/>
                    </a:lnTo>
                    <a:lnTo>
                      <a:pt x="663" y="1032"/>
                    </a:lnTo>
                    <a:lnTo>
                      <a:pt x="663" y="1031"/>
                    </a:lnTo>
                    <a:lnTo>
                      <a:pt x="662" y="1028"/>
                    </a:lnTo>
                    <a:lnTo>
                      <a:pt x="662" y="1014"/>
                    </a:lnTo>
                    <a:lnTo>
                      <a:pt x="663" y="1010"/>
                    </a:lnTo>
                    <a:lnTo>
                      <a:pt x="666" y="1007"/>
                    </a:lnTo>
                    <a:lnTo>
                      <a:pt x="668" y="1004"/>
                    </a:lnTo>
                    <a:lnTo>
                      <a:pt x="668" y="999"/>
                    </a:lnTo>
                    <a:lnTo>
                      <a:pt x="671" y="997"/>
                    </a:lnTo>
                    <a:lnTo>
                      <a:pt x="671" y="993"/>
                    </a:lnTo>
                    <a:lnTo>
                      <a:pt x="672" y="989"/>
                    </a:lnTo>
                    <a:lnTo>
                      <a:pt x="671" y="987"/>
                    </a:lnTo>
                    <a:lnTo>
                      <a:pt x="671" y="986"/>
                    </a:lnTo>
                    <a:lnTo>
                      <a:pt x="673" y="982"/>
                    </a:lnTo>
                    <a:lnTo>
                      <a:pt x="676" y="979"/>
                    </a:lnTo>
                    <a:lnTo>
                      <a:pt x="676" y="977"/>
                    </a:lnTo>
                    <a:lnTo>
                      <a:pt x="679" y="975"/>
                    </a:lnTo>
                    <a:lnTo>
                      <a:pt x="679" y="973"/>
                    </a:lnTo>
                    <a:lnTo>
                      <a:pt x="682" y="969"/>
                    </a:lnTo>
                    <a:lnTo>
                      <a:pt x="684" y="965"/>
                    </a:lnTo>
                    <a:lnTo>
                      <a:pt x="689" y="958"/>
                    </a:lnTo>
                    <a:lnTo>
                      <a:pt x="690" y="957"/>
                    </a:lnTo>
                    <a:lnTo>
                      <a:pt x="694" y="951"/>
                    </a:lnTo>
                    <a:lnTo>
                      <a:pt x="697" y="943"/>
                    </a:lnTo>
                    <a:lnTo>
                      <a:pt x="699" y="939"/>
                    </a:lnTo>
                    <a:lnTo>
                      <a:pt x="698" y="939"/>
                    </a:lnTo>
                    <a:lnTo>
                      <a:pt x="700" y="934"/>
                    </a:lnTo>
                    <a:lnTo>
                      <a:pt x="703" y="932"/>
                    </a:lnTo>
                    <a:close/>
                    <a:moveTo>
                      <a:pt x="652" y="916"/>
                    </a:moveTo>
                    <a:lnTo>
                      <a:pt x="655" y="918"/>
                    </a:lnTo>
                    <a:lnTo>
                      <a:pt x="655" y="919"/>
                    </a:lnTo>
                    <a:lnTo>
                      <a:pt x="655" y="920"/>
                    </a:lnTo>
                    <a:lnTo>
                      <a:pt x="653" y="920"/>
                    </a:lnTo>
                    <a:lnTo>
                      <a:pt x="650" y="917"/>
                    </a:lnTo>
                    <a:lnTo>
                      <a:pt x="651" y="915"/>
                    </a:lnTo>
                    <a:lnTo>
                      <a:pt x="652" y="914"/>
                    </a:lnTo>
                    <a:lnTo>
                      <a:pt x="652" y="916"/>
                    </a:lnTo>
                    <a:close/>
                    <a:moveTo>
                      <a:pt x="649" y="905"/>
                    </a:moveTo>
                    <a:lnTo>
                      <a:pt x="652" y="905"/>
                    </a:lnTo>
                    <a:lnTo>
                      <a:pt x="652" y="907"/>
                    </a:lnTo>
                    <a:lnTo>
                      <a:pt x="653" y="908"/>
                    </a:lnTo>
                    <a:lnTo>
                      <a:pt x="651" y="909"/>
                    </a:lnTo>
                    <a:lnTo>
                      <a:pt x="652" y="911"/>
                    </a:lnTo>
                    <a:lnTo>
                      <a:pt x="651" y="913"/>
                    </a:lnTo>
                    <a:lnTo>
                      <a:pt x="647" y="909"/>
                    </a:lnTo>
                    <a:lnTo>
                      <a:pt x="647" y="906"/>
                    </a:lnTo>
                    <a:lnTo>
                      <a:pt x="649" y="905"/>
                    </a:lnTo>
                    <a:close/>
                    <a:moveTo>
                      <a:pt x="640" y="898"/>
                    </a:moveTo>
                    <a:lnTo>
                      <a:pt x="644" y="899"/>
                    </a:lnTo>
                    <a:lnTo>
                      <a:pt x="645" y="899"/>
                    </a:lnTo>
                    <a:lnTo>
                      <a:pt x="644" y="901"/>
                    </a:lnTo>
                    <a:lnTo>
                      <a:pt x="644" y="903"/>
                    </a:lnTo>
                    <a:lnTo>
                      <a:pt x="643" y="903"/>
                    </a:lnTo>
                    <a:lnTo>
                      <a:pt x="639" y="900"/>
                    </a:lnTo>
                    <a:lnTo>
                      <a:pt x="639" y="898"/>
                    </a:lnTo>
                    <a:lnTo>
                      <a:pt x="640" y="898"/>
                    </a:lnTo>
                    <a:close/>
                    <a:moveTo>
                      <a:pt x="425" y="1089"/>
                    </a:moveTo>
                    <a:lnTo>
                      <a:pt x="424" y="1091"/>
                    </a:lnTo>
                    <a:lnTo>
                      <a:pt x="422" y="1093"/>
                    </a:lnTo>
                    <a:lnTo>
                      <a:pt x="419" y="1093"/>
                    </a:lnTo>
                    <a:lnTo>
                      <a:pt x="417" y="1090"/>
                    </a:lnTo>
                    <a:lnTo>
                      <a:pt x="415" y="1087"/>
                    </a:lnTo>
                    <a:lnTo>
                      <a:pt x="414" y="1085"/>
                    </a:lnTo>
                    <a:lnTo>
                      <a:pt x="415" y="1082"/>
                    </a:lnTo>
                    <a:lnTo>
                      <a:pt x="416" y="1082"/>
                    </a:lnTo>
                    <a:lnTo>
                      <a:pt x="417" y="1082"/>
                    </a:lnTo>
                    <a:lnTo>
                      <a:pt x="419" y="1084"/>
                    </a:lnTo>
                    <a:lnTo>
                      <a:pt x="421" y="1083"/>
                    </a:lnTo>
                    <a:lnTo>
                      <a:pt x="424" y="1087"/>
                    </a:lnTo>
                    <a:lnTo>
                      <a:pt x="425" y="1089"/>
                    </a:lnTo>
                    <a:close/>
                  </a:path>
                </a:pathLst>
              </a:custGeom>
              <a:solidFill>
                <a:schemeClr val="tx1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55" name="Denmark">
                <a:extLst>
                  <a:ext uri="{FF2B5EF4-FFF2-40B4-BE49-F238E27FC236}">
                    <a16:creationId xmlns:a16="http://schemas.microsoft.com/office/drawing/2014/main" id="{5ECCFA13-530B-4D68-8441-542E34B04B2D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4546628" y="2512614"/>
                <a:ext cx="621002" cy="426738"/>
              </a:xfrm>
              <a:custGeom>
                <a:avLst/>
                <a:gdLst>
                  <a:gd name="T0" fmla="*/ 55 w 553"/>
                  <a:gd name="T1" fmla="*/ 78 h 334"/>
                  <a:gd name="T2" fmla="*/ 92 w 553"/>
                  <a:gd name="T3" fmla="*/ 78 h 334"/>
                  <a:gd name="T4" fmla="*/ 125 w 553"/>
                  <a:gd name="T5" fmla="*/ 74 h 334"/>
                  <a:gd name="T6" fmla="*/ 89 w 553"/>
                  <a:gd name="T7" fmla="*/ 103 h 334"/>
                  <a:gd name="T8" fmla="*/ 91 w 553"/>
                  <a:gd name="T9" fmla="*/ 121 h 334"/>
                  <a:gd name="T10" fmla="*/ 72 w 553"/>
                  <a:gd name="T11" fmla="*/ 100 h 334"/>
                  <a:gd name="T12" fmla="*/ 41 w 553"/>
                  <a:gd name="T13" fmla="*/ 132 h 334"/>
                  <a:gd name="T14" fmla="*/ 8 w 553"/>
                  <a:gd name="T15" fmla="*/ 112 h 334"/>
                  <a:gd name="T16" fmla="*/ 12 w 553"/>
                  <a:gd name="T17" fmla="*/ 150 h 334"/>
                  <a:gd name="T18" fmla="*/ 11 w 553"/>
                  <a:gd name="T19" fmla="*/ 175 h 334"/>
                  <a:gd name="T20" fmla="*/ 19 w 553"/>
                  <a:gd name="T21" fmla="*/ 239 h 334"/>
                  <a:gd name="T22" fmla="*/ 44 w 553"/>
                  <a:gd name="T23" fmla="*/ 274 h 334"/>
                  <a:gd name="T24" fmla="*/ 43 w 553"/>
                  <a:gd name="T25" fmla="*/ 289 h 334"/>
                  <a:gd name="T26" fmla="*/ 114 w 553"/>
                  <a:gd name="T27" fmla="*/ 301 h 334"/>
                  <a:gd name="T28" fmla="*/ 113 w 553"/>
                  <a:gd name="T29" fmla="*/ 285 h 334"/>
                  <a:gd name="T30" fmla="*/ 121 w 553"/>
                  <a:gd name="T31" fmla="*/ 259 h 334"/>
                  <a:gd name="T32" fmla="*/ 122 w 553"/>
                  <a:gd name="T33" fmla="*/ 233 h 334"/>
                  <a:gd name="T34" fmla="*/ 150 w 553"/>
                  <a:gd name="T35" fmla="*/ 211 h 334"/>
                  <a:gd name="T36" fmla="*/ 170 w 553"/>
                  <a:gd name="T37" fmla="*/ 178 h 334"/>
                  <a:gd name="T38" fmla="*/ 178 w 553"/>
                  <a:gd name="T39" fmla="*/ 165 h 334"/>
                  <a:gd name="T40" fmla="*/ 206 w 553"/>
                  <a:gd name="T41" fmla="*/ 166 h 334"/>
                  <a:gd name="T42" fmla="*/ 167 w 553"/>
                  <a:gd name="T43" fmla="*/ 126 h 334"/>
                  <a:gd name="T44" fmla="*/ 170 w 553"/>
                  <a:gd name="T45" fmla="*/ 99 h 334"/>
                  <a:gd name="T46" fmla="*/ 191 w 553"/>
                  <a:gd name="T47" fmla="*/ 54 h 334"/>
                  <a:gd name="T48" fmla="*/ 116 w 553"/>
                  <a:gd name="T49" fmla="*/ 52 h 334"/>
                  <a:gd name="T50" fmla="*/ 14 w 553"/>
                  <a:gd name="T51" fmla="*/ 103 h 334"/>
                  <a:gd name="T52" fmla="*/ 207 w 553"/>
                  <a:gd name="T53" fmla="*/ 238 h 334"/>
                  <a:gd name="T54" fmla="*/ 155 w 553"/>
                  <a:gd name="T55" fmla="*/ 279 h 334"/>
                  <a:gd name="T56" fmla="*/ 139 w 553"/>
                  <a:gd name="T57" fmla="*/ 254 h 334"/>
                  <a:gd name="T58" fmla="*/ 137 w 553"/>
                  <a:gd name="T59" fmla="*/ 234 h 334"/>
                  <a:gd name="T60" fmla="*/ 182 w 553"/>
                  <a:gd name="T61" fmla="*/ 240 h 334"/>
                  <a:gd name="T62" fmla="*/ 353 w 553"/>
                  <a:gd name="T63" fmla="*/ 181 h 334"/>
                  <a:gd name="T64" fmla="*/ 334 w 553"/>
                  <a:gd name="T65" fmla="*/ 248 h 334"/>
                  <a:gd name="T66" fmla="*/ 316 w 553"/>
                  <a:gd name="T67" fmla="*/ 280 h 334"/>
                  <a:gd name="T68" fmla="*/ 282 w 553"/>
                  <a:gd name="T69" fmla="*/ 277 h 334"/>
                  <a:gd name="T70" fmla="*/ 250 w 553"/>
                  <a:gd name="T71" fmla="*/ 262 h 334"/>
                  <a:gd name="T72" fmla="*/ 242 w 553"/>
                  <a:gd name="T73" fmla="*/ 240 h 334"/>
                  <a:gd name="T74" fmla="*/ 218 w 553"/>
                  <a:gd name="T75" fmla="*/ 210 h 334"/>
                  <a:gd name="T76" fmla="*/ 267 w 553"/>
                  <a:gd name="T77" fmla="*/ 197 h 334"/>
                  <a:gd name="T78" fmla="*/ 278 w 553"/>
                  <a:gd name="T79" fmla="*/ 194 h 334"/>
                  <a:gd name="T80" fmla="*/ 293 w 553"/>
                  <a:gd name="T81" fmla="*/ 209 h 334"/>
                  <a:gd name="T82" fmla="*/ 302 w 553"/>
                  <a:gd name="T83" fmla="*/ 218 h 334"/>
                  <a:gd name="T84" fmla="*/ 296 w 553"/>
                  <a:gd name="T85" fmla="*/ 297 h 334"/>
                  <a:gd name="T86" fmla="*/ 295 w 553"/>
                  <a:gd name="T87" fmla="*/ 317 h 334"/>
                  <a:gd name="T88" fmla="*/ 254 w 553"/>
                  <a:gd name="T89" fmla="*/ 297 h 334"/>
                  <a:gd name="T90" fmla="*/ 291 w 553"/>
                  <a:gd name="T91" fmla="*/ 323 h 334"/>
                  <a:gd name="T92" fmla="*/ 230 w 553"/>
                  <a:gd name="T93" fmla="*/ 297 h 334"/>
                  <a:gd name="T94" fmla="*/ 199 w 553"/>
                  <a:gd name="T95" fmla="*/ 285 h 334"/>
                  <a:gd name="T96" fmla="*/ 201 w 553"/>
                  <a:gd name="T97" fmla="*/ 197 h 334"/>
                  <a:gd name="T98" fmla="*/ 179 w 553"/>
                  <a:gd name="T99" fmla="*/ 301 h 334"/>
                  <a:gd name="T100" fmla="*/ 165 w 553"/>
                  <a:gd name="T101" fmla="*/ 292 h 334"/>
                  <a:gd name="T102" fmla="*/ 146 w 553"/>
                  <a:gd name="T103" fmla="*/ 304 h 334"/>
                  <a:gd name="T104" fmla="*/ 263 w 553"/>
                  <a:gd name="T105" fmla="*/ 295 h 334"/>
                  <a:gd name="T106" fmla="*/ 277 w 553"/>
                  <a:gd name="T107" fmla="*/ 108 h 334"/>
                  <a:gd name="T108" fmla="*/ 59 w 553"/>
                  <a:gd name="T109" fmla="*/ 91 h 334"/>
                  <a:gd name="T110" fmla="*/ 44 w 553"/>
                  <a:gd name="T111" fmla="*/ 95 h 334"/>
                  <a:gd name="T112" fmla="*/ 320 w 553"/>
                  <a:gd name="T113" fmla="*/ 301 h 334"/>
                  <a:gd name="T114" fmla="*/ 151 w 553"/>
                  <a:gd name="T115" fmla="*/ 294 h 334"/>
                  <a:gd name="T116" fmla="*/ 120 w 553"/>
                  <a:gd name="T117" fmla="*/ 283 h 334"/>
                  <a:gd name="T118" fmla="*/ 205 w 553"/>
                  <a:gd name="T119" fmla="*/ 292 h 334"/>
                  <a:gd name="T120" fmla="*/ 551 w 553"/>
                  <a:gd name="T121" fmla="*/ 286 h 33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553"/>
                  <a:gd name="T184" fmla="*/ 0 h 334"/>
                  <a:gd name="T185" fmla="*/ 553 w 553"/>
                  <a:gd name="T186" fmla="*/ 334 h 33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553" h="334">
                    <a:moveTo>
                      <a:pt x="31" y="112"/>
                    </a:moveTo>
                    <a:lnTo>
                      <a:pt x="31" y="112"/>
                    </a:lnTo>
                    <a:lnTo>
                      <a:pt x="27" y="112"/>
                    </a:lnTo>
                    <a:lnTo>
                      <a:pt x="29" y="111"/>
                    </a:lnTo>
                    <a:lnTo>
                      <a:pt x="32" y="112"/>
                    </a:lnTo>
                    <a:lnTo>
                      <a:pt x="34" y="111"/>
                    </a:lnTo>
                    <a:lnTo>
                      <a:pt x="34" y="109"/>
                    </a:lnTo>
                    <a:lnTo>
                      <a:pt x="31" y="109"/>
                    </a:lnTo>
                    <a:lnTo>
                      <a:pt x="31" y="107"/>
                    </a:lnTo>
                    <a:lnTo>
                      <a:pt x="32" y="106"/>
                    </a:lnTo>
                    <a:lnTo>
                      <a:pt x="32" y="104"/>
                    </a:lnTo>
                    <a:lnTo>
                      <a:pt x="30" y="102"/>
                    </a:lnTo>
                    <a:lnTo>
                      <a:pt x="31" y="100"/>
                    </a:lnTo>
                    <a:lnTo>
                      <a:pt x="38" y="97"/>
                    </a:lnTo>
                    <a:lnTo>
                      <a:pt x="41" y="93"/>
                    </a:lnTo>
                    <a:lnTo>
                      <a:pt x="42" y="89"/>
                    </a:lnTo>
                    <a:lnTo>
                      <a:pt x="44" y="86"/>
                    </a:lnTo>
                    <a:lnTo>
                      <a:pt x="46" y="84"/>
                    </a:lnTo>
                    <a:lnTo>
                      <a:pt x="52" y="85"/>
                    </a:lnTo>
                    <a:lnTo>
                      <a:pt x="58" y="80"/>
                    </a:lnTo>
                    <a:lnTo>
                      <a:pt x="55" y="78"/>
                    </a:lnTo>
                    <a:lnTo>
                      <a:pt x="58" y="79"/>
                    </a:lnTo>
                    <a:lnTo>
                      <a:pt x="59" y="78"/>
                    </a:lnTo>
                    <a:lnTo>
                      <a:pt x="59" y="76"/>
                    </a:lnTo>
                    <a:lnTo>
                      <a:pt x="60" y="76"/>
                    </a:lnTo>
                    <a:lnTo>
                      <a:pt x="61" y="76"/>
                    </a:lnTo>
                    <a:lnTo>
                      <a:pt x="63" y="78"/>
                    </a:lnTo>
                    <a:lnTo>
                      <a:pt x="64" y="79"/>
                    </a:lnTo>
                    <a:lnTo>
                      <a:pt x="71" y="76"/>
                    </a:lnTo>
                    <a:lnTo>
                      <a:pt x="75" y="77"/>
                    </a:lnTo>
                    <a:lnTo>
                      <a:pt x="76" y="76"/>
                    </a:lnTo>
                    <a:lnTo>
                      <a:pt x="81" y="75"/>
                    </a:lnTo>
                    <a:lnTo>
                      <a:pt x="81" y="74"/>
                    </a:lnTo>
                    <a:lnTo>
                      <a:pt x="73" y="68"/>
                    </a:lnTo>
                    <a:lnTo>
                      <a:pt x="73" y="67"/>
                    </a:lnTo>
                    <a:lnTo>
                      <a:pt x="73" y="66"/>
                    </a:lnTo>
                    <a:lnTo>
                      <a:pt x="74" y="66"/>
                    </a:lnTo>
                    <a:lnTo>
                      <a:pt x="79" y="72"/>
                    </a:lnTo>
                    <a:lnTo>
                      <a:pt x="84" y="75"/>
                    </a:lnTo>
                    <a:lnTo>
                      <a:pt x="87" y="78"/>
                    </a:lnTo>
                    <a:lnTo>
                      <a:pt x="89" y="80"/>
                    </a:lnTo>
                    <a:lnTo>
                      <a:pt x="91" y="79"/>
                    </a:lnTo>
                    <a:lnTo>
                      <a:pt x="92" y="78"/>
                    </a:lnTo>
                    <a:lnTo>
                      <a:pt x="102" y="74"/>
                    </a:lnTo>
                    <a:lnTo>
                      <a:pt x="108" y="74"/>
                    </a:lnTo>
                    <a:lnTo>
                      <a:pt x="111" y="72"/>
                    </a:lnTo>
                    <a:lnTo>
                      <a:pt x="111" y="74"/>
                    </a:lnTo>
                    <a:lnTo>
                      <a:pt x="113" y="74"/>
                    </a:lnTo>
                    <a:lnTo>
                      <a:pt x="118" y="73"/>
                    </a:lnTo>
                    <a:lnTo>
                      <a:pt x="121" y="71"/>
                    </a:lnTo>
                    <a:lnTo>
                      <a:pt x="129" y="72"/>
                    </a:lnTo>
                    <a:lnTo>
                      <a:pt x="130" y="71"/>
                    </a:lnTo>
                    <a:lnTo>
                      <a:pt x="131" y="68"/>
                    </a:lnTo>
                    <a:lnTo>
                      <a:pt x="132" y="68"/>
                    </a:lnTo>
                    <a:lnTo>
                      <a:pt x="136" y="68"/>
                    </a:lnTo>
                    <a:lnTo>
                      <a:pt x="143" y="72"/>
                    </a:lnTo>
                    <a:lnTo>
                      <a:pt x="144" y="73"/>
                    </a:lnTo>
                    <a:lnTo>
                      <a:pt x="146" y="72"/>
                    </a:lnTo>
                    <a:lnTo>
                      <a:pt x="144" y="73"/>
                    </a:lnTo>
                    <a:lnTo>
                      <a:pt x="142" y="72"/>
                    </a:lnTo>
                    <a:lnTo>
                      <a:pt x="138" y="74"/>
                    </a:lnTo>
                    <a:lnTo>
                      <a:pt x="136" y="75"/>
                    </a:lnTo>
                    <a:lnTo>
                      <a:pt x="133" y="74"/>
                    </a:lnTo>
                    <a:lnTo>
                      <a:pt x="125" y="74"/>
                    </a:lnTo>
                    <a:lnTo>
                      <a:pt x="124" y="76"/>
                    </a:lnTo>
                    <a:lnTo>
                      <a:pt x="122" y="79"/>
                    </a:lnTo>
                    <a:lnTo>
                      <a:pt x="116" y="83"/>
                    </a:lnTo>
                    <a:lnTo>
                      <a:pt x="116" y="85"/>
                    </a:lnTo>
                    <a:lnTo>
                      <a:pt x="115" y="86"/>
                    </a:lnTo>
                    <a:lnTo>
                      <a:pt x="113" y="83"/>
                    </a:lnTo>
                    <a:lnTo>
                      <a:pt x="115" y="82"/>
                    </a:lnTo>
                    <a:lnTo>
                      <a:pt x="116" y="80"/>
                    </a:lnTo>
                    <a:lnTo>
                      <a:pt x="110" y="78"/>
                    </a:lnTo>
                    <a:lnTo>
                      <a:pt x="104" y="78"/>
                    </a:lnTo>
                    <a:lnTo>
                      <a:pt x="96" y="78"/>
                    </a:lnTo>
                    <a:lnTo>
                      <a:pt x="90" y="82"/>
                    </a:lnTo>
                    <a:lnTo>
                      <a:pt x="88" y="85"/>
                    </a:lnTo>
                    <a:lnTo>
                      <a:pt x="86" y="86"/>
                    </a:lnTo>
                    <a:lnTo>
                      <a:pt x="84" y="91"/>
                    </a:lnTo>
                    <a:lnTo>
                      <a:pt x="87" y="94"/>
                    </a:lnTo>
                    <a:lnTo>
                      <a:pt x="87" y="95"/>
                    </a:lnTo>
                    <a:lnTo>
                      <a:pt x="85" y="97"/>
                    </a:lnTo>
                    <a:lnTo>
                      <a:pt x="85" y="99"/>
                    </a:lnTo>
                    <a:lnTo>
                      <a:pt x="87" y="103"/>
                    </a:lnTo>
                    <a:lnTo>
                      <a:pt x="89" y="103"/>
                    </a:lnTo>
                    <a:lnTo>
                      <a:pt x="90" y="104"/>
                    </a:lnTo>
                    <a:lnTo>
                      <a:pt x="89" y="108"/>
                    </a:lnTo>
                    <a:lnTo>
                      <a:pt x="85" y="112"/>
                    </a:lnTo>
                    <a:lnTo>
                      <a:pt x="84" y="113"/>
                    </a:lnTo>
                    <a:lnTo>
                      <a:pt x="86" y="114"/>
                    </a:lnTo>
                    <a:lnTo>
                      <a:pt x="88" y="111"/>
                    </a:lnTo>
                    <a:lnTo>
                      <a:pt x="92" y="110"/>
                    </a:lnTo>
                    <a:lnTo>
                      <a:pt x="94" y="111"/>
                    </a:lnTo>
                    <a:lnTo>
                      <a:pt x="95" y="112"/>
                    </a:lnTo>
                    <a:lnTo>
                      <a:pt x="96" y="116"/>
                    </a:lnTo>
                    <a:lnTo>
                      <a:pt x="95" y="118"/>
                    </a:lnTo>
                    <a:lnTo>
                      <a:pt x="95" y="122"/>
                    </a:lnTo>
                    <a:lnTo>
                      <a:pt x="94" y="124"/>
                    </a:lnTo>
                    <a:lnTo>
                      <a:pt x="96" y="125"/>
                    </a:lnTo>
                    <a:lnTo>
                      <a:pt x="100" y="124"/>
                    </a:lnTo>
                    <a:lnTo>
                      <a:pt x="101" y="124"/>
                    </a:lnTo>
                    <a:lnTo>
                      <a:pt x="101" y="127"/>
                    </a:lnTo>
                    <a:lnTo>
                      <a:pt x="97" y="127"/>
                    </a:lnTo>
                    <a:lnTo>
                      <a:pt x="94" y="129"/>
                    </a:lnTo>
                    <a:lnTo>
                      <a:pt x="92" y="126"/>
                    </a:lnTo>
                    <a:lnTo>
                      <a:pt x="91" y="123"/>
                    </a:lnTo>
                    <a:lnTo>
                      <a:pt x="91" y="121"/>
                    </a:lnTo>
                    <a:lnTo>
                      <a:pt x="93" y="120"/>
                    </a:lnTo>
                    <a:lnTo>
                      <a:pt x="93" y="118"/>
                    </a:lnTo>
                    <a:lnTo>
                      <a:pt x="88" y="118"/>
                    </a:lnTo>
                    <a:lnTo>
                      <a:pt x="86" y="118"/>
                    </a:lnTo>
                    <a:lnTo>
                      <a:pt x="85" y="118"/>
                    </a:lnTo>
                    <a:lnTo>
                      <a:pt x="83" y="117"/>
                    </a:lnTo>
                    <a:lnTo>
                      <a:pt x="83" y="116"/>
                    </a:lnTo>
                    <a:lnTo>
                      <a:pt x="82" y="118"/>
                    </a:lnTo>
                    <a:lnTo>
                      <a:pt x="83" y="120"/>
                    </a:lnTo>
                    <a:lnTo>
                      <a:pt x="79" y="121"/>
                    </a:lnTo>
                    <a:lnTo>
                      <a:pt x="79" y="125"/>
                    </a:lnTo>
                    <a:lnTo>
                      <a:pt x="77" y="124"/>
                    </a:lnTo>
                    <a:lnTo>
                      <a:pt x="75" y="121"/>
                    </a:lnTo>
                    <a:lnTo>
                      <a:pt x="75" y="118"/>
                    </a:lnTo>
                    <a:lnTo>
                      <a:pt x="80" y="115"/>
                    </a:lnTo>
                    <a:lnTo>
                      <a:pt x="83" y="109"/>
                    </a:lnTo>
                    <a:lnTo>
                      <a:pt x="83" y="108"/>
                    </a:lnTo>
                    <a:lnTo>
                      <a:pt x="79" y="100"/>
                    </a:lnTo>
                    <a:lnTo>
                      <a:pt x="77" y="99"/>
                    </a:lnTo>
                    <a:lnTo>
                      <a:pt x="74" y="99"/>
                    </a:lnTo>
                    <a:lnTo>
                      <a:pt x="72" y="100"/>
                    </a:lnTo>
                    <a:lnTo>
                      <a:pt x="70" y="99"/>
                    </a:lnTo>
                    <a:lnTo>
                      <a:pt x="68" y="99"/>
                    </a:lnTo>
                    <a:lnTo>
                      <a:pt x="66" y="100"/>
                    </a:lnTo>
                    <a:lnTo>
                      <a:pt x="59" y="107"/>
                    </a:lnTo>
                    <a:lnTo>
                      <a:pt x="60" y="109"/>
                    </a:lnTo>
                    <a:lnTo>
                      <a:pt x="64" y="109"/>
                    </a:lnTo>
                    <a:lnTo>
                      <a:pt x="64" y="110"/>
                    </a:lnTo>
                    <a:lnTo>
                      <a:pt x="64" y="111"/>
                    </a:lnTo>
                    <a:lnTo>
                      <a:pt x="61" y="112"/>
                    </a:lnTo>
                    <a:lnTo>
                      <a:pt x="56" y="112"/>
                    </a:lnTo>
                    <a:lnTo>
                      <a:pt x="53" y="115"/>
                    </a:lnTo>
                    <a:lnTo>
                      <a:pt x="52" y="118"/>
                    </a:lnTo>
                    <a:lnTo>
                      <a:pt x="46" y="118"/>
                    </a:lnTo>
                    <a:lnTo>
                      <a:pt x="46" y="120"/>
                    </a:lnTo>
                    <a:lnTo>
                      <a:pt x="49" y="123"/>
                    </a:lnTo>
                    <a:lnTo>
                      <a:pt x="52" y="125"/>
                    </a:lnTo>
                    <a:lnTo>
                      <a:pt x="50" y="128"/>
                    </a:lnTo>
                    <a:lnTo>
                      <a:pt x="52" y="131"/>
                    </a:lnTo>
                    <a:lnTo>
                      <a:pt x="50" y="133"/>
                    </a:lnTo>
                    <a:lnTo>
                      <a:pt x="48" y="133"/>
                    </a:lnTo>
                    <a:lnTo>
                      <a:pt x="44" y="133"/>
                    </a:lnTo>
                    <a:lnTo>
                      <a:pt x="41" y="132"/>
                    </a:lnTo>
                    <a:lnTo>
                      <a:pt x="40" y="131"/>
                    </a:lnTo>
                    <a:lnTo>
                      <a:pt x="40" y="129"/>
                    </a:lnTo>
                    <a:lnTo>
                      <a:pt x="39" y="127"/>
                    </a:lnTo>
                    <a:lnTo>
                      <a:pt x="39" y="125"/>
                    </a:lnTo>
                    <a:lnTo>
                      <a:pt x="37" y="124"/>
                    </a:lnTo>
                    <a:lnTo>
                      <a:pt x="36" y="124"/>
                    </a:lnTo>
                    <a:lnTo>
                      <a:pt x="36" y="126"/>
                    </a:lnTo>
                    <a:lnTo>
                      <a:pt x="34" y="126"/>
                    </a:lnTo>
                    <a:lnTo>
                      <a:pt x="25" y="123"/>
                    </a:lnTo>
                    <a:lnTo>
                      <a:pt x="22" y="124"/>
                    </a:lnTo>
                    <a:lnTo>
                      <a:pt x="19" y="123"/>
                    </a:lnTo>
                    <a:lnTo>
                      <a:pt x="17" y="125"/>
                    </a:lnTo>
                    <a:lnTo>
                      <a:pt x="16" y="124"/>
                    </a:lnTo>
                    <a:lnTo>
                      <a:pt x="15" y="124"/>
                    </a:lnTo>
                    <a:lnTo>
                      <a:pt x="16" y="122"/>
                    </a:lnTo>
                    <a:lnTo>
                      <a:pt x="11" y="121"/>
                    </a:lnTo>
                    <a:lnTo>
                      <a:pt x="11" y="119"/>
                    </a:lnTo>
                    <a:lnTo>
                      <a:pt x="9" y="117"/>
                    </a:lnTo>
                    <a:lnTo>
                      <a:pt x="10" y="114"/>
                    </a:lnTo>
                    <a:lnTo>
                      <a:pt x="12" y="111"/>
                    </a:lnTo>
                    <a:lnTo>
                      <a:pt x="9" y="111"/>
                    </a:lnTo>
                    <a:lnTo>
                      <a:pt x="8" y="112"/>
                    </a:lnTo>
                    <a:lnTo>
                      <a:pt x="2" y="125"/>
                    </a:lnTo>
                    <a:lnTo>
                      <a:pt x="2" y="128"/>
                    </a:lnTo>
                    <a:lnTo>
                      <a:pt x="3" y="131"/>
                    </a:lnTo>
                    <a:lnTo>
                      <a:pt x="2" y="135"/>
                    </a:lnTo>
                    <a:lnTo>
                      <a:pt x="3" y="139"/>
                    </a:lnTo>
                    <a:lnTo>
                      <a:pt x="3" y="145"/>
                    </a:lnTo>
                    <a:lnTo>
                      <a:pt x="3" y="144"/>
                    </a:lnTo>
                    <a:lnTo>
                      <a:pt x="4" y="138"/>
                    </a:lnTo>
                    <a:lnTo>
                      <a:pt x="10" y="139"/>
                    </a:lnTo>
                    <a:lnTo>
                      <a:pt x="11" y="140"/>
                    </a:lnTo>
                    <a:lnTo>
                      <a:pt x="12" y="142"/>
                    </a:lnTo>
                    <a:lnTo>
                      <a:pt x="10" y="142"/>
                    </a:lnTo>
                    <a:lnTo>
                      <a:pt x="8" y="141"/>
                    </a:lnTo>
                    <a:lnTo>
                      <a:pt x="6" y="141"/>
                    </a:lnTo>
                    <a:lnTo>
                      <a:pt x="6" y="142"/>
                    </a:lnTo>
                    <a:lnTo>
                      <a:pt x="13" y="148"/>
                    </a:lnTo>
                    <a:lnTo>
                      <a:pt x="18" y="149"/>
                    </a:lnTo>
                    <a:lnTo>
                      <a:pt x="13" y="154"/>
                    </a:lnTo>
                    <a:lnTo>
                      <a:pt x="12" y="154"/>
                    </a:lnTo>
                    <a:lnTo>
                      <a:pt x="12" y="153"/>
                    </a:lnTo>
                    <a:lnTo>
                      <a:pt x="12" y="151"/>
                    </a:lnTo>
                    <a:lnTo>
                      <a:pt x="12" y="150"/>
                    </a:lnTo>
                    <a:lnTo>
                      <a:pt x="8" y="150"/>
                    </a:lnTo>
                    <a:lnTo>
                      <a:pt x="6" y="149"/>
                    </a:lnTo>
                    <a:lnTo>
                      <a:pt x="5" y="149"/>
                    </a:lnTo>
                    <a:lnTo>
                      <a:pt x="4" y="149"/>
                    </a:lnTo>
                    <a:lnTo>
                      <a:pt x="4" y="146"/>
                    </a:lnTo>
                    <a:lnTo>
                      <a:pt x="2" y="146"/>
                    </a:lnTo>
                    <a:lnTo>
                      <a:pt x="3" y="151"/>
                    </a:lnTo>
                    <a:lnTo>
                      <a:pt x="3" y="155"/>
                    </a:lnTo>
                    <a:lnTo>
                      <a:pt x="4" y="156"/>
                    </a:lnTo>
                    <a:lnTo>
                      <a:pt x="4" y="159"/>
                    </a:lnTo>
                    <a:lnTo>
                      <a:pt x="3" y="166"/>
                    </a:lnTo>
                    <a:lnTo>
                      <a:pt x="1" y="171"/>
                    </a:lnTo>
                    <a:lnTo>
                      <a:pt x="1" y="178"/>
                    </a:lnTo>
                    <a:lnTo>
                      <a:pt x="1" y="181"/>
                    </a:lnTo>
                    <a:lnTo>
                      <a:pt x="2" y="184"/>
                    </a:lnTo>
                    <a:lnTo>
                      <a:pt x="3" y="185"/>
                    </a:lnTo>
                    <a:lnTo>
                      <a:pt x="5" y="184"/>
                    </a:lnTo>
                    <a:lnTo>
                      <a:pt x="3" y="182"/>
                    </a:lnTo>
                    <a:lnTo>
                      <a:pt x="4" y="176"/>
                    </a:lnTo>
                    <a:lnTo>
                      <a:pt x="3" y="173"/>
                    </a:lnTo>
                    <a:lnTo>
                      <a:pt x="3" y="172"/>
                    </a:lnTo>
                    <a:lnTo>
                      <a:pt x="11" y="175"/>
                    </a:lnTo>
                    <a:lnTo>
                      <a:pt x="16" y="178"/>
                    </a:lnTo>
                    <a:lnTo>
                      <a:pt x="18" y="184"/>
                    </a:lnTo>
                    <a:lnTo>
                      <a:pt x="23" y="190"/>
                    </a:lnTo>
                    <a:lnTo>
                      <a:pt x="24" y="193"/>
                    </a:lnTo>
                    <a:lnTo>
                      <a:pt x="16" y="199"/>
                    </a:lnTo>
                    <a:lnTo>
                      <a:pt x="8" y="203"/>
                    </a:lnTo>
                    <a:lnTo>
                      <a:pt x="8" y="199"/>
                    </a:lnTo>
                    <a:lnTo>
                      <a:pt x="8" y="198"/>
                    </a:lnTo>
                    <a:lnTo>
                      <a:pt x="6" y="193"/>
                    </a:lnTo>
                    <a:lnTo>
                      <a:pt x="5" y="187"/>
                    </a:lnTo>
                    <a:lnTo>
                      <a:pt x="4" y="187"/>
                    </a:lnTo>
                    <a:lnTo>
                      <a:pt x="5" y="192"/>
                    </a:lnTo>
                    <a:lnTo>
                      <a:pt x="6" y="196"/>
                    </a:lnTo>
                    <a:lnTo>
                      <a:pt x="8" y="208"/>
                    </a:lnTo>
                    <a:lnTo>
                      <a:pt x="8" y="211"/>
                    </a:lnTo>
                    <a:lnTo>
                      <a:pt x="4" y="222"/>
                    </a:lnTo>
                    <a:lnTo>
                      <a:pt x="0" y="230"/>
                    </a:lnTo>
                    <a:lnTo>
                      <a:pt x="0" y="232"/>
                    </a:lnTo>
                    <a:lnTo>
                      <a:pt x="6" y="232"/>
                    </a:lnTo>
                    <a:lnTo>
                      <a:pt x="10" y="234"/>
                    </a:lnTo>
                    <a:lnTo>
                      <a:pt x="17" y="240"/>
                    </a:lnTo>
                    <a:lnTo>
                      <a:pt x="19" y="239"/>
                    </a:lnTo>
                    <a:lnTo>
                      <a:pt x="18" y="238"/>
                    </a:lnTo>
                    <a:lnTo>
                      <a:pt x="16" y="236"/>
                    </a:lnTo>
                    <a:lnTo>
                      <a:pt x="16" y="235"/>
                    </a:lnTo>
                    <a:lnTo>
                      <a:pt x="12" y="234"/>
                    </a:lnTo>
                    <a:lnTo>
                      <a:pt x="14" y="232"/>
                    </a:lnTo>
                    <a:lnTo>
                      <a:pt x="12" y="231"/>
                    </a:lnTo>
                    <a:lnTo>
                      <a:pt x="11" y="230"/>
                    </a:lnTo>
                    <a:lnTo>
                      <a:pt x="14" y="228"/>
                    </a:lnTo>
                    <a:lnTo>
                      <a:pt x="18" y="228"/>
                    </a:lnTo>
                    <a:lnTo>
                      <a:pt x="19" y="228"/>
                    </a:lnTo>
                    <a:lnTo>
                      <a:pt x="17" y="230"/>
                    </a:lnTo>
                    <a:lnTo>
                      <a:pt x="27" y="240"/>
                    </a:lnTo>
                    <a:lnTo>
                      <a:pt x="39" y="242"/>
                    </a:lnTo>
                    <a:lnTo>
                      <a:pt x="42" y="243"/>
                    </a:lnTo>
                    <a:lnTo>
                      <a:pt x="45" y="254"/>
                    </a:lnTo>
                    <a:lnTo>
                      <a:pt x="44" y="259"/>
                    </a:lnTo>
                    <a:lnTo>
                      <a:pt x="44" y="261"/>
                    </a:lnTo>
                    <a:lnTo>
                      <a:pt x="44" y="267"/>
                    </a:lnTo>
                    <a:lnTo>
                      <a:pt x="47" y="271"/>
                    </a:lnTo>
                    <a:lnTo>
                      <a:pt x="47" y="274"/>
                    </a:lnTo>
                    <a:lnTo>
                      <a:pt x="44" y="274"/>
                    </a:lnTo>
                    <a:lnTo>
                      <a:pt x="37" y="273"/>
                    </a:lnTo>
                    <a:lnTo>
                      <a:pt x="36" y="272"/>
                    </a:lnTo>
                    <a:lnTo>
                      <a:pt x="37" y="272"/>
                    </a:lnTo>
                    <a:lnTo>
                      <a:pt x="40" y="269"/>
                    </a:lnTo>
                    <a:lnTo>
                      <a:pt x="39" y="268"/>
                    </a:lnTo>
                    <a:lnTo>
                      <a:pt x="37" y="268"/>
                    </a:lnTo>
                    <a:lnTo>
                      <a:pt x="35" y="268"/>
                    </a:lnTo>
                    <a:lnTo>
                      <a:pt x="33" y="268"/>
                    </a:lnTo>
                    <a:lnTo>
                      <a:pt x="31" y="268"/>
                    </a:lnTo>
                    <a:lnTo>
                      <a:pt x="30" y="269"/>
                    </a:lnTo>
                    <a:lnTo>
                      <a:pt x="30" y="272"/>
                    </a:lnTo>
                    <a:lnTo>
                      <a:pt x="29" y="275"/>
                    </a:lnTo>
                    <a:lnTo>
                      <a:pt x="30" y="280"/>
                    </a:lnTo>
                    <a:lnTo>
                      <a:pt x="32" y="282"/>
                    </a:lnTo>
                    <a:lnTo>
                      <a:pt x="33" y="281"/>
                    </a:lnTo>
                    <a:lnTo>
                      <a:pt x="35" y="280"/>
                    </a:lnTo>
                    <a:lnTo>
                      <a:pt x="37" y="279"/>
                    </a:lnTo>
                    <a:lnTo>
                      <a:pt x="36" y="274"/>
                    </a:lnTo>
                    <a:lnTo>
                      <a:pt x="47" y="274"/>
                    </a:lnTo>
                    <a:lnTo>
                      <a:pt x="44" y="281"/>
                    </a:lnTo>
                    <a:lnTo>
                      <a:pt x="43" y="286"/>
                    </a:lnTo>
                    <a:lnTo>
                      <a:pt x="43" y="289"/>
                    </a:lnTo>
                    <a:lnTo>
                      <a:pt x="46" y="294"/>
                    </a:lnTo>
                    <a:lnTo>
                      <a:pt x="45" y="298"/>
                    </a:lnTo>
                    <a:lnTo>
                      <a:pt x="45" y="297"/>
                    </a:lnTo>
                    <a:lnTo>
                      <a:pt x="47" y="300"/>
                    </a:lnTo>
                    <a:lnTo>
                      <a:pt x="49" y="300"/>
                    </a:lnTo>
                    <a:lnTo>
                      <a:pt x="57" y="298"/>
                    </a:lnTo>
                    <a:lnTo>
                      <a:pt x="66" y="298"/>
                    </a:lnTo>
                    <a:lnTo>
                      <a:pt x="74" y="301"/>
                    </a:lnTo>
                    <a:lnTo>
                      <a:pt x="81" y="302"/>
                    </a:lnTo>
                    <a:lnTo>
                      <a:pt x="89" y="304"/>
                    </a:lnTo>
                    <a:lnTo>
                      <a:pt x="89" y="306"/>
                    </a:lnTo>
                    <a:lnTo>
                      <a:pt x="89" y="307"/>
                    </a:lnTo>
                    <a:lnTo>
                      <a:pt x="91" y="309"/>
                    </a:lnTo>
                    <a:lnTo>
                      <a:pt x="93" y="308"/>
                    </a:lnTo>
                    <a:lnTo>
                      <a:pt x="98" y="309"/>
                    </a:lnTo>
                    <a:lnTo>
                      <a:pt x="99" y="308"/>
                    </a:lnTo>
                    <a:lnTo>
                      <a:pt x="102" y="306"/>
                    </a:lnTo>
                    <a:lnTo>
                      <a:pt x="106" y="307"/>
                    </a:lnTo>
                    <a:lnTo>
                      <a:pt x="105" y="307"/>
                    </a:lnTo>
                    <a:lnTo>
                      <a:pt x="110" y="302"/>
                    </a:lnTo>
                    <a:lnTo>
                      <a:pt x="114" y="301"/>
                    </a:lnTo>
                    <a:lnTo>
                      <a:pt x="118" y="296"/>
                    </a:lnTo>
                    <a:lnTo>
                      <a:pt x="121" y="297"/>
                    </a:lnTo>
                    <a:lnTo>
                      <a:pt x="122" y="297"/>
                    </a:lnTo>
                    <a:lnTo>
                      <a:pt x="121" y="298"/>
                    </a:lnTo>
                    <a:lnTo>
                      <a:pt x="118" y="299"/>
                    </a:lnTo>
                    <a:lnTo>
                      <a:pt x="121" y="301"/>
                    </a:lnTo>
                    <a:lnTo>
                      <a:pt x="119" y="304"/>
                    </a:lnTo>
                    <a:lnTo>
                      <a:pt x="124" y="303"/>
                    </a:lnTo>
                    <a:lnTo>
                      <a:pt x="126" y="304"/>
                    </a:lnTo>
                    <a:lnTo>
                      <a:pt x="128" y="307"/>
                    </a:lnTo>
                    <a:lnTo>
                      <a:pt x="129" y="306"/>
                    </a:lnTo>
                    <a:lnTo>
                      <a:pt x="130" y="303"/>
                    </a:lnTo>
                    <a:lnTo>
                      <a:pt x="129" y="302"/>
                    </a:lnTo>
                    <a:lnTo>
                      <a:pt x="126" y="301"/>
                    </a:lnTo>
                    <a:lnTo>
                      <a:pt x="127" y="299"/>
                    </a:lnTo>
                    <a:lnTo>
                      <a:pt x="131" y="300"/>
                    </a:lnTo>
                    <a:lnTo>
                      <a:pt x="129" y="296"/>
                    </a:lnTo>
                    <a:lnTo>
                      <a:pt x="129" y="292"/>
                    </a:lnTo>
                    <a:lnTo>
                      <a:pt x="127" y="290"/>
                    </a:lnTo>
                    <a:lnTo>
                      <a:pt x="119" y="287"/>
                    </a:lnTo>
                    <a:lnTo>
                      <a:pt x="116" y="284"/>
                    </a:lnTo>
                    <a:lnTo>
                      <a:pt x="113" y="285"/>
                    </a:lnTo>
                    <a:lnTo>
                      <a:pt x="107" y="286"/>
                    </a:lnTo>
                    <a:lnTo>
                      <a:pt x="105" y="285"/>
                    </a:lnTo>
                    <a:lnTo>
                      <a:pt x="106" y="284"/>
                    </a:lnTo>
                    <a:lnTo>
                      <a:pt x="110" y="283"/>
                    </a:lnTo>
                    <a:lnTo>
                      <a:pt x="113" y="281"/>
                    </a:lnTo>
                    <a:lnTo>
                      <a:pt x="113" y="280"/>
                    </a:lnTo>
                    <a:lnTo>
                      <a:pt x="110" y="277"/>
                    </a:lnTo>
                    <a:lnTo>
                      <a:pt x="107" y="276"/>
                    </a:lnTo>
                    <a:lnTo>
                      <a:pt x="108" y="274"/>
                    </a:lnTo>
                    <a:lnTo>
                      <a:pt x="111" y="274"/>
                    </a:lnTo>
                    <a:lnTo>
                      <a:pt x="109" y="274"/>
                    </a:lnTo>
                    <a:lnTo>
                      <a:pt x="109" y="272"/>
                    </a:lnTo>
                    <a:lnTo>
                      <a:pt x="116" y="268"/>
                    </a:lnTo>
                    <a:lnTo>
                      <a:pt x="118" y="271"/>
                    </a:lnTo>
                    <a:lnTo>
                      <a:pt x="119" y="270"/>
                    </a:lnTo>
                    <a:lnTo>
                      <a:pt x="122" y="268"/>
                    </a:lnTo>
                    <a:lnTo>
                      <a:pt x="124" y="265"/>
                    </a:lnTo>
                    <a:lnTo>
                      <a:pt x="126" y="263"/>
                    </a:lnTo>
                    <a:lnTo>
                      <a:pt x="124" y="260"/>
                    </a:lnTo>
                    <a:lnTo>
                      <a:pt x="121" y="259"/>
                    </a:lnTo>
                    <a:lnTo>
                      <a:pt x="119" y="259"/>
                    </a:lnTo>
                    <a:lnTo>
                      <a:pt x="119" y="258"/>
                    </a:lnTo>
                    <a:lnTo>
                      <a:pt x="121" y="258"/>
                    </a:lnTo>
                    <a:lnTo>
                      <a:pt x="121" y="256"/>
                    </a:lnTo>
                    <a:lnTo>
                      <a:pt x="119" y="256"/>
                    </a:lnTo>
                    <a:lnTo>
                      <a:pt x="120" y="254"/>
                    </a:lnTo>
                    <a:lnTo>
                      <a:pt x="119" y="250"/>
                    </a:lnTo>
                    <a:lnTo>
                      <a:pt x="118" y="250"/>
                    </a:lnTo>
                    <a:lnTo>
                      <a:pt x="119" y="247"/>
                    </a:lnTo>
                    <a:lnTo>
                      <a:pt x="117" y="244"/>
                    </a:lnTo>
                    <a:lnTo>
                      <a:pt x="118" y="243"/>
                    </a:lnTo>
                    <a:lnTo>
                      <a:pt x="122" y="242"/>
                    </a:lnTo>
                    <a:lnTo>
                      <a:pt x="124" y="240"/>
                    </a:lnTo>
                    <a:lnTo>
                      <a:pt x="123" y="239"/>
                    </a:lnTo>
                    <a:lnTo>
                      <a:pt x="119" y="237"/>
                    </a:lnTo>
                    <a:lnTo>
                      <a:pt x="111" y="238"/>
                    </a:lnTo>
                    <a:lnTo>
                      <a:pt x="110" y="238"/>
                    </a:lnTo>
                    <a:lnTo>
                      <a:pt x="110" y="236"/>
                    </a:lnTo>
                    <a:lnTo>
                      <a:pt x="114" y="236"/>
                    </a:lnTo>
                    <a:lnTo>
                      <a:pt x="116" y="233"/>
                    </a:lnTo>
                    <a:lnTo>
                      <a:pt x="120" y="234"/>
                    </a:lnTo>
                    <a:lnTo>
                      <a:pt x="122" y="233"/>
                    </a:lnTo>
                    <a:lnTo>
                      <a:pt x="126" y="233"/>
                    </a:lnTo>
                    <a:lnTo>
                      <a:pt x="126" y="232"/>
                    </a:lnTo>
                    <a:lnTo>
                      <a:pt x="127" y="230"/>
                    </a:lnTo>
                    <a:lnTo>
                      <a:pt x="130" y="229"/>
                    </a:lnTo>
                    <a:lnTo>
                      <a:pt x="132" y="226"/>
                    </a:lnTo>
                    <a:lnTo>
                      <a:pt x="138" y="224"/>
                    </a:lnTo>
                    <a:lnTo>
                      <a:pt x="138" y="223"/>
                    </a:lnTo>
                    <a:lnTo>
                      <a:pt x="136" y="222"/>
                    </a:lnTo>
                    <a:lnTo>
                      <a:pt x="129" y="223"/>
                    </a:lnTo>
                    <a:lnTo>
                      <a:pt x="128" y="222"/>
                    </a:lnTo>
                    <a:lnTo>
                      <a:pt x="127" y="220"/>
                    </a:lnTo>
                    <a:lnTo>
                      <a:pt x="121" y="216"/>
                    </a:lnTo>
                    <a:lnTo>
                      <a:pt x="116" y="215"/>
                    </a:lnTo>
                    <a:lnTo>
                      <a:pt x="114" y="214"/>
                    </a:lnTo>
                    <a:lnTo>
                      <a:pt x="122" y="214"/>
                    </a:lnTo>
                    <a:lnTo>
                      <a:pt x="125" y="214"/>
                    </a:lnTo>
                    <a:lnTo>
                      <a:pt x="128" y="216"/>
                    </a:lnTo>
                    <a:lnTo>
                      <a:pt x="134" y="217"/>
                    </a:lnTo>
                    <a:lnTo>
                      <a:pt x="148" y="214"/>
                    </a:lnTo>
                    <a:lnTo>
                      <a:pt x="151" y="214"/>
                    </a:lnTo>
                    <a:lnTo>
                      <a:pt x="150" y="211"/>
                    </a:lnTo>
                    <a:lnTo>
                      <a:pt x="154" y="210"/>
                    </a:lnTo>
                    <a:lnTo>
                      <a:pt x="150" y="208"/>
                    </a:lnTo>
                    <a:lnTo>
                      <a:pt x="153" y="202"/>
                    </a:lnTo>
                    <a:lnTo>
                      <a:pt x="140" y="200"/>
                    </a:lnTo>
                    <a:lnTo>
                      <a:pt x="139" y="199"/>
                    </a:lnTo>
                    <a:lnTo>
                      <a:pt x="141" y="198"/>
                    </a:lnTo>
                    <a:lnTo>
                      <a:pt x="146" y="199"/>
                    </a:lnTo>
                    <a:lnTo>
                      <a:pt x="149" y="196"/>
                    </a:lnTo>
                    <a:lnTo>
                      <a:pt x="158" y="196"/>
                    </a:lnTo>
                    <a:lnTo>
                      <a:pt x="160" y="198"/>
                    </a:lnTo>
                    <a:lnTo>
                      <a:pt x="160" y="200"/>
                    </a:lnTo>
                    <a:lnTo>
                      <a:pt x="164" y="201"/>
                    </a:lnTo>
                    <a:lnTo>
                      <a:pt x="165" y="198"/>
                    </a:lnTo>
                    <a:lnTo>
                      <a:pt x="163" y="196"/>
                    </a:lnTo>
                    <a:lnTo>
                      <a:pt x="166" y="195"/>
                    </a:lnTo>
                    <a:lnTo>
                      <a:pt x="168" y="192"/>
                    </a:lnTo>
                    <a:lnTo>
                      <a:pt x="169" y="188"/>
                    </a:lnTo>
                    <a:lnTo>
                      <a:pt x="168" y="184"/>
                    </a:lnTo>
                    <a:lnTo>
                      <a:pt x="171" y="181"/>
                    </a:lnTo>
                    <a:lnTo>
                      <a:pt x="170" y="180"/>
                    </a:lnTo>
                    <a:lnTo>
                      <a:pt x="168" y="181"/>
                    </a:lnTo>
                    <a:lnTo>
                      <a:pt x="170" y="178"/>
                    </a:lnTo>
                    <a:lnTo>
                      <a:pt x="168" y="174"/>
                    </a:lnTo>
                    <a:lnTo>
                      <a:pt x="167" y="172"/>
                    </a:lnTo>
                    <a:lnTo>
                      <a:pt x="168" y="169"/>
                    </a:lnTo>
                    <a:lnTo>
                      <a:pt x="168" y="166"/>
                    </a:lnTo>
                    <a:lnTo>
                      <a:pt x="170" y="163"/>
                    </a:lnTo>
                    <a:lnTo>
                      <a:pt x="174" y="160"/>
                    </a:lnTo>
                    <a:lnTo>
                      <a:pt x="175" y="157"/>
                    </a:lnTo>
                    <a:lnTo>
                      <a:pt x="177" y="155"/>
                    </a:lnTo>
                    <a:lnTo>
                      <a:pt x="179" y="153"/>
                    </a:lnTo>
                    <a:lnTo>
                      <a:pt x="183" y="153"/>
                    </a:lnTo>
                    <a:lnTo>
                      <a:pt x="187" y="155"/>
                    </a:lnTo>
                    <a:lnTo>
                      <a:pt x="187" y="156"/>
                    </a:lnTo>
                    <a:lnTo>
                      <a:pt x="184" y="157"/>
                    </a:lnTo>
                    <a:lnTo>
                      <a:pt x="183" y="159"/>
                    </a:lnTo>
                    <a:lnTo>
                      <a:pt x="184" y="160"/>
                    </a:lnTo>
                    <a:lnTo>
                      <a:pt x="183" y="161"/>
                    </a:lnTo>
                    <a:lnTo>
                      <a:pt x="182" y="161"/>
                    </a:lnTo>
                    <a:lnTo>
                      <a:pt x="181" y="160"/>
                    </a:lnTo>
                    <a:lnTo>
                      <a:pt x="179" y="161"/>
                    </a:lnTo>
                    <a:lnTo>
                      <a:pt x="176" y="162"/>
                    </a:lnTo>
                    <a:lnTo>
                      <a:pt x="176" y="163"/>
                    </a:lnTo>
                    <a:lnTo>
                      <a:pt x="178" y="165"/>
                    </a:lnTo>
                    <a:lnTo>
                      <a:pt x="179" y="167"/>
                    </a:lnTo>
                    <a:lnTo>
                      <a:pt x="182" y="167"/>
                    </a:lnTo>
                    <a:lnTo>
                      <a:pt x="184" y="165"/>
                    </a:lnTo>
                    <a:lnTo>
                      <a:pt x="189" y="166"/>
                    </a:lnTo>
                    <a:lnTo>
                      <a:pt x="189" y="167"/>
                    </a:lnTo>
                    <a:lnTo>
                      <a:pt x="188" y="169"/>
                    </a:lnTo>
                    <a:lnTo>
                      <a:pt x="186" y="169"/>
                    </a:lnTo>
                    <a:lnTo>
                      <a:pt x="188" y="173"/>
                    </a:lnTo>
                    <a:lnTo>
                      <a:pt x="190" y="173"/>
                    </a:lnTo>
                    <a:lnTo>
                      <a:pt x="192" y="172"/>
                    </a:lnTo>
                    <a:lnTo>
                      <a:pt x="192" y="169"/>
                    </a:lnTo>
                    <a:lnTo>
                      <a:pt x="190" y="166"/>
                    </a:lnTo>
                    <a:lnTo>
                      <a:pt x="192" y="163"/>
                    </a:lnTo>
                    <a:lnTo>
                      <a:pt x="193" y="161"/>
                    </a:lnTo>
                    <a:lnTo>
                      <a:pt x="195" y="160"/>
                    </a:lnTo>
                    <a:lnTo>
                      <a:pt x="199" y="160"/>
                    </a:lnTo>
                    <a:lnTo>
                      <a:pt x="201" y="161"/>
                    </a:lnTo>
                    <a:lnTo>
                      <a:pt x="201" y="163"/>
                    </a:lnTo>
                    <a:lnTo>
                      <a:pt x="198" y="164"/>
                    </a:lnTo>
                    <a:lnTo>
                      <a:pt x="202" y="169"/>
                    </a:lnTo>
                    <a:lnTo>
                      <a:pt x="204" y="169"/>
                    </a:lnTo>
                    <a:lnTo>
                      <a:pt x="206" y="166"/>
                    </a:lnTo>
                    <a:lnTo>
                      <a:pt x="205" y="163"/>
                    </a:lnTo>
                    <a:lnTo>
                      <a:pt x="206" y="160"/>
                    </a:lnTo>
                    <a:lnTo>
                      <a:pt x="214" y="152"/>
                    </a:lnTo>
                    <a:lnTo>
                      <a:pt x="219" y="149"/>
                    </a:lnTo>
                    <a:lnTo>
                      <a:pt x="220" y="147"/>
                    </a:lnTo>
                    <a:lnTo>
                      <a:pt x="220" y="144"/>
                    </a:lnTo>
                    <a:lnTo>
                      <a:pt x="221" y="141"/>
                    </a:lnTo>
                    <a:lnTo>
                      <a:pt x="224" y="137"/>
                    </a:lnTo>
                    <a:lnTo>
                      <a:pt x="223" y="137"/>
                    </a:lnTo>
                    <a:lnTo>
                      <a:pt x="217" y="133"/>
                    </a:lnTo>
                    <a:lnTo>
                      <a:pt x="216" y="130"/>
                    </a:lnTo>
                    <a:lnTo>
                      <a:pt x="214" y="129"/>
                    </a:lnTo>
                    <a:lnTo>
                      <a:pt x="209" y="127"/>
                    </a:lnTo>
                    <a:lnTo>
                      <a:pt x="207" y="128"/>
                    </a:lnTo>
                    <a:lnTo>
                      <a:pt x="199" y="129"/>
                    </a:lnTo>
                    <a:lnTo>
                      <a:pt x="190" y="130"/>
                    </a:lnTo>
                    <a:lnTo>
                      <a:pt x="186" y="130"/>
                    </a:lnTo>
                    <a:lnTo>
                      <a:pt x="179" y="127"/>
                    </a:lnTo>
                    <a:lnTo>
                      <a:pt x="177" y="125"/>
                    </a:lnTo>
                    <a:lnTo>
                      <a:pt x="174" y="121"/>
                    </a:lnTo>
                    <a:lnTo>
                      <a:pt x="168" y="124"/>
                    </a:lnTo>
                    <a:lnTo>
                      <a:pt x="167" y="126"/>
                    </a:lnTo>
                    <a:lnTo>
                      <a:pt x="167" y="131"/>
                    </a:lnTo>
                    <a:lnTo>
                      <a:pt x="168" y="133"/>
                    </a:lnTo>
                    <a:lnTo>
                      <a:pt x="164" y="134"/>
                    </a:lnTo>
                    <a:lnTo>
                      <a:pt x="166" y="131"/>
                    </a:lnTo>
                    <a:lnTo>
                      <a:pt x="166" y="124"/>
                    </a:lnTo>
                    <a:lnTo>
                      <a:pt x="171" y="119"/>
                    </a:lnTo>
                    <a:lnTo>
                      <a:pt x="176" y="118"/>
                    </a:lnTo>
                    <a:lnTo>
                      <a:pt x="176" y="117"/>
                    </a:lnTo>
                    <a:lnTo>
                      <a:pt x="176" y="115"/>
                    </a:lnTo>
                    <a:lnTo>
                      <a:pt x="173" y="113"/>
                    </a:lnTo>
                    <a:lnTo>
                      <a:pt x="169" y="110"/>
                    </a:lnTo>
                    <a:lnTo>
                      <a:pt x="163" y="112"/>
                    </a:lnTo>
                    <a:lnTo>
                      <a:pt x="161" y="109"/>
                    </a:lnTo>
                    <a:lnTo>
                      <a:pt x="166" y="109"/>
                    </a:lnTo>
                    <a:lnTo>
                      <a:pt x="169" y="109"/>
                    </a:lnTo>
                    <a:lnTo>
                      <a:pt x="172" y="110"/>
                    </a:lnTo>
                    <a:lnTo>
                      <a:pt x="174" y="110"/>
                    </a:lnTo>
                    <a:lnTo>
                      <a:pt x="174" y="109"/>
                    </a:lnTo>
                    <a:lnTo>
                      <a:pt x="174" y="107"/>
                    </a:lnTo>
                    <a:lnTo>
                      <a:pt x="173" y="105"/>
                    </a:lnTo>
                    <a:lnTo>
                      <a:pt x="170" y="99"/>
                    </a:lnTo>
                    <a:lnTo>
                      <a:pt x="169" y="97"/>
                    </a:lnTo>
                    <a:lnTo>
                      <a:pt x="169" y="90"/>
                    </a:lnTo>
                    <a:lnTo>
                      <a:pt x="171" y="81"/>
                    </a:lnTo>
                    <a:lnTo>
                      <a:pt x="166" y="81"/>
                    </a:lnTo>
                    <a:lnTo>
                      <a:pt x="162" y="79"/>
                    </a:lnTo>
                    <a:lnTo>
                      <a:pt x="160" y="77"/>
                    </a:lnTo>
                    <a:lnTo>
                      <a:pt x="149" y="71"/>
                    </a:lnTo>
                    <a:lnTo>
                      <a:pt x="147" y="70"/>
                    </a:lnTo>
                    <a:lnTo>
                      <a:pt x="146" y="72"/>
                    </a:lnTo>
                    <a:lnTo>
                      <a:pt x="148" y="69"/>
                    </a:lnTo>
                    <a:lnTo>
                      <a:pt x="150" y="69"/>
                    </a:lnTo>
                    <a:lnTo>
                      <a:pt x="160" y="75"/>
                    </a:lnTo>
                    <a:lnTo>
                      <a:pt x="162" y="77"/>
                    </a:lnTo>
                    <a:lnTo>
                      <a:pt x="167" y="80"/>
                    </a:lnTo>
                    <a:lnTo>
                      <a:pt x="174" y="79"/>
                    </a:lnTo>
                    <a:lnTo>
                      <a:pt x="176" y="78"/>
                    </a:lnTo>
                    <a:lnTo>
                      <a:pt x="177" y="74"/>
                    </a:lnTo>
                    <a:lnTo>
                      <a:pt x="179" y="70"/>
                    </a:lnTo>
                    <a:lnTo>
                      <a:pt x="182" y="64"/>
                    </a:lnTo>
                    <a:lnTo>
                      <a:pt x="184" y="60"/>
                    </a:lnTo>
                    <a:lnTo>
                      <a:pt x="190" y="56"/>
                    </a:lnTo>
                    <a:lnTo>
                      <a:pt x="191" y="54"/>
                    </a:lnTo>
                    <a:lnTo>
                      <a:pt x="189" y="39"/>
                    </a:lnTo>
                    <a:lnTo>
                      <a:pt x="190" y="35"/>
                    </a:lnTo>
                    <a:lnTo>
                      <a:pt x="192" y="32"/>
                    </a:lnTo>
                    <a:lnTo>
                      <a:pt x="192" y="31"/>
                    </a:lnTo>
                    <a:lnTo>
                      <a:pt x="189" y="28"/>
                    </a:lnTo>
                    <a:lnTo>
                      <a:pt x="183" y="25"/>
                    </a:lnTo>
                    <a:lnTo>
                      <a:pt x="182" y="18"/>
                    </a:lnTo>
                    <a:lnTo>
                      <a:pt x="182" y="16"/>
                    </a:lnTo>
                    <a:lnTo>
                      <a:pt x="183" y="12"/>
                    </a:lnTo>
                    <a:lnTo>
                      <a:pt x="185" y="9"/>
                    </a:lnTo>
                    <a:lnTo>
                      <a:pt x="190" y="6"/>
                    </a:lnTo>
                    <a:lnTo>
                      <a:pt x="199" y="1"/>
                    </a:lnTo>
                    <a:lnTo>
                      <a:pt x="195" y="0"/>
                    </a:lnTo>
                    <a:lnTo>
                      <a:pt x="190" y="1"/>
                    </a:lnTo>
                    <a:lnTo>
                      <a:pt x="176" y="12"/>
                    </a:lnTo>
                    <a:lnTo>
                      <a:pt x="168" y="15"/>
                    </a:lnTo>
                    <a:lnTo>
                      <a:pt x="159" y="17"/>
                    </a:lnTo>
                    <a:lnTo>
                      <a:pt x="145" y="17"/>
                    </a:lnTo>
                    <a:lnTo>
                      <a:pt x="141" y="22"/>
                    </a:lnTo>
                    <a:lnTo>
                      <a:pt x="131" y="30"/>
                    </a:lnTo>
                    <a:lnTo>
                      <a:pt x="123" y="44"/>
                    </a:lnTo>
                    <a:lnTo>
                      <a:pt x="116" y="52"/>
                    </a:lnTo>
                    <a:lnTo>
                      <a:pt x="111" y="56"/>
                    </a:lnTo>
                    <a:lnTo>
                      <a:pt x="103" y="61"/>
                    </a:lnTo>
                    <a:lnTo>
                      <a:pt x="94" y="63"/>
                    </a:lnTo>
                    <a:lnTo>
                      <a:pt x="88" y="64"/>
                    </a:lnTo>
                    <a:lnTo>
                      <a:pt x="83" y="64"/>
                    </a:lnTo>
                    <a:lnTo>
                      <a:pt x="73" y="62"/>
                    </a:lnTo>
                    <a:lnTo>
                      <a:pt x="70" y="62"/>
                    </a:lnTo>
                    <a:lnTo>
                      <a:pt x="58" y="67"/>
                    </a:lnTo>
                    <a:lnTo>
                      <a:pt x="53" y="68"/>
                    </a:lnTo>
                    <a:lnTo>
                      <a:pt x="42" y="66"/>
                    </a:lnTo>
                    <a:lnTo>
                      <a:pt x="38" y="67"/>
                    </a:lnTo>
                    <a:lnTo>
                      <a:pt x="35" y="72"/>
                    </a:lnTo>
                    <a:lnTo>
                      <a:pt x="28" y="77"/>
                    </a:lnTo>
                    <a:lnTo>
                      <a:pt x="22" y="84"/>
                    </a:lnTo>
                    <a:lnTo>
                      <a:pt x="14" y="95"/>
                    </a:lnTo>
                    <a:lnTo>
                      <a:pt x="11" y="101"/>
                    </a:lnTo>
                    <a:lnTo>
                      <a:pt x="11" y="106"/>
                    </a:lnTo>
                    <a:lnTo>
                      <a:pt x="12" y="109"/>
                    </a:lnTo>
                    <a:lnTo>
                      <a:pt x="14" y="108"/>
                    </a:lnTo>
                    <a:lnTo>
                      <a:pt x="13" y="104"/>
                    </a:lnTo>
                    <a:lnTo>
                      <a:pt x="13" y="103"/>
                    </a:lnTo>
                    <a:lnTo>
                      <a:pt x="14" y="103"/>
                    </a:lnTo>
                    <a:lnTo>
                      <a:pt x="16" y="104"/>
                    </a:lnTo>
                    <a:lnTo>
                      <a:pt x="18" y="106"/>
                    </a:lnTo>
                    <a:lnTo>
                      <a:pt x="18" y="109"/>
                    </a:lnTo>
                    <a:lnTo>
                      <a:pt x="19" y="111"/>
                    </a:lnTo>
                    <a:lnTo>
                      <a:pt x="22" y="112"/>
                    </a:lnTo>
                    <a:lnTo>
                      <a:pt x="28" y="115"/>
                    </a:lnTo>
                    <a:lnTo>
                      <a:pt x="31" y="117"/>
                    </a:lnTo>
                    <a:lnTo>
                      <a:pt x="33" y="118"/>
                    </a:lnTo>
                    <a:lnTo>
                      <a:pt x="34" y="122"/>
                    </a:lnTo>
                    <a:lnTo>
                      <a:pt x="35" y="123"/>
                    </a:lnTo>
                    <a:lnTo>
                      <a:pt x="39" y="121"/>
                    </a:lnTo>
                    <a:lnTo>
                      <a:pt x="39" y="118"/>
                    </a:lnTo>
                    <a:lnTo>
                      <a:pt x="38" y="115"/>
                    </a:lnTo>
                    <a:lnTo>
                      <a:pt x="38" y="112"/>
                    </a:lnTo>
                    <a:lnTo>
                      <a:pt x="36" y="112"/>
                    </a:lnTo>
                    <a:lnTo>
                      <a:pt x="33" y="114"/>
                    </a:lnTo>
                    <a:lnTo>
                      <a:pt x="31" y="113"/>
                    </a:lnTo>
                    <a:lnTo>
                      <a:pt x="31" y="112"/>
                    </a:lnTo>
                    <a:close/>
                    <a:moveTo>
                      <a:pt x="200" y="228"/>
                    </a:moveTo>
                    <a:lnTo>
                      <a:pt x="203" y="234"/>
                    </a:lnTo>
                    <a:lnTo>
                      <a:pt x="207" y="238"/>
                    </a:lnTo>
                    <a:lnTo>
                      <a:pt x="203" y="239"/>
                    </a:lnTo>
                    <a:lnTo>
                      <a:pt x="202" y="240"/>
                    </a:lnTo>
                    <a:lnTo>
                      <a:pt x="202" y="242"/>
                    </a:lnTo>
                    <a:lnTo>
                      <a:pt x="210" y="251"/>
                    </a:lnTo>
                    <a:lnTo>
                      <a:pt x="214" y="258"/>
                    </a:lnTo>
                    <a:lnTo>
                      <a:pt x="211" y="256"/>
                    </a:lnTo>
                    <a:lnTo>
                      <a:pt x="210" y="258"/>
                    </a:lnTo>
                    <a:lnTo>
                      <a:pt x="211" y="268"/>
                    </a:lnTo>
                    <a:lnTo>
                      <a:pt x="209" y="276"/>
                    </a:lnTo>
                    <a:lnTo>
                      <a:pt x="207" y="281"/>
                    </a:lnTo>
                    <a:lnTo>
                      <a:pt x="200" y="283"/>
                    </a:lnTo>
                    <a:lnTo>
                      <a:pt x="197" y="282"/>
                    </a:lnTo>
                    <a:lnTo>
                      <a:pt x="192" y="285"/>
                    </a:lnTo>
                    <a:lnTo>
                      <a:pt x="189" y="285"/>
                    </a:lnTo>
                    <a:lnTo>
                      <a:pt x="180" y="284"/>
                    </a:lnTo>
                    <a:lnTo>
                      <a:pt x="178" y="283"/>
                    </a:lnTo>
                    <a:lnTo>
                      <a:pt x="174" y="282"/>
                    </a:lnTo>
                    <a:lnTo>
                      <a:pt x="166" y="278"/>
                    </a:lnTo>
                    <a:lnTo>
                      <a:pt x="165" y="282"/>
                    </a:lnTo>
                    <a:lnTo>
                      <a:pt x="161" y="279"/>
                    </a:lnTo>
                    <a:lnTo>
                      <a:pt x="155" y="279"/>
                    </a:lnTo>
                    <a:lnTo>
                      <a:pt x="156" y="278"/>
                    </a:lnTo>
                    <a:lnTo>
                      <a:pt x="161" y="276"/>
                    </a:lnTo>
                    <a:lnTo>
                      <a:pt x="161" y="275"/>
                    </a:lnTo>
                    <a:lnTo>
                      <a:pt x="158" y="268"/>
                    </a:lnTo>
                    <a:lnTo>
                      <a:pt x="157" y="268"/>
                    </a:lnTo>
                    <a:lnTo>
                      <a:pt x="155" y="271"/>
                    </a:lnTo>
                    <a:lnTo>
                      <a:pt x="151" y="268"/>
                    </a:lnTo>
                    <a:lnTo>
                      <a:pt x="149" y="268"/>
                    </a:lnTo>
                    <a:lnTo>
                      <a:pt x="149" y="270"/>
                    </a:lnTo>
                    <a:lnTo>
                      <a:pt x="151" y="273"/>
                    </a:lnTo>
                    <a:lnTo>
                      <a:pt x="152" y="275"/>
                    </a:lnTo>
                    <a:lnTo>
                      <a:pt x="151" y="276"/>
                    </a:lnTo>
                    <a:lnTo>
                      <a:pt x="148" y="275"/>
                    </a:lnTo>
                    <a:lnTo>
                      <a:pt x="149" y="274"/>
                    </a:lnTo>
                    <a:lnTo>
                      <a:pt x="147" y="270"/>
                    </a:lnTo>
                    <a:lnTo>
                      <a:pt x="148" y="266"/>
                    </a:lnTo>
                    <a:lnTo>
                      <a:pt x="147" y="266"/>
                    </a:lnTo>
                    <a:lnTo>
                      <a:pt x="143" y="265"/>
                    </a:lnTo>
                    <a:lnTo>
                      <a:pt x="140" y="262"/>
                    </a:lnTo>
                    <a:lnTo>
                      <a:pt x="140" y="261"/>
                    </a:lnTo>
                    <a:lnTo>
                      <a:pt x="141" y="259"/>
                    </a:lnTo>
                    <a:lnTo>
                      <a:pt x="139" y="254"/>
                    </a:lnTo>
                    <a:lnTo>
                      <a:pt x="140" y="253"/>
                    </a:lnTo>
                    <a:lnTo>
                      <a:pt x="139" y="252"/>
                    </a:lnTo>
                    <a:lnTo>
                      <a:pt x="136" y="252"/>
                    </a:lnTo>
                    <a:lnTo>
                      <a:pt x="132" y="249"/>
                    </a:lnTo>
                    <a:lnTo>
                      <a:pt x="135" y="248"/>
                    </a:lnTo>
                    <a:lnTo>
                      <a:pt x="137" y="246"/>
                    </a:lnTo>
                    <a:lnTo>
                      <a:pt x="132" y="245"/>
                    </a:lnTo>
                    <a:lnTo>
                      <a:pt x="135" y="244"/>
                    </a:lnTo>
                    <a:lnTo>
                      <a:pt x="129" y="243"/>
                    </a:lnTo>
                    <a:lnTo>
                      <a:pt x="126" y="240"/>
                    </a:lnTo>
                    <a:lnTo>
                      <a:pt x="127" y="240"/>
                    </a:lnTo>
                    <a:lnTo>
                      <a:pt x="132" y="242"/>
                    </a:lnTo>
                    <a:lnTo>
                      <a:pt x="134" y="242"/>
                    </a:lnTo>
                    <a:lnTo>
                      <a:pt x="131" y="239"/>
                    </a:lnTo>
                    <a:lnTo>
                      <a:pt x="128" y="238"/>
                    </a:lnTo>
                    <a:lnTo>
                      <a:pt x="124" y="236"/>
                    </a:lnTo>
                    <a:lnTo>
                      <a:pt x="128" y="234"/>
                    </a:lnTo>
                    <a:lnTo>
                      <a:pt x="130" y="232"/>
                    </a:lnTo>
                    <a:lnTo>
                      <a:pt x="132" y="232"/>
                    </a:lnTo>
                    <a:lnTo>
                      <a:pt x="135" y="230"/>
                    </a:lnTo>
                    <a:lnTo>
                      <a:pt x="136" y="231"/>
                    </a:lnTo>
                    <a:lnTo>
                      <a:pt x="137" y="234"/>
                    </a:lnTo>
                    <a:lnTo>
                      <a:pt x="142" y="235"/>
                    </a:lnTo>
                    <a:lnTo>
                      <a:pt x="148" y="232"/>
                    </a:lnTo>
                    <a:lnTo>
                      <a:pt x="161" y="228"/>
                    </a:lnTo>
                    <a:lnTo>
                      <a:pt x="165" y="226"/>
                    </a:lnTo>
                    <a:lnTo>
                      <a:pt x="169" y="225"/>
                    </a:lnTo>
                    <a:lnTo>
                      <a:pt x="171" y="225"/>
                    </a:lnTo>
                    <a:lnTo>
                      <a:pt x="171" y="227"/>
                    </a:lnTo>
                    <a:lnTo>
                      <a:pt x="172" y="227"/>
                    </a:lnTo>
                    <a:lnTo>
                      <a:pt x="173" y="226"/>
                    </a:lnTo>
                    <a:lnTo>
                      <a:pt x="172" y="224"/>
                    </a:lnTo>
                    <a:lnTo>
                      <a:pt x="174" y="224"/>
                    </a:lnTo>
                    <a:lnTo>
                      <a:pt x="180" y="226"/>
                    </a:lnTo>
                    <a:lnTo>
                      <a:pt x="184" y="230"/>
                    </a:lnTo>
                    <a:lnTo>
                      <a:pt x="189" y="232"/>
                    </a:lnTo>
                    <a:lnTo>
                      <a:pt x="191" y="233"/>
                    </a:lnTo>
                    <a:lnTo>
                      <a:pt x="189" y="232"/>
                    </a:lnTo>
                    <a:lnTo>
                      <a:pt x="186" y="233"/>
                    </a:lnTo>
                    <a:lnTo>
                      <a:pt x="186" y="234"/>
                    </a:lnTo>
                    <a:lnTo>
                      <a:pt x="187" y="235"/>
                    </a:lnTo>
                    <a:lnTo>
                      <a:pt x="188" y="236"/>
                    </a:lnTo>
                    <a:lnTo>
                      <a:pt x="183" y="239"/>
                    </a:lnTo>
                    <a:lnTo>
                      <a:pt x="182" y="240"/>
                    </a:lnTo>
                    <a:lnTo>
                      <a:pt x="182" y="242"/>
                    </a:lnTo>
                    <a:lnTo>
                      <a:pt x="186" y="242"/>
                    </a:lnTo>
                    <a:lnTo>
                      <a:pt x="187" y="242"/>
                    </a:lnTo>
                    <a:lnTo>
                      <a:pt x="188" y="240"/>
                    </a:lnTo>
                    <a:lnTo>
                      <a:pt x="191" y="240"/>
                    </a:lnTo>
                    <a:lnTo>
                      <a:pt x="197" y="237"/>
                    </a:lnTo>
                    <a:lnTo>
                      <a:pt x="197" y="236"/>
                    </a:lnTo>
                    <a:lnTo>
                      <a:pt x="196" y="235"/>
                    </a:lnTo>
                    <a:lnTo>
                      <a:pt x="193" y="234"/>
                    </a:lnTo>
                    <a:lnTo>
                      <a:pt x="194" y="233"/>
                    </a:lnTo>
                    <a:lnTo>
                      <a:pt x="196" y="234"/>
                    </a:lnTo>
                    <a:lnTo>
                      <a:pt x="197" y="234"/>
                    </a:lnTo>
                    <a:lnTo>
                      <a:pt x="196" y="228"/>
                    </a:lnTo>
                    <a:lnTo>
                      <a:pt x="196" y="229"/>
                    </a:lnTo>
                    <a:lnTo>
                      <a:pt x="198" y="229"/>
                    </a:lnTo>
                    <a:lnTo>
                      <a:pt x="196" y="224"/>
                    </a:lnTo>
                    <a:lnTo>
                      <a:pt x="197" y="224"/>
                    </a:lnTo>
                    <a:lnTo>
                      <a:pt x="200" y="228"/>
                    </a:lnTo>
                    <a:close/>
                    <a:moveTo>
                      <a:pt x="347" y="175"/>
                    </a:moveTo>
                    <a:lnTo>
                      <a:pt x="351" y="178"/>
                    </a:lnTo>
                    <a:lnTo>
                      <a:pt x="353" y="181"/>
                    </a:lnTo>
                    <a:lnTo>
                      <a:pt x="352" y="182"/>
                    </a:lnTo>
                    <a:lnTo>
                      <a:pt x="350" y="185"/>
                    </a:lnTo>
                    <a:lnTo>
                      <a:pt x="347" y="189"/>
                    </a:lnTo>
                    <a:lnTo>
                      <a:pt x="345" y="193"/>
                    </a:lnTo>
                    <a:lnTo>
                      <a:pt x="349" y="199"/>
                    </a:lnTo>
                    <a:lnTo>
                      <a:pt x="350" y="205"/>
                    </a:lnTo>
                    <a:lnTo>
                      <a:pt x="352" y="208"/>
                    </a:lnTo>
                    <a:lnTo>
                      <a:pt x="353" y="211"/>
                    </a:lnTo>
                    <a:lnTo>
                      <a:pt x="353" y="214"/>
                    </a:lnTo>
                    <a:lnTo>
                      <a:pt x="348" y="219"/>
                    </a:lnTo>
                    <a:lnTo>
                      <a:pt x="342" y="223"/>
                    </a:lnTo>
                    <a:lnTo>
                      <a:pt x="342" y="226"/>
                    </a:lnTo>
                    <a:lnTo>
                      <a:pt x="341" y="226"/>
                    </a:lnTo>
                    <a:lnTo>
                      <a:pt x="338" y="224"/>
                    </a:lnTo>
                    <a:lnTo>
                      <a:pt x="335" y="224"/>
                    </a:lnTo>
                    <a:lnTo>
                      <a:pt x="324" y="230"/>
                    </a:lnTo>
                    <a:lnTo>
                      <a:pt x="321" y="234"/>
                    </a:lnTo>
                    <a:lnTo>
                      <a:pt x="319" y="239"/>
                    </a:lnTo>
                    <a:lnTo>
                      <a:pt x="320" y="242"/>
                    </a:lnTo>
                    <a:lnTo>
                      <a:pt x="323" y="244"/>
                    </a:lnTo>
                    <a:lnTo>
                      <a:pt x="334" y="248"/>
                    </a:lnTo>
                    <a:lnTo>
                      <a:pt x="337" y="251"/>
                    </a:lnTo>
                    <a:lnTo>
                      <a:pt x="339" y="254"/>
                    </a:lnTo>
                    <a:lnTo>
                      <a:pt x="339" y="257"/>
                    </a:lnTo>
                    <a:lnTo>
                      <a:pt x="340" y="259"/>
                    </a:lnTo>
                    <a:lnTo>
                      <a:pt x="340" y="260"/>
                    </a:lnTo>
                    <a:lnTo>
                      <a:pt x="337" y="261"/>
                    </a:lnTo>
                    <a:lnTo>
                      <a:pt x="332" y="264"/>
                    </a:lnTo>
                    <a:lnTo>
                      <a:pt x="323" y="264"/>
                    </a:lnTo>
                    <a:lnTo>
                      <a:pt x="318" y="265"/>
                    </a:lnTo>
                    <a:lnTo>
                      <a:pt x="315" y="267"/>
                    </a:lnTo>
                    <a:lnTo>
                      <a:pt x="313" y="269"/>
                    </a:lnTo>
                    <a:lnTo>
                      <a:pt x="312" y="274"/>
                    </a:lnTo>
                    <a:lnTo>
                      <a:pt x="310" y="273"/>
                    </a:lnTo>
                    <a:lnTo>
                      <a:pt x="311" y="271"/>
                    </a:lnTo>
                    <a:lnTo>
                      <a:pt x="309" y="270"/>
                    </a:lnTo>
                    <a:lnTo>
                      <a:pt x="306" y="271"/>
                    </a:lnTo>
                    <a:lnTo>
                      <a:pt x="306" y="273"/>
                    </a:lnTo>
                    <a:lnTo>
                      <a:pt x="308" y="274"/>
                    </a:lnTo>
                    <a:lnTo>
                      <a:pt x="317" y="277"/>
                    </a:lnTo>
                    <a:lnTo>
                      <a:pt x="317" y="279"/>
                    </a:lnTo>
                    <a:lnTo>
                      <a:pt x="316" y="280"/>
                    </a:lnTo>
                    <a:lnTo>
                      <a:pt x="312" y="279"/>
                    </a:lnTo>
                    <a:lnTo>
                      <a:pt x="311" y="280"/>
                    </a:lnTo>
                    <a:lnTo>
                      <a:pt x="313" y="281"/>
                    </a:lnTo>
                    <a:lnTo>
                      <a:pt x="313" y="283"/>
                    </a:lnTo>
                    <a:lnTo>
                      <a:pt x="317" y="287"/>
                    </a:lnTo>
                    <a:lnTo>
                      <a:pt x="317" y="289"/>
                    </a:lnTo>
                    <a:lnTo>
                      <a:pt x="312" y="289"/>
                    </a:lnTo>
                    <a:lnTo>
                      <a:pt x="306" y="292"/>
                    </a:lnTo>
                    <a:lnTo>
                      <a:pt x="302" y="292"/>
                    </a:lnTo>
                    <a:lnTo>
                      <a:pt x="298" y="289"/>
                    </a:lnTo>
                    <a:lnTo>
                      <a:pt x="296" y="291"/>
                    </a:lnTo>
                    <a:lnTo>
                      <a:pt x="295" y="291"/>
                    </a:lnTo>
                    <a:lnTo>
                      <a:pt x="293" y="289"/>
                    </a:lnTo>
                    <a:lnTo>
                      <a:pt x="288" y="285"/>
                    </a:lnTo>
                    <a:lnTo>
                      <a:pt x="282" y="283"/>
                    </a:lnTo>
                    <a:lnTo>
                      <a:pt x="277" y="280"/>
                    </a:lnTo>
                    <a:lnTo>
                      <a:pt x="284" y="282"/>
                    </a:lnTo>
                    <a:lnTo>
                      <a:pt x="290" y="285"/>
                    </a:lnTo>
                    <a:lnTo>
                      <a:pt x="292" y="284"/>
                    </a:lnTo>
                    <a:lnTo>
                      <a:pt x="290" y="281"/>
                    </a:lnTo>
                    <a:lnTo>
                      <a:pt x="285" y="280"/>
                    </a:lnTo>
                    <a:lnTo>
                      <a:pt x="282" y="277"/>
                    </a:lnTo>
                    <a:lnTo>
                      <a:pt x="282" y="276"/>
                    </a:lnTo>
                    <a:lnTo>
                      <a:pt x="287" y="276"/>
                    </a:lnTo>
                    <a:lnTo>
                      <a:pt x="290" y="274"/>
                    </a:lnTo>
                    <a:lnTo>
                      <a:pt x="289" y="273"/>
                    </a:lnTo>
                    <a:lnTo>
                      <a:pt x="284" y="272"/>
                    </a:lnTo>
                    <a:lnTo>
                      <a:pt x="282" y="272"/>
                    </a:lnTo>
                    <a:lnTo>
                      <a:pt x="281" y="272"/>
                    </a:lnTo>
                    <a:lnTo>
                      <a:pt x="282" y="268"/>
                    </a:lnTo>
                    <a:lnTo>
                      <a:pt x="280" y="268"/>
                    </a:lnTo>
                    <a:lnTo>
                      <a:pt x="276" y="271"/>
                    </a:lnTo>
                    <a:lnTo>
                      <a:pt x="271" y="268"/>
                    </a:lnTo>
                    <a:lnTo>
                      <a:pt x="267" y="268"/>
                    </a:lnTo>
                    <a:lnTo>
                      <a:pt x="260" y="266"/>
                    </a:lnTo>
                    <a:lnTo>
                      <a:pt x="255" y="267"/>
                    </a:lnTo>
                    <a:lnTo>
                      <a:pt x="251" y="267"/>
                    </a:lnTo>
                    <a:lnTo>
                      <a:pt x="253" y="268"/>
                    </a:lnTo>
                    <a:lnTo>
                      <a:pt x="252" y="268"/>
                    </a:lnTo>
                    <a:lnTo>
                      <a:pt x="247" y="267"/>
                    </a:lnTo>
                    <a:lnTo>
                      <a:pt x="246" y="264"/>
                    </a:lnTo>
                    <a:lnTo>
                      <a:pt x="248" y="264"/>
                    </a:lnTo>
                    <a:lnTo>
                      <a:pt x="250" y="262"/>
                    </a:lnTo>
                    <a:lnTo>
                      <a:pt x="248" y="262"/>
                    </a:lnTo>
                    <a:lnTo>
                      <a:pt x="246" y="262"/>
                    </a:lnTo>
                    <a:lnTo>
                      <a:pt x="246" y="260"/>
                    </a:lnTo>
                    <a:lnTo>
                      <a:pt x="245" y="259"/>
                    </a:lnTo>
                    <a:lnTo>
                      <a:pt x="240" y="255"/>
                    </a:lnTo>
                    <a:lnTo>
                      <a:pt x="240" y="254"/>
                    </a:lnTo>
                    <a:lnTo>
                      <a:pt x="242" y="254"/>
                    </a:lnTo>
                    <a:lnTo>
                      <a:pt x="242" y="253"/>
                    </a:lnTo>
                    <a:lnTo>
                      <a:pt x="241" y="252"/>
                    </a:lnTo>
                    <a:lnTo>
                      <a:pt x="238" y="252"/>
                    </a:lnTo>
                    <a:lnTo>
                      <a:pt x="238" y="253"/>
                    </a:lnTo>
                    <a:lnTo>
                      <a:pt x="237" y="254"/>
                    </a:lnTo>
                    <a:lnTo>
                      <a:pt x="235" y="253"/>
                    </a:lnTo>
                    <a:lnTo>
                      <a:pt x="234" y="250"/>
                    </a:lnTo>
                    <a:lnTo>
                      <a:pt x="235" y="250"/>
                    </a:lnTo>
                    <a:lnTo>
                      <a:pt x="238" y="250"/>
                    </a:lnTo>
                    <a:lnTo>
                      <a:pt x="240" y="248"/>
                    </a:lnTo>
                    <a:lnTo>
                      <a:pt x="243" y="248"/>
                    </a:lnTo>
                    <a:lnTo>
                      <a:pt x="243" y="247"/>
                    </a:lnTo>
                    <a:lnTo>
                      <a:pt x="241" y="245"/>
                    </a:lnTo>
                    <a:lnTo>
                      <a:pt x="242" y="240"/>
                    </a:lnTo>
                    <a:lnTo>
                      <a:pt x="238" y="235"/>
                    </a:lnTo>
                    <a:lnTo>
                      <a:pt x="237" y="234"/>
                    </a:lnTo>
                    <a:lnTo>
                      <a:pt x="234" y="236"/>
                    </a:lnTo>
                    <a:lnTo>
                      <a:pt x="234" y="234"/>
                    </a:lnTo>
                    <a:lnTo>
                      <a:pt x="234" y="232"/>
                    </a:lnTo>
                    <a:lnTo>
                      <a:pt x="238" y="232"/>
                    </a:lnTo>
                    <a:lnTo>
                      <a:pt x="239" y="231"/>
                    </a:lnTo>
                    <a:lnTo>
                      <a:pt x="240" y="230"/>
                    </a:lnTo>
                    <a:lnTo>
                      <a:pt x="239" y="228"/>
                    </a:lnTo>
                    <a:lnTo>
                      <a:pt x="235" y="223"/>
                    </a:lnTo>
                    <a:lnTo>
                      <a:pt x="232" y="222"/>
                    </a:lnTo>
                    <a:lnTo>
                      <a:pt x="221" y="219"/>
                    </a:lnTo>
                    <a:lnTo>
                      <a:pt x="221" y="218"/>
                    </a:lnTo>
                    <a:lnTo>
                      <a:pt x="232" y="220"/>
                    </a:lnTo>
                    <a:lnTo>
                      <a:pt x="234" y="219"/>
                    </a:lnTo>
                    <a:lnTo>
                      <a:pt x="234" y="218"/>
                    </a:lnTo>
                    <a:lnTo>
                      <a:pt x="234" y="217"/>
                    </a:lnTo>
                    <a:lnTo>
                      <a:pt x="227" y="216"/>
                    </a:lnTo>
                    <a:lnTo>
                      <a:pt x="224" y="212"/>
                    </a:lnTo>
                    <a:lnTo>
                      <a:pt x="218" y="211"/>
                    </a:lnTo>
                    <a:lnTo>
                      <a:pt x="218" y="210"/>
                    </a:lnTo>
                    <a:lnTo>
                      <a:pt x="223" y="210"/>
                    </a:lnTo>
                    <a:lnTo>
                      <a:pt x="231" y="211"/>
                    </a:lnTo>
                    <a:lnTo>
                      <a:pt x="234" y="211"/>
                    </a:lnTo>
                    <a:lnTo>
                      <a:pt x="237" y="210"/>
                    </a:lnTo>
                    <a:lnTo>
                      <a:pt x="240" y="210"/>
                    </a:lnTo>
                    <a:lnTo>
                      <a:pt x="238" y="210"/>
                    </a:lnTo>
                    <a:lnTo>
                      <a:pt x="237" y="211"/>
                    </a:lnTo>
                    <a:lnTo>
                      <a:pt x="238" y="213"/>
                    </a:lnTo>
                    <a:lnTo>
                      <a:pt x="240" y="214"/>
                    </a:lnTo>
                    <a:lnTo>
                      <a:pt x="244" y="215"/>
                    </a:lnTo>
                    <a:lnTo>
                      <a:pt x="244" y="214"/>
                    </a:lnTo>
                    <a:lnTo>
                      <a:pt x="241" y="211"/>
                    </a:lnTo>
                    <a:lnTo>
                      <a:pt x="247" y="212"/>
                    </a:lnTo>
                    <a:lnTo>
                      <a:pt x="255" y="209"/>
                    </a:lnTo>
                    <a:lnTo>
                      <a:pt x="256" y="207"/>
                    </a:lnTo>
                    <a:lnTo>
                      <a:pt x="257" y="204"/>
                    </a:lnTo>
                    <a:lnTo>
                      <a:pt x="255" y="201"/>
                    </a:lnTo>
                    <a:lnTo>
                      <a:pt x="259" y="202"/>
                    </a:lnTo>
                    <a:lnTo>
                      <a:pt x="262" y="199"/>
                    </a:lnTo>
                    <a:lnTo>
                      <a:pt x="265" y="200"/>
                    </a:lnTo>
                    <a:lnTo>
                      <a:pt x="267" y="197"/>
                    </a:lnTo>
                    <a:lnTo>
                      <a:pt x="268" y="194"/>
                    </a:lnTo>
                    <a:lnTo>
                      <a:pt x="268" y="192"/>
                    </a:lnTo>
                    <a:lnTo>
                      <a:pt x="267" y="191"/>
                    </a:lnTo>
                    <a:lnTo>
                      <a:pt x="264" y="190"/>
                    </a:lnTo>
                    <a:lnTo>
                      <a:pt x="255" y="188"/>
                    </a:lnTo>
                    <a:lnTo>
                      <a:pt x="250" y="186"/>
                    </a:lnTo>
                    <a:lnTo>
                      <a:pt x="249" y="185"/>
                    </a:lnTo>
                    <a:lnTo>
                      <a:pt x="249" y="184"/>
                    </a:lnTo>
                    <a:lnTo>
                      <a:pt x="258" y="187"/>
                    </a:lnTo>
                    <a:lnTo>
                      <a:pt x="269" y="188"/>
                    </a:lnTo>
                    <a:lnTo>
                      <a:pt x="272" y="188"/>
                    </a:lnTo>
                    <a:lnTo>
                      <a:pt x="273" y="190"/>
                    </a:lnTo>
                    <a:lnTo>
                      <a:pt x="275" y="190"/>
                    </a:lnTo>
                    <a:lnTo>
                      <a:pt x="279" y="189"/>
                    </a:lnTo>
                    <a:lnTo>
                      <a:pt x="287" y="187"/>
                    </a:lnTo>
                    <a:lnTo>
                      <a:pt x="289" y="187"/>
                    </a:lnTo>
                    <a:lnTo>
                      <a:pt x="286" y="190"/>
                    </a:lnTo>
                    <a:lnTo>
                      <a:pt x="285" y="191"/>
                    </a:lnTo>
                    <a:lnTo>
                      <a:pt x="287" y="193"/>
                    </a:lnTo>
                    <a:lnTo>
                      <a:pt x="286" y="196"/>
                    </a:lnTo>
                    <a:lnTo>
                      <a:pt x="279" y="193"/>
                    </a:lnTo>
                    <a:lnTo>
                      <a:pt x="278" y="194"/>
                    </a:lnTo>
                    <a:lnTo>
                      <a:pt x="278" y="196"/>
                    </a:lnTo>
                    <a:lnTo>
                      <a:pt x="283" y="201"/>
                    </a:lnTo>
                    <a:lnTo>
                      <a:pt x="284" y="204"/>
                    </a:lnTo>
                    <a:lnTo>
                      <a:pt x="282" y="204"/>
                    </a:lnTo>
                    <a:lnTo>
                      <a:pt x="279" y="203"/>
                    </a:lnTo>
                    <a:lnTo>
                      <a:pt x="277" y="203"/>
                    </a:lnTo>
                    <a:lnTo>
                      <a:pt x="277" y="205"/>
                    </a:lnTo>
                    <a:lnTo>
                      <a:pt x="275" y="205"/>
                    </a:lnTo>
                    <a:lnTo>
                      <a:pt x="275" y="207"/>
                    </a:lnTo>
                    <a:lnTo>
                      <a:pt x="279" y="208"/>
                    </a:lnTo>
                    <a:lnTo>
                      <a:pt x="283" y="205"/>
                    </a:lnTo>
                    <a:lnTo>
                      <a:pt x="286" y="207"/>
                    </a:lnTo>
                    <a:lnTo>
                      <a:pt x="287" y="208"/>
                    </a:lnTo>
                    <a:lnTo>
                      <a:pt x="285" y="209"/>
                    </a:lnTo>
                    <a:lnTo>
                      <a:pt x="290" y="216"/>
                    </a:lnTo>
                    <a:lnTo>
                      <a:pt x="288" y="218"/>
                    </a:lnTo>
                    <a:lnTo>
                      <a:pt x="289" y="219"/>
                    </a:lnTo>
                    <a:lnTo>
                      <a:pt x="292" y="217"/>
                    </a:lnTo>
                    <a:lnTo>
                      <a:pt x="293" y="213"/>
                    </a:lnTo>
                    <a:lnTo>
                      <a:pt x="294" y="211"/>
                    </a:lnTo>
                    <a:lnTo>
                      <a:pt x="293" y="209"/>
                    </a:lnTo>
                    <a:lnTo>
                      <a:pt x="293" y="208"/>
                    </a:lnTo>
                    <a:lnTo>
                      <a:pt x="295" y="205"/>
                    </a:lnTo>
                    <a:lnTo>
                      <a:pt x="295" y="204"/>
                    </a:lnTo>
                    <a:lnTo>
                      <a:pt x="298" y="202"/>
                    </a:lnTo>
                    <a:lnTo>
                      <a:pt x="300" y="200"/>
                    </a:lnTo>
                    <a:lnTo>
                      <a:pt x="300" y="199"/>
                    </a:lnTo>
                    <a:lnTo>
                      <a:pt x="299" y="197"/>
                    </a:lnTo>
                    <a:lnTo>
                      <a:pt x="298" y="191"/>
                    </a:lnTo>
                    <a:lnTo>
                      <a:pt x="298" y="190"/>
                    </a:lnTo>
                    <a:lnTo>
                      <a:pt x="300" y="191"/>
                    </a:lnTo>
                    <a:lnTo>
                      <a:pt x="305" y="193"/>
                    </a:lnTo>
                    <a:lnTo>
                      <a:pt x="306" y="195"/>
                    </a:lnTo>
                    <a:lnTo>
                      <a:pt x="304" y="198"/>
                    </a:lnTo>
                    <a:lnTo>
                      <a:pt x="307" y="201"/>
                    </a:lnTo>
                    <a:lnTo>
                      <a:pt x="310" y="211"/>
                    </a:lnTo>
                    <a:lnTo>
                      <a:pt x="308" y="213"/>
                    </a:lnTo>
                    <a:lnTo>
                      <a:pt x="303" y="212"/>
                    </a:lnTo>
                    <a:lnTo>
                      <a:pt x="302" y="216"/>
                    </a:lnTo>
                    <a:lnTo>
                      <a:pt x="299" y="217"/>
                    </a:lnTo>
                    <a:lnTo>
                      <a:pt x="299" y="220"/>
                    </a:lnTo>
                    <a:lnTo>
                      <a:pt x="300" y="220"/>
                    </a:lnTo>
                    <a:lnTo>
                      <a:pt x="302" y="218"/>
                    </a:lnTo>
                    <a:lnTo>
                      <a:pt x="304" y="218"/>
                    </a:lnTo>
                    <a:lnTo>
                      <a:pt x="310" y="220"/>
                    </a:lnTo>
                    <a:lnTo>
                      <a:pt x="311" y="216"/>
                    </a:lnTo>
                    <a:lnTo>
                      <a:pt x="312" y="216"/>
                    </a:lnTo>
                    <a:lnTo>
                      <a:pt x="313" y="214"/>
                    </a:lnTo>
                    <a:lnTo>
                      <a:pt x="311" y="207"/>
                    </a:lnTo>
                    <a:lnTo>
                      <a:pt x="311" y="203"/>
                    </a:lnTo>
                    <a:lnTo>
                      <a:pt x="309" y="200"/>
                    </a:lnTo>
                    <a:lnTo>
                      <a:pt x="310" y="198"/>
                    </a:lnTo>
                    <a:lnTo>
                      <a:pt x="308" y="194"/>
                    </a:lnTo>
                    <a:lnTo>
                      <a:pt x="309" y="191"/>
                    </a:lnTo>
                    <a:lnTo>
                      <a:pt x="306" y="187"/>
                    </a:lnTo>
                    <a:lnTo>
                      <a:pt x="295" y="190"/>
                    </a:lnTo>
                    <a:lnTo>
                      <a:pt x="293" y="188"/>
                    </a:lnTo>
                    <a:lnTo>
                      <a:pt x="294" y="187"/>
                    </a:lnTo>
                    <a:lnTo>
                      <a:pt x="315" y="175"/>
                    </a:lnTo>
                    <a:lnTo>
                      <a:pt x="325" y="172"/>
                    </a:lnTo>
                    <a:lnTo>
                      <a:pt x="329" y="172"/>
                    </a:lnTo>
                    <a:lnTo>
                      <a:pt x="347" y="175"/>
                    </a:lnTo>
                    <a:close/>
                    <a:moveTo>
                      <a:pt x="292" y="293"/>
                    </a:moveTo>
                    <a:lnTo>
                      <a:pt x="296" y="297"/>
                    </a:lnTo>
                    <a:lnTo>
                      <a:pt x="298" y="296"/>
                    </a:lnTo>
                    <a:lnTo>
                      <a:pt x="300" y="296"/>
                    </a:lnTo>
                    <a:lnTo>
                      <a:pt x="301" y="297"/>
                    </a:lnTo>
                    <a:lnTo>
                      <a:pt x="302" y="298"/>
                    </a:lnTo>
                    <a:lnTo>
                      <a:pt x="312" y="300"/>
                    </a:lnTo>
                    <a:lnTo>
                      <a:pt x="313" y="301"/>
                    </a:lnTo>
                    <a:lnTo>
                      <a:pt x="316" y="305"/>
                    </a:lnTo>
                    <a:lnTo>
                      <a:pt x="316" y="307"/>
                    </a:lnTo>
                    <a:lnTo>
                      <a:pt x="315" y="308"/>
                    </a:lnTo>
                    <a:lnTo>
                      <a:pt x="306" y="313"/>
                    </a:lnTo>
                    <a:lnTo>
                      <a:pt x="306" y="317"/>
                    </a:lnTo>
                    <a:lnTo>
                      <a:pt x="301" y="321"/>
                    </a:lnTo>
                    <a:lnTo>
                      <a:pt x="300" y="325"/>
                    </a:lnTo>
                    <a:lnTo>
                      <a:pt x="300" y="329"/>
                    </a:lnTo>
                    <a:lnTo>
                      <a:pt x="301" y="333"/>
                    </a:lnTo>
                    <a:lnTo>
                      <a:pt x="301" y="334"/>
                    </a:lnTo>
                    <a:lnTo>
                      <a:pt x="298" y="333"/>
                    </a:lnTo>
                    <a:lnTo>
                      <a:pt x="297" y="330"/>
                    </a:lnTo>
                    <a:lnTo>
                      <a:pt x="293" y="324"/>
                    </a:lnTo>
                    <a:lnTo>
                      <a:pt x="293" y="323"/>
                    </a:lnTo>
                    <a:lnTo>
                      <a:pt x="296" y="318"/>
                    </a:lnTo>
                    <a:lnTo>
                      <a:pt x="295" y="317"/>
                    </a:lnTo>
                    <a:lnTo>
                      <a:pt x="295" y="316"/>
                    </a:lnTo>
                    <a:lnTo>
                      <a:pt x="294" y="315"/>
                    </a:lnTo>
                    <a:lnTo>
                      <a:pt x="290" y="311"/>
                    </a:lnTo>
                    <a:lnTo>
                      <a:pt x="290" y="309"/>
                    </a:lnTo>
                    <a:lnTo>
                      <a:pt x="290" y="307"/>
                    </a:lnTo>
                    <a:lnTo>
                      <a:pt x="289" y="305"/>
                    </a:lnTo>
                    <a:lnTo>
                      <a:pt x="285" y="303"/>
                    </a:lnTo>
                    <a:lnTo>
                      <a:pt x="285" y="298"/>
                    </a:lnTo>
                    <a:lnTo>
                      <a:pt x="284" y="297"/>
                    </a:lnTo>
                    <a:lnTo>
                      <a:pt x="281" y="297"/>
                    </a:lnTo>
                    <a:lnTo>
                      <a:pt x="281" y="296"/>
                    </a:lnTo>
                    <a:lnTo>
                      <a:pt x="282" y="295"/>
                    </a:lnTo>
                    <a:lnTo>
                      <a:pt x="285" y="293"/>
                    </a:lnTo>
                    <a:lnTo>
                      <a:pt x="287" y="294"/>
                    </a:lnTo>
                    <a:lnTo>
                      <a:pt x="289" y="295"/>
                    </a:lnTo>
                    <a:lnTo>
                      <a:pt x="290" y="295"/>
                    </a:lnTo>
                    <a:lnTo>
                      <a:pt x="290" y="292"/>
                    </a:lnTo>
                    <a:lnTo>
                      <a:pt x="292" y="293"/>
                    </a:lnTo>
                    <a:close/>
                    <a:moveTo>
                      <a:pt x="245" y="293"/>
                    </a:moveTo>
                    <a:lnTo>
                      <a:pt x="250" y="295"/>
                    </a:lnTo>
                    <a:lnTo>
                      <a:pt x="254" y="297"/>
                    </a:lnTo>
                    <a:lnTo>
                      <a:pt x="256" y="301"/>
                    </a:lnTo>
                    <a:lnTo>
                      <a:pt x="258" y="303"/>
                    </a:lnTo>
                    <a:lnTo>
                      <a:pt x="268" y="307"/>
                    </a:lnTo>
                    <a:lnTo>
                      <a:pt x="271" y="307"/>
                    </a:lnTo>
                    <a:lnTo>
                      <a:pt x="274" y="309"/>
                    </a:lnTo>
                    <a:lnTo>
                      <a:pt x="272" y="305"/>
                    </a:lnTo>
                    <a:lnTo>
                      <a:pt x="277" y="304"/>
                    </a:lnTo>
                    <a:lnTo>
                      <a:pt x="276" y="299"/>
                    </a:lnTo>
                    <a:lnTo>
                      <a:pt x="278" y="300"/>
                    </a:lnTo>
                    <a:lnTo>
                      <a:pt x="283" y="303"/>
                    </a:lnTo>
                    <a:lnTo>
                      <a:pt x="284" y="306"/>
                    </a:lnTo>
                    <a:lnTo>
                      <a:pt x="287" y="307"/>
                    </a:lnTo>
                    <a:lnTo>
                      <a:pt x="287" y="309"/>
                    </a:lnTo>
                    <a:lnTo>
                      <a:pt x="293" y="315"/>
                    </a:lnTo>
                    <a:lnTo>
                      <a:pt x="293" y="317"/>
                    </a:lnTo>
                    <a:lnTo>
                      <a:pt x="292" y="317"/>
                    </a:lnTo>
                    <a:lnTo>
                      <a:pt x="290" y="317"/>
                    </a:lnTo>
                    <a:lnTo>
                      <a:pt x="290" y="319"/>
                    </a:lnTo>
                    <a:lnTo>
                      <a:pt x="290" y="321"/>
                    </a:lnTo>
                    <a:lnTo>
                      <a:pt x="292" y="321"/>
                    </a:lnTo>
                    <a:lnTo>
                      <a:pt x="292" y="322"/>
                    </a:lnTo>
                    <a:lnTo>
                      <a:pt x="291" y="323"/>
                    </a:lnTo>
                    <a:lnTo>
                      <a:pt x="291" y="325"/>
                    </a:lnTo>
                    <a:lnTo>
                      <a:pt x="289" y="326"/>
                    </a:lnTo>
                    <a:lnTo>
                      <a:pt x="285" y="326"/>
                    </a:lnTo>
                    <a:lnTo>
                      <a:pt x="283" y="325"/>
                    </a:lnTo>
                    <a:lnTo>
                      <a:pt x="273" y="324"/>
                    </a:lnTo>
                    <a:lnTo>
                      <a:pt x="267" y="327"/>
                    </a:lnTo>
                    <a:lnTo>
                      <a:pt x="263" y="330"/>
                    </a:lnTo>
                    <a:lnTo>
                      <a:pt x="260" y="329"/>
                    </a:lnTo>
                    <a:lnTo>
                      <a:pt x="244" y="319"/>
                    </a:lnTo>
                    <a:lnTo>
                      <a:pt x="229" y="315"/>
                    </a:lnTo>
                    <a:lnTo>
                      <a:pt x="226" y="311"/>
                    </a:lnTo>
                    <a:lnTo>
                      <a:pt x="226" y="310"/>
                    </a:lnTo>
                    <a:lnTo>
                      <a:pt x="227" y="309"/>
                    </a:lnTo>
                    <a:lnTo>
                      <a:pt x="226" y="308"/>
                    </a:lnTo>
                    <a:lnTo>
                      <a:pt x="232" y="310"/>
                    </a:lnTo>
                    <a:lnTo>
                      <a:pt x="235" y="308"/>
                    </a:lnTo>
                    <a:lnTo>
                      <a:pt x="236" y="307"/>
                    </a:lnTo>
                    <a:lnTo>
                      <a:pt x="232" y="305"/>
                    </a:lnTo>
                    <a:lnTo>
                      <a:pt x="232" y="303"/>
                    </a:lnTo>
                    <a:lnTo>
                      <a:pt x="229" y="301"/>
                    </a:lnTo>
                    <a:lnTo>
                      <a:pt x="229" y="299"/>
                    </a:lnTo>
                    <a:lnTo>
                      <a:pt x="230" y="297"/>
                    </a:lnTo>
                    <a:lnTo>
                      <a:pt x="233" y="295"/>
                    </a:lnTo>
                    <a:lnTo>
                      <a:pt x="235" y="295"/>
                    </a:lnTo>
                    <a:lnTo>
                      <a:pt x="237" y="293"/>
                    </a:lnTo>
                    <a:lnTo>
                      <a:pt x="245" y="293"/>
                    </a:lnTo>
                    <a:close/>
                    <a:moveTo>
                      <a:pt x="199" y="285"/>
                    </a:moveTo>
                    <a:lnTo>
                      <a:pt x="200" y="286"/>
                    </a:lnTo>
                    <a:lnTo>
                      <a:pt x="199" y="289"/>
                    </a:lnTo>
                    <a:lnTo>
                      <a:pt x="202" y="289"/>
                    </a:lnTo>
                    <a:lnTo>
                      <a:pt x="201" y="291"/>
                    </a:lnTo>
                    <a:lnTo>
                      <a:pt x="199" y="291"/>
                    </a:lnTo>
                    <a:lnTo>
                      <a:pt x="197" y="294"/>
                    </a:lnTo>
                    <a:lnTo>
                      <a:pt x="195" y="293"/>
                    </a:lnTo>
                    <a:lnTo>
                      <a:pt x="193" y="294"/>
                    </a:lnTo>
                    <a:lnTo>
                      <a:pt x="188" y="289"/>
                    </a:lnTo>
                    <a:lnTo>
                      <a:pt x="189" y="287"/>
                    </a:lnTo>
                    <a:lnTo>
                      <a:pt x="195" y="286"/>
                    </a:lnTo>
                    <a:lnTo>
                      <a:pt x="198" y="284"/>
                    </a:lnTo>
                    <a:lnTo>
                      <a:pt x="199" y="284"/>
                    </a:lnTo>
                    <a:lnTo>
                      <a:pt x="199" y="285"/>
                    </a:lnTo>
                    <a:close/>
                    <a:moveTo>
                      <a:pt x="354" y="216"/>
                    </a:moveTo>
                    <a:lnTo>
                      <a:pt x="355" y="220"/>
                    </a:lnTo>
                    <a:lnTo>
                      <a:pt x="357" y="223"/>
                    </a:lnTo>
                    <a:lnTo>
                      <a:pt x="356" y="226"/>
                    </a:lnTo>
                    <a:lnTo>
                      <a:pt x="350" y="230"/>
                    </a:lnTo>
                    <a:lnTo>
                      <a:pt x="348" y="230"/>
                    </a:lnTo>
                    <a:lnTo>
                      <a:pt x="345" y="227"/>
                    </a:lnTo>
                    <a:lnTo>
                      <a:pt x="346" y="225"/>
                    </a:lnTo>
                    <a:lnTo>
                      <a:pt x="349" y="222"/>
                    </a:lnTo>
                    <a:lnTo>
                      <a:pt x="349" y="220"/>
                    </a:lnTo>
                    <a:lnTo>
                      <a:pt x="353" y="215"/>
                    </a:lnTo>
                    <a:lnTo>
                      <a:pt x="354" y="216"/>
                    </a:lnTo>
                    <a:close/>
                    <a:moveTo>
                      <a:pt x="193" y="186"/>
                    </a:moveTo>
                    <a:lnTo>
                      <a:pt x="193" y="188"/>
                    </a:lnTo>
                    <a:lnTo>
                      <a:pt x="195" y="191"/>
                    </a:lnTo>
                    <a:lnTo>
                      <a:pt x="198" y="192"/>
                    </a:lnTo>
                    <a:lnTo>
                      <a:pt x="197" y="194"/>
                    </a:lnTo>
                    <a:lnTo>
                      <a:pt x="198" y="197"/>
                    </a:lnTo>
                    <a:lnTo>
                      <a:pt x="201" y="197"/>
                    </a:lnTo>
                    <a:lnTo>
                      <a:pt x="201" y="196"/>
                    </a:lnTo>
                    <a:lnTo>
                      <a:pt x="201" y="197"/>
                    </a:lnTo>
                    <a:lnTo>
                      <a:pt x="198" y="201"/>
                    </a:lnTo>
                    <a:lnTo>
                      <a:pt x="198" y="204"/>
                    </a:lnTo>
                    <a:lnTo>
                      <a:pt x="197" y="208"/>
                    </a:lnTo>
                    <a:lnTo>
                      <a:pt x="191" y="208"/>
                    </a:lnTo>
                    <a:lnTo>
                      <a:pt x="189" y="204"/>
                    </a:lnTo>
                    <a:lnTo>
                      <a:pt x="190" y="199"/>
                    </a:lnTo>
                    <a:lnTo>
                      <a:pt x="191" y="198"/>
                    </a:lnTo>
                    <a:lnTo>
                      <a:pt x="194" y="197"/>
                    </a:lnTo>
                    <a:lnTo>
                      <a:pt x="195" y="196"/>
                    </a:lnTo>
                    <a:lnTo>
                      <a:pt x="195" y="193"/>
                    </a:lnTo>
                    <a:lnTo>
                      <a:pt x="194" y="191"/>
                    </a:lnTo>
                    <a:lnTo>
                      <a:pt x="190" y="190"/>
                    </a:lnTo>
                    <a:lnTo>
                      <a:pt x="190" y="186"/>
                    </a:lnTo>
                    <a:lnTo>
                      <a:pt x="190" y="185"/>
                    </a:lnTo>
                    <a:lnTo>
                      <a:pt x="193" y="183"/>
                    </a:lnTo>
                    <a:lnTo>
                      <a:pt x="193" y="184"/>
                    </a:lnTo>
                    <a:lnTo>
                      <a:pt x="193" y="186"/>
                    </a:lnTo>
                    <a:close/>
                    <a:moveTo>
                      <a:pt x="165" y="292"/>
                    </a:moveTo>
                    <a:lnTo>
                      <a:pt x="173" y="296"/>
                    </a:lnTo>
                    <a:lnTo>
                      <a:pt x="178" y="301"/>
                    </a:lnTo>
                    <a:lnTo>
                      <a:pt x="179" y="301"/>
                    </a:lnTo>
                    <a:lnTo>
                      <a:pt x="180" y="299"/>
                    </a:lnTo>
                    <a:lnTo>
                      <a:pt x="179" y="297"/>
                    </a:lnTo>
                    <a:lnTo>
                      <a:pt x="182" y="299"/>
                    </a:lnTo>
                    <a:lnTo>
                      <a:pt x="182" y="302"/>
                    </a:lnTo>
                    <a:lnTo>
                      <a:pt x="183" y="303"/>
                    </a:lnTo>
                    <a:lnTo>
                      <a:pt x="184" y="303"/>
                    </a:lnTo>
                    <a:lnTo>
                      <a:pt x="186" y="302"/>
                    </a:lnTo>
                    <a:lnTo>
                      <a:pt x="184" y="300"/>
                    </a:lnTo>
                    <a:lnTo>
                      <a:pt x="184" y="299"/>
                    </a:lnTo>
                    <a:lnTo>
                      <a:pt x="188" y="302"/>
                    </a:lnTo>
                    <a:lnTo>
                      <a:pt x="188" y="303"/>
                    </a:lnTo>
                    <a:lnTo>
                      <a:pt x="190" y="304"/>
                    </a:lnTo>
                    <a:lnTo>
                      <a:pt x="183" y="305"/>
                    </a:lnTo>
                    <a:lnTo>
                      <a:pt x="181" y="307"/>
                    </a:lnTo>
                    <a:lnTo>
                      <a:pt x="174" y="303"/>
                    </a:lnTo>
                    <a:lnTo>
                      <a:pt x="173" y="301"/>
                    </a:lnTo>
                    <a:lnTo>
                      <a:pt x="168" y="298"/>
                    </a:lnTo>
                    <a:lnTo>
                      <a:pt x="164" y="292"/>
                    </a:lnTo>
                    <a:lnTo>
                      <a:pt x="163" y="291"/>
                    </a:lnTo>
                    <a:lnTo>
                      <a:pt x="164" y="291"/>
                    </a:lnTo>
                    <a:lnTo>
                      <a:pt x="165" y="292"/>
                    </a:lnTo>
                    <a:close/>
                    <a:moveTo>
                      <a:pt x="242" y="46"/>
                    </a:moveTo>
                    <a:lnTo>
                      <a:pt x="241" y="47"/>
                    </a:lnTo>
                    <a:lnTo>
                      <a:pt x="234" y="48"/>
                    </a:lnTo>
                    <a:lnTo>
                      <a:pt x="233" y="49"/>
                    </a:lnTo>
                    <a:lnTo>
                      <a:pt x="234" y="50"/>
                    </a:lnTo>
                    <a:lnTo>
                      <a:pt x="233" y="52"/>
                    </a:lnTo>
                    <a:lnTo>
                      <a:pt x="229" y="54"/>
                    </a:lnTo>
                    <a:lnTo>
                      <a:pt x="230" y="55"/>
                    </a:lnTo>
                    <a:lnTo>
                      <a:pt x="224" y="55"/>
                    </a:lnTo>
                    <a:lnTo>
                      <a:pt x="224" y="54"/>
                    </a:lnTo>
                    <a:lnTo>
                      <a:pt x="217" y="52"/>
                    </a:lnTo>
                    <a:lnTo>
                      <a:pt x="217" y="51"/>
                    </a:lnTo>
                    <a:lnTo>
                      <a:pt x="220" y="49"/>
                    </a:lnTo>
                    <a:lnTo>
                      <a:pt x="221" y="48"/>
                    </a:lnTo>
                    <a:lnTo>
                      <a:pt x="221" y="47"/>
                    </a:lnTo>
                    <a:lnTo>
                      <a:pt x="240" y="44"/>
                    </a:lnTo>
                    <a:lnTo>
                      <a:pt x="242" y="46"/>
                    </a:lnTo>
                    <a:close/>
                    <a:moveTo>
                      <a:pt x="140" y="301"/>
                    </a:moveTo>
                    <a:lnTo>
                      <a:pt x="142" y="301"/>
                    </a:lnTo>
                    <a:lnTo>
                      <a:pt x="147" y="303"/>
                    </a:lnTo>
                    <a:lnTo>
                      <a:pt x="146" y="304"/>
                    </a:lnTo>
                    <a:lnTo>
                      <a:pt x="141" y="303"/>
                    </a:lnTo>
                    <a:lnTo>
                      <a:pt x="139" y="301"/>
                    </a:lnTo>
                    <a:lnTo>
                      <a:pt x="140" y="301"/>
                    </a:lnTo>
                    <a:close/>
                    <a:moveTo>
                      <a:pt x="25" y="240"/>
                    </a:moveTo>
                    <a:lnTo>
                      <a:pt x="26" y="244"/>
                    </a:lnTo>
                    <a:lnTo>
                      <a:pt x="28" y="243"/>
                    </a:lnTo>
                    <a:lnTo>
                      <a:pt x="29" y="244"/>
                    </a:lnTo>
                    <a:lnTo>
                      <a:pt x="28" y="248"/>
                    </a:lnTo>
                    <a:lnTo>
                      <a:pt x="30" y="253"/>
                    </a:lnTo>
                    <a:lnTo>
                      <a:pt x="28" y="253"/>
                    </a:lnTo>
                    <a:lnTo>
                      <a:pt x="27" y="252"/>
                    </a:lnTo>
                    <a:lnTo>
                      <a:pt x="23" y="246"/>
                    </a:lnTo>
                    <a:lnTo>
                      <a:pt x="21" y="241"/>
                    </a:lnTo>
                    <a:lnTo>
                      <a:pt x="23" y="239"/>
                    </a:lnTo>
                    <a:lnTo>
                      <a:pt x="24" y="239"/>
                    </a:lnTo>
                    <a:lnTo>
                      <a:pt x="25" y="240"/>
                    </a:lnTo>
                    <a:close/>
                    <a:moveTo>
                      <a:pt x="259" y="292"/>
                    </a:moveTo>
                    <a:lnTo>
                      <a:pt x="261" y="292"/>
                    </a:lnTo>
                    <a:lnTo>
                      <a:pt x="263" y="295"/>
                    </a:lnTo>
                    <a:lnTo>
                      <a:pt x="259" y="295"/>
                    </a:lnTo>
                    <a:lnTo>
                      <a:pt x="256" y="296"/>
                    </a:lnTo>
                    <a:lnTo>
                      <a:pt x="255" y="295"/>
                    </a:lnTo>
                    <a:lnTo>
                      <a:pt x="257" y="293"/>
                    </a:lnTo>
                    <a:lnTo>
                      <a:pt x="257" y="292"/>
                    </a:lnTo>
                    <a:lnTo>
                      <a:pt x="259" y="292"/>
                    </a:lnTo>
                    <a:close/>
                    <a:moveTo>
                      <a:pt x="268" y="290"/>
                    </a:moveTo>
                    <a:lnTo>
                      <a:pt x="271" y="291"/>
                    </a:lnTo>
                    <a:lnTo>
                      <a:pt x="269" y="293"/>
                    </a:lnTo>
                    <a:lnTo>
                      <a:pt x="268" y="293"/>
                    </a:lnTo>
                    <a:lnTo>
                      <a:pt x="266" y="292"/>
                    </a:lnTo>
                    <a:lnTo>
                      <a:pt x="266" y="291"/>
                    </a:lnTo>
                    <a:lnTo>
                      <a:pt x="268" y="290"/>
                    </a:lnTo>
                    <a:close/>
                    <a:moveTo>
                      <a:pt x="277" y="108"/>
                    </a:moveTo>
                    <a:lnTo>
                      <a:pt x="271" y="112"/>
                    </a:lnTo>
                    <a:lnTo>
                      <a:pt x="267" y="109"/>
                    </a:lnTo>
                    <a:lnTo>
                      <a:pt x="267" y="108"/>
                    </a:lnTo>
                    <a:lnTo>
                      <a:pt x="278" y="106"/>
                    </a:lnTo>
                    <a:lnTo>
                      <a:pt x="277" y="108"/>
                    </a:lnTo>
                    <a:close/>
                    <a:moveTo>
                      <a:pt x="292" y="205"/>
                    </a:moveTo>
                    <a:lnTo>
                      <a:pt x="292" y="209"/>
                    </a:lnTo>
                    <a:lnTo>
                      <a:pt x="291" y="210"/>
                    </a:lnTo>
                    <a:lnTo>
                      <a:pt x="290" y="209"/>
                    </a:lnTo>
                    <a:lnTo>
                      <a:pt x="287" y="208"/>
                    </a:lnTo>
                    <a:lnTo>
                      <a:pt x="291" y="205"/>
                    </a:lnTo>
                    <a:lnTo>
                      <a:pt x="292" y="205"/>
                    </a:lnTo>
                    <a:close/>
                    <a:moveTo>
                      <a:pt x="365" y="220"/>
                    </a:moveTo>
                    <a:lnTo>
                      <a:pt x="365" y="225"/>
                    </a:lnTo>
                    <a:lnTo>
                      <a:pt x="364" y="225"/>
                    </a:lnTo>
                    <a:lnTo>
                      <a:pt x="361" y="222"/>
                    </a:lnTo>
                    <a:lnTo>
                      <a:pt x="361" y="220"/>
                    </a:lnTo>
                    <a:lnTo>
                      <a:pt x="364" y="217"/>
                    </a:lnTo>
                    <a:lnTo>
                      <a:pt x="365" y="218"/>
                    </a:lnTo>
                    <a:lnTo>
                      <a:pt x="365" y="220"/>
                    </a:lnTo>
                    <a:close/>
                    <a:moveTo>
                      <a:pt x="64" y="86"/>
                    </a:moveTo>
                    <a:lnTo>
                      <a:pt x="63" y="92"/>
                    </a:lnTo>
                    <a:lnTo>
                      <a:pt x="60" y="91"/>
                    </a:lnTo>
                    <a:lnTo>
                      <a:pt x="59" y="91"/>
                    </a:lnTo>
                    <a:lnTo>
                      <a:pt x="59" y="97"/>
                    </a:lnTo>
                    <a:lnTo>
                      <a:pt x="62" y="98"/>
                    </a:lnTo>
                    <a:lnTo>
                      <a:pt x="62" y="100"/>
                    </a:lnTo>
                    <a:lnTo>
                      <a:pt x="58" y="105"/>
                    </a:lnTo>
                    <a:lnTo>
                      <a:pt x="55" y="108"/>
                    </a:lnTo>
                    <a:lnTo>
                      <a:pt x="52" y="111"/>
                    </a:lnTo>
                    <a:lnTo>
                      <a:pt x="52" y="112"/>
                    </a:lnTo>
                    <a:lnTo>
                      <a:pt x="44" y="112"/>
                    </a:lnTo>
                    <a:lnTo>
                      <a:pt x="43" y="112"/>
                    </a:lnTo>
                    <a:lnTo>
                      <a:pt x="40" y="107"/>
                    </a:lnTo>
                    <a:lnTo>
                      <a:pt x="36" y="106"/>
                    </a:lnTo>
                    <a:lnTo>
                      <a:pt x="34" y="107"/>
                    </a:lnTo>
                    <a:lnTo>
                      <a:pt x="34" y="105"/>
                    </a:lnTo>
                    <a:lnTo>
                      <a:pt x="37" y="103"/>
                    </a:lnTo>
                    <a:lnTo>
                      <a:pt x="36" y="102"/>
                    </a:lnTo>
                    <a:lnTo>
                      <a:pt x="41" y="101"/>
                    </a:lnTo>
                    <a:lnTo>
                      <a:pt x="44" y="98"/>
                    </a:lnTo>
                    <a:lnTo>
                      <a:pt x="45" y="98"/>
                    </a:lnTo>
                    <a:lnTo>
                      <a:pt x="44" y="97"/>
                    </a:lnTo>
                    <a:lnTo>
                      <a:pt x="42" y="97"/>
                    </a:lnTo>
                    <a:lnTo>
                      <a:pt x="44" y="95"/>
                    </a:lnTo>
                    <a:lnTo>
                      <a:pt x="43" y="91"/>
                    </a:lnTo>
                    <a:lnTo>
                      <a:pt x="56" y="89"/>
                    </a:lnTo>
                    <a:lnTo>
                      <a:pt x="58" y="88"/>
                    </a:lnTo>
                    <a:lnTo>
                      <a:pt x="59" y="85"/>
                    </a:lnTo>
                    <a:lnTo>
                      <a:pt x="63" y="85"/>
                    </a:lnTo>
                    <a:lnTo>
                      <a:pt x="64" y="82"/>
                    </a:lnTo>
                    <a:lnTo>
                      <a:pt x="65" y="82"/>
                    </a:lnTo>
                    <a:lnTo>
                      <a:pt x="64" y="86"/>
                    </a:lnTo>
                    <a:close/>
                    <a:moveTo>
                      <a:pt x="326" y="284"/>
                    </a:moveTo>
                    <a:lnTo>
                      <a:pt x="329" y="286"/>
                    </a:lnTo>
                    <a:lnTo>
                      <a:pt x="341" y="286"/>
                    </a:lnTo>
                    <a:lnTo>
                      <a:pt x="345" y="290"/>
                    </a:lnTo>
                    <a:lnTo>
                      <a:pt x="347" y="292"/>
                    </a:lnTo>
                    <a:lnTo>
                      <a:pt x="347" y="294"/>
                    </a:lnTo>
                    <a:lnTo>
                      <a:pt x="345" y="295"/>
                    </a:lnTo>
                    <a:lnTo>
                      <a:pt x="336" y="293"/>
                    </a:lnTo>
                    <a:lnTo>
                      <a:pt x="330" y="293"/>
                    </a:lnTo>
                    <a:lnTo>
                      <a:pt x="327" y="294"/>
                    </a:lnTo>
                    <a:lnTo>
                      <a:pt x="326" y="295"/>
                    </a:lnTo>
                    <a:lnTo>
                      <a:pt x="322" y="299"/>
                    </a:lnTo>
                    <a:lnTo>
                      <a:pt x="320" y="301"/>
                    </a:lnTo>
                    <a:lnTo>
                      <a:pt x="317" y="301"/>
                    </a:lnTo>
                    <a:lnTo>
                      <a:pt x="313" y="299"/>
                    </a:lnTo>
                    <a:lnTo>
                      <a:pt x="312" y="298"/>
                    </a:lnTo>
                    <a:lnTo>
                      <a:pt x="312" y="297"/>
                    </a:lnTo>
                    <a:lnTo>
                      <a:pt x="315" y="295"/>
                    </a:lnTo>
                    <a:lnTo>
                      <a:pt x="313" y="294"/>
                    </a:lnTo>
                    <a:lnTo>
                      <a:pt x="313" y="292"/>
                    </a:lnTo>
                    <a:lnTo>
                      <a:pt x="317" y="292"/>
                    </a:lnTo>
                    <a:lnTo>
                      <a:pt x="317" y="291"/>
                    </a:lnTo>
                    <a:lnTo>
                      <a:pt x="318" y="291"/>
                    </a:lnTo>
                    <a:lnTo>
                      <a:pt x="323" y="291"/>
                    </a:lnTo>
                    <a:lnTo>
                      <a:pt x="325" y="291"/>
                    </a:lnTo>
                    <a:lnTo>
                      <a:pt x="326" y="286"/>
                    </a:lnTo>
                    <a:lnTo>
                      <a:pt x="325" y="285"/>
                    </a:lnTo>
                    <a:lnTo>
                      <a:pt x="323" y="284"/>
                    </a:lnTo>
                    <a:lnTo>
                      <a:pt x="326" y="284"/>
                    </a:lnTo>
                    <a:close/>
                    <a:moveTo>
                      <a:pt x="131" y="281"/>
                    </a:moveTo>
                    <a:lnTo>
                      <a:pt x="136" y="283"/>
                    </a:lnTo>
                    <a:lnTo>
                      <a:pt x="141" y="286"/>
                    </a:lnTo>
                    <a:lnTo>
                      <a:pt x="146" y="289"/>
                    </a:lnTo>
                    <a:lnTo>
                      <a:pt x="151" y="294"/>
                    </a:lnTo>
                    <a:lnTo>
                      <a:pt x="154" y="301"/>
                    </a:lnTo>
                    <a:lnTo>
                      <a:pt x="148" y="303"/>
                    </a:lnTo>
                    <a:lnTo>
                      <a:pt x="140" y="298"/>
                    </a:lnTo>
                    <a:lnTo>
                      <a:pt x="137" y="301"/>
                    </a:lnTo>
                    <a:lnTo>
                      <a:pt x="133" y="299"/>
                    </a:lnTo>
                    <a:lnTo>
                      <a:pt x="132" y="298"/>
                    </a:lnTo>
                    <a:lnTo>
                      <a:pt x="130" y="292"/>
                    </a:lnTo>
                    <a:lnTo>
                      <a:pt x="131" y="292"/>
                    </a:lnTo>
                    <a:lnTo>
                      <a:pt x="133" y="293"/>
                    </a:lnTo>
                    <a:lnTo>
                      <a:pt x="135" y="295"/>
                    </a:lnTo>
                    <a:lnTo>
                      <a:pt x="136" y="296"/>
                    </a:lnTo>
                    <a:lnTo>
                      <a:pt x="137" y="295"/>
                    </a:lnTo>
                    <a:lnTo>
                      <a:pt x="137" y="292"/>
                    </a:lnTo>
                    <a:lnTo>
                      <a:pt x="132" y="291"/>
                    </a:lnTo>
                    <a:lnTo>
                      <a:pt x="133" y="289"/>
                    </a:lnTo>
                    <a:lnTo>
                      <a:pt x="128" y="288"/>
                    </a:lnTo>
                    <a:lnTo>
                      <a:pt x="124" y="286"/>
                    </a:lnTo>
                    <a:lnTo>
                      <a:pt x="123" y="285"/>
                    </a:lnTo>
                    <a:lnTo>
                      <a:pt x="125" y="285"/>
                    </a:lnTo>
                    <a:lnTo>
                      <a:pt x="125" y="284"/>
                    </a:lnTo>
                    <a:lnTo>
                      <a:pt x="121" y="284"/>
                    </a:lnTo>
                    <a:lnTo>
                      <a:pt x="120" y="283"/>
                    </a:lnTo>
                    <a:lnTo>
                      <a:pt x="121" y="283"/>
                    </a:lnTo>
                    <a:lnTo>
                      <a:pt x="125" y="280"/>
                    </a:lnTo>
                    <a:lnTo>
                      <a:pt x="131" y="281"/>
                    </a:lnTo>
                    <a:close/>
                    <a:moveTo>
                      <a:pt x="222" y="274"/>
                    </a:moveTo>
                    <a:lnTo>
                      <a:pt x="218" y="287"/>
                    </a:lnTo>
                    <a:lnTo>
                      <a:pt x="213" y="294"/>
                    </a:lnTo>
                    <a:lnTo>
                      <a:pt x="204" y="317"/>
                    </a:lnTo>
                    <a:lnTo>
                      <a:pt x="202" y="317"/>
                    </a:lnTo>
                    <a:lnTo>
                      <a:pt x="201" y="317"/>
                    </a:lnTo>
                    <a:lnTo>
                      <a:pt x="200" y="309"/>
                    </a:lnTo>
                    <a:lnTo>
                      <a:pt x="199" y="308"/>
                    </a:lnTo>
                    <a:lnTo>
                      <a:pt x="196" y="307"/>
                    </a:lnTo>
                    <a:lnTo>
                      <a:pt x="196" y="306"/>
                    </a:lnTo>
                    <a:lnTo>
                      <a:pt x="199" y="306"/>
                    </a:lnTo>
                    <a:lnTo>
                      <a:pt x="200" y="305"/>
                    </a:lnTo>
                    <a:lnTo>
                      <a:pt x="200" y="303"/>
                    </a:lnTo>
                    <a:lnTo>
                      <a:pt x="204" y="301"/>
                    </a:lnTo>
                    <a:lnTo>
                      <a:pt x="204" y="299"/>
                    </a:lnTo>
                    <a:lnTo>
                      <a:pt x="201" y="298"/>
                    </a:lnTo>
                    <a:lnTo>
                      <a:pt x="205" y="292"/>
                    </a:lnTo>
                    <a:lnTo>
                      <a:pt x="215" y="284"/>
                    </a:lnTo>
                    <a:lnTo>
                      <a:pt x="215" y="283"/>
                    </a:lnTo>
                    <a:lnTo>
                      <a:pt x="216" y="279"/>
                    </a:lnTo>
                    <a:lnTo>
                      <a:pt x="218" y="274"/>
                    </a:lnTo>
                    <a:lnTo>
                      <a:pt x="221" y="272"/>
                    </a:lnTo>
                    <a:lnTo>
                      <a:pt x="222" y="274"/>
                    </a:lnTo>
                    <a:close/>
                    <a:moveTo>
                      <a:pt x="525" y="258"/>
                    </a:moveTo>
                    <a:lnTo>
                      <a:pt x="527" y="260"/>
                    </a:lnTo>
                    <a:lnTo>
                      <a:pt x="530" y="262"/>
                    </a:lnTo>
                    <a:lnTo>
                      <a:pt x="540" y="266"/>
                    </a:lnTo>
                    <a:lnTo>
                      <a:pt x="543" y="271"/>
                    </a:lnTo>
                    <a:lnTo>
                      <a:pt x="545" y="271"/>
                    </a:lnTo>
                    <a:lnTo>
                      <a:pt x="551" y="272"/>
                    </a:lnTo>
                    <a:lnTo>
                      <a:pt x="553" y="274"/>
                    </a:lnTo>
                    <a:lnTo>
                      <a:pt x="553" y="275"/>
                    </a:lnTo>
                    <a:lnTo>
                      <a:pt x="553" y="277"/>
                    </a:lnTo>
                    <a:lnTo>
                      <a:pt x="553" y="279"/>
                    </a:lnTo>
                    <a:lnTo>
                      <a:pt x="552" y="283"/>
                    </a:lnTo>
                    <a:lnTo>
                      <a:pt x="551" y="284"/>
                    </a:lnTo>
                    <a:lnTo>
                      <a:pt x="551" y="286"/>
                    </a:lnTo>
                    <a:lnTo>
                      <a:pt x="548" y="289"/>
                    </a:lnTo>
                    <a:lnTo>
                      <a:pt x="544" y="289"/>
                    </a:lnTo>
                    <a:lnTo>
                      <a:pt x="519" y="280"/>
                    </a:lnTo>
                    <a:lnTo>
                      <a:pt x="518" y="279"/>
                    </a:lnTo>
                    <a:lnTo>
                      <a:pt x="517" y="277"/>
                    </a:lnTo>
                    <a:lnTo>
                      <a:pt x="518" y="273"/>
                    </a:lnTo>
                    <a:lnTo>
                      <a:pt x="518" y="272"/>
                    </a:lnTo>
                    <a:lnTo>
                      <a:pt x="516" y="271"/>
                    </a:lnTo>
                    <a:lnTo>
                      <a:pt x="518" y="267"/>
                    </a:lnTo>
                    <a:lnTo>
                      <a:pt x="519" y="265"/>
                    </a:lnTo>
                    <a:lnTo>
                      <a:pt x="519" y="262"/>
                    </a:lnTo>
                    <a:lnTo>
                      <a:pt x="521" y="260"/>
                    </a:lnTo>
                    <a:lnTo>
                      <a:pt x="521" y="258"/>
                    </a:lnTo>
                    <a:lnTo>
                      <a:pt x="524" y="256"/>
                    </a:lnTo>
                    <a:lnTo>
                      <a:pt x="525" y="258"/>
                    </a:lnTo>
                    <a:close/>
                  </a:path>
                </a:pathLst>
              </a:custGeom>
              <a:solidFill>
                <a:schemeClr val="tx1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56" name="Germany">
                <a:extLst>
                  <a:ext uri="{FF2B5EF4-FFF2-40B4-BE49-F238E27FC236}">
                    <a16:creationId xmlns:a16="http://schemas.microsoft.com/office/drawing/2014/main" id="{9BA99E06-6B71-4EA8-8F7F-0F9CC4695E80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4351127" y="2872675"/>
                <a:ext cx="805003" cy="1050175"/>
              </a:xfrm>
              <a:custGeom>
                <a:avLst/>
                <a:gdLst>
                  <a:gd name="T0" fmla="*/ 630 w 717"/>
                  <a:gd name="T1" fmla="*/ 108 h 821"/>
                  <a:gd name="T2" fmla="*/ 654 w 717"/>
                  <a:gd name="T3" fmla="*/ 125 h 821"/>
                  <a:gd name="T4" fmla="*/ 94 w 717"/>
                  <a:gd name="T5" fmla="*/ 145 h 821"/>
                  <a:gd name="T6" fmla="*/ 63 w 717"/>
                  <a:gd name="T7" fmla="*/ 153 h 821"/>
                  <a:gd name="T8" fmla="*/ 83 w 717"/>
                  <a:gd name="T9" fmla="*/ 149 h 821"/>
                  <a:gd name="T10" fmla="*/ 273 w 717"/>
                  <a:gd name="T11" fmla="*/ 26 h 821"/>
                  <a:gd name="T12" fmla="*/ 319 w 717"/>
                  <a:gd name="T13" fmla="*/ 40 h 821"/>
                  <a:gd name="T14" fmla="*/ 346 w 717"/>
                  <a:gd name="T15" fmla="*/ 67 h 821"/>
                  <a:gd name="T16" fmla="*/ 383 w 717"/>
                  <a:gd name="T17" fmla="*/ 106 h 821"/>
                  <a:gd name="T18" fmla="*/ 447 w 717"/>
                  <a:gd name="T19" fmla="*/ 108 h 821"/>
                  <a:gd name="T20" fmla="*/ 506 w 717"/>
                  <a:gd name="T21" fmla="*/ 80 h 821"/>
                  <a:gd name="T22" fmla="*/ 513 w 717"/>
                  <a:gd name="T23" fmla="*/ 72 h 821"/>
                  <a:gd name="T24" fmla="*/ 533 w 717"/>
                  <a:gd name="T25" fmla="*/ 72 h 821"/>
                  <a:gd name="T26" fmla="*/ 580 w 717"/>
                  <a:gd name="T27" fmla="*/ 87 h 821"/>
                  <a:gd name="T28" fmla="*/ 625 w 717"/>
                  <a:gd name="T29" fmla="*/ 122 h 821"/>
                  <a:gd name="T30" fmla="*/ 661 w 717"/>
                  <a:gd name="T31" fmla="*/ 161 h 821"/>
                  <a:gd name="T32" fmla="*/ 647 w 717"/>
                  <a:gd name="T33" fmla="*/ 235 h 821"/>
                  <a:gd name="T34" fmla="*/ 694 w 717"/>
                  <a:gd name="T35" fmla="*/ 317 h 821"/>
                  <a:gd name="T36" fmla="*/ 711 w 717"/>
                  <a:gd name="T37" fmla="*/ 386 h 821"/>
                  <a:gd name="T38" fmla="*/ 685 w 717"/>
                  <a:gd name="T39" fmla="*/ 443 h 821"/>
                  <a:gd name="T40" fmla="*/ 661 w 717"/>
                  <a:gd name="T41" fmla="*/ 434 h 821"/>
                  <a:gd name="T42" fmla="*/ 601 w 717"/>
                  <a:gd name="T43" fmla="*/ 459 h 821"/>
                  <a:gd name="T44" fmla="*/ 543 w 717"/>
                  <a:gd name="T45" fmla="*/ 488 h 821"/>
                  <a:gd name="T46" fmla="*/ 487 w 717"/>
                  <a:gd name="T47" fmla="*/ 500 h 821"/>
                  <a:gd name="T48" fmla="*/ 516 w 717"/>
                  <a:gd name="T49" fmla="*/ 557 h 821"/>
                  <a:gd name="T50" fmla="*/ 550 w 717"/>
                  <a:gd name="T51" fmla="*/ 604 h 821"/>
                  <a:gd name="T52" fmla="*/ 608 w 717"/>
                  <a:gd name="T53" fmla="*/ 648 h 821"/>
                  <a:gd name="T54" fmla="*/ 593 w 717"/>
                  <a:gd name="T55" fmla="*/ 684 h 821"/>
                  <a:gd name="T56" fmla="*/ 551 w 717"/>
                  <a:gd name="T57" fmla="*/ 774 h 821"/>
                  <a:gd name="T58" fmla="*/ 540 w 717"/>
                  <a:gd name="T59" fmla="*/ 779 h 821"/>
                  <a:gd name="T60" fmla="*/ 446 w 717"/>
                  <a:gd name="T61" fmla="*/ 795 h 821"/>
                  <a:gd name="T62" fmla="*/ 371 w 717"/>
                  <a:gd name="T63" fmla="*/ 790 h 821"/>
                  <a:gd name="T64" fmla="*/ 337 w 717"/>
                  <a:gd name="T65" fmla="*/ 809 h 821"/>
                  <a:gd name="T66" fmla="*/ 247 w 717"/>
                  <a:gd name="T67" fmla="*/ 777 h 821"/>
                  <a:gd name="T68" fmla="*/ 204 w 717"/>
                  <a:gd name="T69" fmla="*/ 769 h 821"/>
                  <a:gd name="T70" fmla="*/ 201 w 717"/>
                  <a:gd name="T71" fmla="*/ 789 h 821"/>
                  <a:gd name="T72" fmla="*/ 130 w 717"/>
                  <a:gd name="T73" fmla="*/ 768 h 821"/>
                  <a:gd name="T74" fmla="*/ 175 w 717"/>
                  <a:gd name="T75" fmla="*/ 658 h 821"/>
                  <a:gd name="T76" fmla="*/ 112 w 717"/>
                  <a:gd name="T77" fmla="*/ 627 h 821"/>
                  <a:gd name="T78" fmla="*/ 67 w 717"/>
                  <a:gd name="T79" fmla="*/ 619 h 821"/>
                  <a:gd name="T80" fmla="*/ 45 w 717"/>
                  <a:gd name="T81" fmla="*/ 571 h 821"/>
                  <a:gd name="T82" fmla="*/ 23 w 717"/>
                  <a:gd name="T83" fmla="*/ 536 h 821"/>
                  <a:gd name="T84" fmla="*/ 42 w 717"/>
                  <a:gd name="T85" fmla="*/ 499 h 821"/>
                  <a:gd name="T86" fmla="*/ 13 w 717"/>
                  <a:gd name="T87" fmla="*/ 458 h 821"/>
                  <a:gd name="T88" fmla="*/ 16 w 717"/>
                  <a:gd name="T89" fmla="*/ 416 h 821"/>
                  <a:gd name="T90" fmla="*/ 7 w 717"/>
                  <a:gd name="T91" fmla="*/ 349 h 821"/>
                  <a:gd name="T92" fmla="*/ 76 w 717"/>
                  <a:gd name="T93" fmla="*/ 323 h 821"/>
                  <a:gd name="T94" fmla="*/ 68 w 717"/>
                  <a:gd name="T95" fmla="*/ 257 h 821"/>
                  <a:gd name="T96" fmla="*/ 103 w 717"/>
                  <a:gd name="T97" fmla="*/ 181 h 821"/>
                  <a:gd name="T98" fmla="*/ 177 w 717"/>
                  <a:gd name="T99" fmla="*/ 163 h 821"/>
                  <a:gd name="T100" fmla="*/ 205 w 717"/>
                  <a:gd name="T101" fmla="*/ 167 h 821"/>
                  <a:gd name="T102" fmla="*/ 299 w 717"/>
                  <a:gd name="T103" fmla="*/ 159 h 821"/>
                  <a:gd name="T104" fmla="*/ 239 w 717"/>
                  <a:gd name="T105" fmla="*/ 107 h 821"/>
                  <a:gd name="T106" fmla="*/ 215 w 717"/>
                  <a:gd name="T107" fmla="*/ 75 h 821"/>
                  <a:gd name="T108" fmla="*/ 217 w 717"/>
                  <a:gd name="T109" fmla="*/ 23 h 821"/>
                  <a:gd name="T110" fmla="*/ 198 w 717"/>
                  <a:gd name="T111" fmla="*/ 45 h 821"/>
                  <a:gd name="T112" fmla="*/ 223 w 717"/>
                  <a:gd name="T113" fmla="*/ 56 h 821"/>
                  <a:gd name="T114" fmla="*/ 437 w 717"/>
                  <a:gd name="T115" fmla="*/ 116 h 821"/>
                  <a:gd name="T116" fmla="*/ 571 w 717"/>
                  <a:gd name="T117" fmla="*/ 64 h 821"/>
                  <a:gd name="T118" fmla="*/ 582 w 717"/>
                  <a:gd name="T119" fmla="*/ 57 h 821"/>
                  <a:gd name="T120" fmla="*/ 582 w 717"/>
                  <a:gd name="T121" fmla="*/ 51 h 821"/>
                  <a:gd name="T122" fmla="*/ 615 w 717"/>
                  <a:gd name="T123" fmla="*/ 82 h 821"/>
                  <a:gd name="T124" fmla="*/ 583 w 717"/>
                  <a:gd name="T125" fmla="*/ 86 h 821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717"/>
                  <a:gd name="T190" fmla="*/ 0 h 821"/>
                  <a:gd name="T191" fmla="*/ 717 w 717"/>
                  <a:gd name="T192" fmla="*/ 821 h 821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717" h="821">
                    <a:moveTo>
                      <a:pt x="654" y="125"/>
                    </a:moveTo>
                    <a:lnTo>
                      <a:pt x="653" y="125"/>
                    </a:lnTo>
                    <a:lnTo>
                      <a:pt x="653" y="122"/>
                    </a:lnTo>
                    <a:lnTo>
                      <a:pt x="651" y="120"/>
                    </a:lnTo>
                    <a:lnTo>
                      <a:pt x="653" y="120"/>
                    </a:lnTo>
                    <a:lnTo>
                      <a:pt x="654" y="119"/>
                    </a:lnTo>
                    <a:lnTo>
                      <a:pt x="650" y="117"/>
                    </a:lnTo>
                    <a:lnTo>
                      <a:pt x="649" y="115"/>
                    </a:lnTo>
                    <a:lnTo>
                      <a:pt x="636" y="104"/>
                    </a:lnTo>
                    <a:lnTo>
                      <a:pt x="627" y="101"/>
                    </a:lnTo>
                    <a:lnTo>
                      <a:pt x="622" y="97"/>
                    </a:lnTo>
                    <a:lnTo>
                      <a:pt x="621" y="94"/>
                    </a:lnTo>
                    <a:lnTo>
                      <a:pt x="618" y="94"/>
                    </a:lnTo>
                    <a:lnTo>
                      <a:pt x="617" y="96"/>
                    </a:lnTo>
                    <a:lnTo>
                      <a:pt x="619" y="98"/>
                    </a:lnTo>
                    <a:lnTo>
                      <a:pt x="621" y="101"/>
                    </a:lnTo>
                    <a:lnTo>
                      <a:pt x="622" y="101"/>
                    </a:lnTo>
                    <a:lnTo>
                      <a:pt x="620" y="107"/>
                    </a:lnTo>
                    <a:lnTo>
                      <a:pt x="618" y="108"/>
                    </a:lnTo>
                    <a:lnTo>
                      <a:pt x="618" y="109"/>
                    </a:lnTo>
                    <a:lnTo>
                      <a:pt x="620" y="110"/>
                    </a:lnTo>
                    <a:lnTo>
                      <a:pt x="622" y="108"/>
                    </a:lnTo>
                    <a:lnTo>
                      <a:pt x="625" y="107"/>
                    </a:lnTo>
                    <a:lnTo>
                      <a:pt x="627" y="108"/>
                    </a:lnTo>
                    <a:lnTo>
                      <a:pt x="626" y="108"/>
                    </a:lnTo>
                    <a:lnTo>
                      <a:pt x="626" y="109"/>
                    </a:lnTo>
                    <a:lnTo>
                      <a:pt x="624" y="110"/>
                    </a:lnTo>
                    <a:lnTo>
                      <a:pt x="625" y="112"/>
                    </a:lnTo>
                    <a:lnTo>
                      <a:pt x="628" y="110"/>
                    </a:lnTo>
                    <a:lnTo>
                      <a:pt x="630" y="108"/>
                    </a:lnTo>
                    <a:lnTo>
                      <a:pt x="629" y="107"/>
                    </a:lnTo>
                    <a:lnTo>
                      <a:pt x="630" y="104"/>
                    </a:lnTo>
                    <a:lnTo>
                      <a:pt x="634" y="105"/>
                    </a:lnTo>
                    <a:lnTo>
                      <a:pt x="636" y="108"/>
                    </a:lnTo>
                    <a:lnTo>
                      <a:pt x="637" y="110"/>
                    </a:lnTo>
                    <a:lnTo>
                      <a:pt x="638" y="109"/>
                    </a:lnTo>
                    <a:lnTo>
                      <a:pt x="640" y="110"/>
                    </a:lnTo>
                    <a:lnTo>
                      <a:pt x="640" y="113"/>
                    </a:lnTo>
                    <a:lnTo>
                      <a:pt x="639" y="117"/>
                    </a:lnTo>
                    <a:lnTo>
                      <a:pt x="640" y="118"/>
                    </a:lnTo>
                    <a:lnTo>
                      <a:pt x="637" y="117"/>
                    </a:lnTo>
                    <a:lnTo>
                      <a:pt x="638" y="116"/>
                    </a:lnTo>
                    <a:lnTo>
                      <a:pt x="634" y="115"/>
                    </a:lnTo>
                    <a:lnTo>
                      <a:pt x="633" y="118"/>
                    </a:lnTo>
                    <a:lnTo>
                      <a:pt x="633" y="116"/>
                    </a:lnTo>
                    <a:lnTo>
                      <a:pt x="634" y="114"/>
                    </a:lnTo>
                    <a:lnTo>
                      <a:pt x="633" y="113"/>
                    </a:lnTo>
                    <a:lnTo>
                      <a:pt x="628" y="113"/>
                    </a:lnTo>
                    <a:lnTo>
                      <a:pt x="628" y="114"/>
                    </a:lnTo>
                    <a:lnTo>
                      <a:pt x="631" y="118"/>
                    </a:lnTo>
                    <a:lnTo>
                      <a:pt x="631" y="121"/>
                    </a:lnTo>
                    <a:lnTo>
                      <a:pt x="629" y="124"/>
                    </a:lnTo>
                    <a:lnTo>
                      <a:pt x="623" y="125"/>
                    </a:lnTo>
                    <a:lnTo>
                      <a:pt x="622" y="127"/>
                    </a:lnTo>
                    <a:lnTo>
                      <a:pt x="628" y="128"/>
                    </a:lnTo>
                    <a:lnTo>
                      <a:pt x="635" y="127"/>
                    </a:lnTo>
                    <a:lnTo>
                      <a:pt x="640" y="125"/>
                    </a:lnTo>
                    <a:lnTo>
                      <a:pt x="645" y="125"/>
                    </a:lnTo>
                    <a:lnTo>
                      <a:pt x="651" y="125"/>
                    </a:lnTo>
                    <a:lnTo>
                      <a:pt x="653" y="125"/>
                    </a:lnTo>
                    <a:lnTo>
                      <a:pt x="653" y="126"/>
                    </a:lnTo>
                    <a:lnTo>
                      <a:pt x="654" y="125"/>
                    </a:lnTo>
                    <a:close/>
                    <a:moveTo>
                      <a:pt x="402" y="63"/>
                    </a:moveTo>
                    <a:lnTo>
                      <a:pt x="404" y="58"/>
                    </a:lnTo>
                    <a:lnTo>
                      <a:pt x="407" y="55"/>
                    </a:lnTo>
                    <a:lnTo>
                      <a:pt x="416" y="56"/>
                    </a:lnTo>
                    <a:lnTo>
                      <a:pt x="417" y="58"/>
                    </a:lnTo>
                    <a:lnTo>
                      <a:pt x="421" y="59"/>
                    </a:lnTo>
                    <a:lnTo>
                      <a:pt x="426" y="68"/>
                    </a:lnTo>
                    <a:lnTo>
                      <a:pt x="421" y="68"/>
                    </a:lnTo>
                    <a:lnTo>
                      <a:pt x="418" y="68"/>
                    </a:lnTo>
                    <a:lnTo>
                      <a:pt x="420" y="68"/>
                    </a:lnTo>
                    <a:lnTo>
                      <a:pt x="416" y="67"/>
                    </a:lnTo>
                    <a:lnTo>
                      <a:pt x="415" y="68"/>
                    </a:lnTo>
                    <a:lnTo>
                      <a:pt x="416" y="68"/>
                    </a:lnTo>
                    <a:lnTo>
                      <a:pt x="411" y="68"/>
                    </a:lnTo>
                    <a:lnTo>
                      <a:pt x="410" y="68"/>
                    </a:lnTo>
                    <a:lnTo>
                      <a:pt x="410" y="65"/>
                    </a:lnTo>
                    <a:lnTo>
                      <a:pt x="410" y="64"/>
                    </a:lnTo>
                    <a:lnTo>
                      <a:pt x="405" y="64"/>
                    </a:lnTo>
                    <a:lnTo>
                      <a:pt x="404" y="64"/>
                    </a:lnTo>
                    <a:lnTo>
                      <a:pt x="403" y="64"/>
                    </a:lnTo>
                    <a:lnTo>
                      <a:pt x="403" y="65"/>
                    </a:lnTo>
                    <a:lnTo>
                      <a:pt x="405" y="65"/>
                    </a:lnTo>
                    <a:lnTo>
                      <a:pt x="404" y="65"/>
                    </a:lnTo>
                    <a:lnTo>
                      <a:pt x="402" y="64"/>
                    </a:lnTo>
                    <a:lnTo>
                      <a:pt x="402" y="63"/>
                    </a:lnTo>
                    <a:close/>
                    <a:moveTo>
                      <a:pt x="96" y="145"/>
                    </a:moveTo>
                    <a:lnTo>
                      <a:pt x="79" y="146"/>
                    </a:lnTo>
                    <a:lnTo>
                      <a:pt x="81" y="145"/>
                    </a:lnTo>
                    <a:lnTo>
                      <a:pt x="94" y="145"/>
                    </a:lnTo>
                    <a:lnTo>
                      <a:pt x="96" y="145"/>
                    </a:lnTo>
                    <a:close/>
                    <a:moveTo>
                      <a:pt x="151" y="136"/>
                    </a:moveTo>
                    <a:lnTo>
                      <a:pt x="148" y="137"/>
                    </a:lnTo>
                    <a:lnTo>
                      <a:pt x="143" y="137"/>
                    </a:lnTo>
                    <a:lnTo>
                      <a:pt x="142" y="137"/>
                    </a:lnTo>
                    <a:lnTo>
                      <a:pt x="141" y="137"/>
                    </a:lnTo>
                    <a:lnTo>
                      <a:pt x="142" y="135"/>
                    </a:lnTo>
                    <a:lnTo>
                      <a:pt x="143" y="134"/>
                    </a:lnTo>
                    <a:lnTo>
                      <a:pt x="152" y="134"/>
                    </a:lnTo>
                    <a:lnTo>
                      <a:pt x="152" y="135"/>
                    </a:lnTo>
                    <a:lnTo>
                      <a:pt x="151" y="136"/>
                    </a:lnTo>
                    <a:close/>
                    <a:moveTo>
                      <a:pt x="162" y="134"/>
                    </a:moveTo>
                    <a:lnTo>
                      <a:pt x="158" y="134"/>
                    </a:lnTo>
                    <a:lnTo>
                      <a:pt x="157" y="134"/>
                    </a:lnTo>
                    <a:lnTo>
                      <a:pt x="157" y="135"/>
                    </a:lnTo>
                    <a:lnTo>
                      <a:pt x="155" y="134"/>
                    </a:lnTo>
                    <a:lnTo>
                      <a:pt x="160" y="133"/>
                    </a:lnTo>
                    <a:lnTo>
                      <a:pt x="165" y="135"/>
                    </a:lnTo>
                    <a:lnTo>
                      <a:pt x="162" y="134"/>
                    </a:lnTo>
                    <a:close/>
                    <a:moveTo>
                      <a:pt x="73" y="153"/>
                    </a:moveTo>
                    <a:lnTo>
                      <a:pt x="70" y="154"/>
                    </a:lnTo>
                    <a:lnTo>
                      <a:pt x="68" y="155"/>
                    </a:lnTo>
                    <a:lnTo>
                      <a:pt x="70" y="157"/>
                    </a:lnTo>
                    <a:lnTo>
                      <a:pt x="69" y="158"/>
                    </a:lnTo>
                    <a:lnTo>
                      <a:pt x="68" y="157"/>
                    </a:lnTo>
                    <a:lnTo>
                      <a:pt x="64" y="157"/>
                    </a:lnTo>
                    <a:lnTo>
                      <a:pt x="62" y="155"/>
                    </a:lnTo>
                    <a:lnTo>
                      <a:pt x="63" y="153"/>
                    </a:lnTo>
                    <a:lnTo>
                      <a:pt x="70" y="151"/>
                    </a:lnTo>
                    <a:lnTo>
                      <a:pt x="74" y="153"/>
                    </a:lnTo>
                    <a:lnTo>
                      <a:pt x="73" y="153"/>
                    </a:lnTo>
                    <a:close/>
                    <a:moveTo>
                      <a:pt x="116" y="141"/>
                    </a:moveTo>
                    <a:lnTo>
                      <a:pt x="101" y="143"/>
                    </a:lnTo>
                    <a:lnTo>
                      <a:pt x="100" y="143"/>
                    </a:lnTo>
                    <a:lnTo>
                      <a:pt x="105" y="140"/>
                    </a:lnTo>
                    <a:lnTo>
                      <a:pt x="115" y="140"/>
                    </a:lnTo>
                    <a:lnTo>
                      <a:pt x="116" y="140"/>
                    </a:lnTo>
                    <a:lnTo>
                      <a:pt x="116" y="141"/>
                    </a:lnTo>
                    <a:close/>
                    <a:moveTo>
                      <a:pt x="137" y="139"/>
                    </a:moveTo>
                    <a:lnTo>
                      <a:pt x="129" y="138"/>
                    </a:lnTo>
                    <a:lnTo>
                      <a:pt x="129" y="139"/>
                    </a:lnTo>
                    <a:lnTo>
                      <a:pt x="129" y="140"/>
                    </a:lnTo>
                    <a:lnTo>
                      <a:pt x="128" y="140"/>
                    </a:lnTo>
                    <a:lnTo>
                      <a:pt x="126" y="140"/>
                    </a:lnTo>
                    <a:lnTo>
                      <a:pt x="126" y="139"/>
                    </a:lnTo>
                    <a:lnTo>
                      <a:pt x="126" y="137"/>
                    </a:lnTo>
                    <a:lnTo>
                      <a:pt x="129" y="137"/>
                    </a:lnTo>
                    <a:lnTo>
                      <a:pt x="137" y="137"/>
                    </a:lnTo>
                    <a:lnTo>
                      <a:pt x="138" y="139"/>
                    </a:lnTo>
                    <a:lnTo>
                      <a:pt x="137" y="139"/>
                    </a:lnTo>
                    <a:close/>
                    <a:moveTo>
                      <a:pt x="82" y="149"/>
                    </a:moveTo>
                    <a:lnTo>
                      <a:pt x="81" y="151"/>
                    </a:lnTo>
                    <a:lnTo>
                      <a:pt x="79" y="150"/>
                    </a:lnTo>
                    <a:lnTo>
                      <a:pt x="79" y="149"/>
                    </a:lnTo>
                    <a:lnTo>
                      <a:pt x="80" y="148"/>
                    </a:lnTo>
                    <a:lnTo>
                      <a:pt x="83" y="149"/>
                    </a:lnTo>
                    <a:lnTo>
                      <a:pt x="82" y="149"/>
                    </a:lnTo>
                    <a:close/>
                    <a:moveTo>
                      <a:pt x="189" y="32"/>
                    </a:moveTo>
                    <a:lnTo>
                      <a:pt x="190" y="17"/>
                    </a:lnTo>
                    <a:lnTo>
                      <a:pt x="192" y="12"/>
                    </a:lnTo>
                    <a:lnTo>
                      <a:pt x="196" y="3"/>
                    </a:lnTo>
                    <a:lnTo>
                      <a:pt x="198" y="0"/>
                    </a:lnTo>
                    <a:lnTo>
                      <a:pt x="203" y="1"/>
                    </a:lnTo>
                    <a:lnTo>
                      <a:pt x="198" y="1"/>
                    </a:lnTo>
                    <a:lnTo>
                      <a:pt x="201" y="3"/>
                    </a:lnTo>
                    <a:lnTo>
                      <a:pt x="197" y="7"/>
                    </a:lnTo>
                    <a:lnTo>
                      <a:pt x="195" y="9"/>
                    </a:lnTo>
                    <a:lnTo>
                      <a:pt x="195" y="16"/>
                    </a:lnTo>
                    <a:lnTo>
                      <a:pt x="201" y="19"/>
                    </a:lnTo>
                    <a:lnTo>
                      <a:pt x="209" y="17"/>
                    </a:lnTo>
                    <a:lnTo>
                      <a:pt x="218" y="17"/>
                    </a:lnTo>
                    <a:lnTo>
                      <a:pt x="219" y="15"/>
                    </a:lnTo>
                    <a:lnTo>
                      <a:pt x="222" y="17"/>
                    </a:lnTo>
                    <a:lnTo>
                      <a:pt x="223" y="17"/>
                    </a:lnTo>
                    <a:lnTo>
                      <a:pt x="231" y="15"/>
                    </a:lnTo>
                    <a:lnTo>
                      <a:pt x="241" y="16"/>
                    </a:lnTo>
                    <a:lnTo>
                      <a:pt x="249" y="19"/>
                    </a:lnTo>
                    <a:lnTo>
                      <a:pt x="255" y="20"/>
                    </a:lnTo>
                    <a:lnTo>
                      <a:pt x="263" y="21"/>
                    </a:lnTo>
                    <a:lnTo>
                      <a:pt x="263" y="22"/>
                    </a:lnTo>
                    <a:lnTo>
                      <a:pt x="263" y="23"/>
                    </a:lnTo>
                    <a:lnTo>
                      <a:pt x="263" y="24"/>
                    </a:lnTo>
                    <a:lnTo>
                      <a:pt x="265" y="26"/>
                    </a:lnTo>
                    <a:lnTo>
                      <a:pt x="267" y="26"/>
                    </a:lnTo>
                    <a:lnTo>
                      <a:pt x="272" y="26"/>
                    </a:lnTo>
                    <a:lnTo>
                      <a:pt x="273" y="26"/>
                    </a:lnTo>
                    <a:lnTo>
                      <a:pt x="276" y="23"/>
                    </a:lnTo>
                    <a:lnTo>
                      <a:pt x="280" y="24"/>
                    </a:lnTo>
                    <a:lnTo>
                      <a:pt x="280" y="25"/>
                    </a:lnTo>
                    <a:lnTo>
                      <a:pt x="280" y="27"/>
                    </a:lnTo>
                    <a:lnTo>
                      <a:pt x="283" y="25"/>
                    </a:lnTo>
                    <a:lnTo>
                      <a:pt x="285" y="25"/>
                    </a:lnTo>
                    <a:lnTo>
                      <a:pt x="287" y="23"/>
                    </a:lnTo>
                    <a:lnTo>
                      <a:pt x="289" y="23"/>
                    </a:lnTo>
                    <a:lnTo>
                      <a:pt x="291" y="20"/>
                    </a:lnTo>
                    <a:lnTo>
                      <a:pt x="290" y="23"/>
                    </a:lnTo>
                    <a:lnTo>
                      <a:pt x="291" y="25"/>
                    </a:lnTo>
                    <a:lnTo>
                      <a:pt x="294" y="25"/>
                    </a:lnTo>
                    <a:lnTo>
                      <a:pt x="302" y="26"/>
                    </a:lnTo>
                    <a:lnTo>
                      <a:pt x="307" y="28"/>
                    </a:lnTo>
                    <a:lnTo>
                      <a:pt x="309" y="31"/>
                    </a:lnTo>
                    <a:lnTo>
                      <a:pt x="311" y="32"/>
                    </a:lnTo>
                    <a:lnTo>
                      <a:pt x="313" y="32"/>
                    </a:lnTo>
                    <a:lnTo>
                      <a:pt x="313" y="31"/>
                    </a:lnTo>
                    <a:lnTo>
                      <a:pt x="316" y="31"/>
                    </a:lnTo>
                    <a:lnTo>
                      <a:pt x="315" y="28"/>
                    </a:lnTo>
                    <a:lnTo>
                      <a:pt x="317" y="28"/>
                    </a:lnTo>
                    <a:lnTo>
                      <a:pt x="321" y="31"/>
                    </a:lnTo>
                    <a:lnTo>
                      <a:pt x="322" y="35"/>
                    </a:lnTo>
                    <a:lnTo>
                      <a:pt x="325" y="38"/>
                    </a:lnTo>
                    <a:lnTo>
                      <a:pt x="323" y="38"/>
                    </a:lnTo>
                    <a:lnTo>
                      <a:pt x="322" y="37"/>
                    </a:lnTo>
                    <a:lnTo>
                      <a:pt x="321" y="39"/>
                    </a:lnTo>
                    <a:lnTo>
                      <a:pt x="318" y="40"/>
                    </a:lnTo>
                    <a:lnTo>
                      <a:pt x="318" y="41"/>
                    </a:lnTo>
                    <a:lnTo>
                      <a:pt x="319" y="41"/>
                    </a:lnTo>
                    <a:lnTo>
                      <a:pt x="319" y="40"/>
                    </a:lnTo>
                    <a:lnTo>
                      <a:pt x="322" y="41"/>
                    </a:lnTo>
                    <a:lnTo>
                      <a:pt x="324" y="40"/>
                    </a:lnTo>
                    <a:lnTo>
                      <a:pt x="324" y="41"/>
                    </a:lnTo>
                    <a:lnTo>
                      <a:pt x="327" y="41"/>
                    </a:lnTo>
                    <a:lnTo>
                      <a:pt x="327" y="45"/>
                    </a:lnTo>
                    <a:lnTo>
                      <a:pt x="326" y="48"/>
                    </a:lnTo>
                    <a:lnTo>
                      <a:pt x="326" y="53"/>
                    </a:lnTo>
                    <a:lnTo>
                      <a:pt x="325" y="53"/>
                    </a:lnTo>
                    <a:lnTo>
                      <a:pt x="324" y="56"/>
                    </a:lnTo>
                    <a:lnTo>
                      <a:pt x="321" y="58"/>
                    </a:lnTo>
                    <a:lnTo>
                      <a:pt x="315" y="61"/>
                    </a:lnTo>
                    <a:lnTo>
                      <a:pt x="311" y="61"/>
                    </a:lnTo>
                    <a:lnTo>
                      <a:pt x="311" y="62"/>
                    </a:lnTo>
                    <a:lnTo>
                      <a:pt x="313" y="63"/>
                    </a:lnTo>
                    <a:lnTo>
                      <a:pt x="315" y="64"/>
                    </a:lnTo>
                    <a:lnTo>
                      <a:pt x="318" y="62"/>
                    </a:lnTo>
                    <a:lnTo>
                      <a:pt x="333" y="59"/>
                    </a:lnTo>
                    <a:lnTo>
                      <a:pt x="339" y="63"/>
                    </a:lnTo>
                    <a:lnTo>
                      <a:pt x="337" y="65"/>
                    </a:lnTo>
                    <a:lnTo>
                      <a:pt x="339" y="68"/>
                    </a:lnTo>
                    <a:lnTo>
                      <a:pt x="339" y="70"/>
                    </a:lnTo>
                    <a:lnTo>
                      <a:pt x="337" y="71"/>
                    </a:lnTo>
                    <a:lnTo>
                      <a:pt x="336" y="72"/>
                    </a:lnTo>
                    <a:lnTo>
                      <a:pt x="334" y="72"/>
                    </a:lnTo>
                    <a:lnTo>
                      <a:pt x="335" y="73"/>
                    </a:lnTo>
                    <a:lnTo>
                      <a:pt x="335" y="74"/>
                    </a:lnTo>
                    <a:lnTo>
                      <a:pt x="336" y="76"/>
                    </a:lnTo>
                    <a:lnTo>
                      <a:pt x="335" y="78"/>
                    </a:lnTo>
                    <a:lnTo>
                      <a:pt x="337" y="76"/>
                    </a:lnTo>
                    <a:lnTo>
                      <a:pt x="338" y="74"/>
                    </a:lnTo>
                    <a:lnTo>
                      <a:pt x="342" y="68"/>
                    </a:lnTo>
                    <a:lnTo>
                      <a:pt x="346" y="67"/>
                    </a:lnTo>
                    <a:lnTo>
                      <a:pt x="347" y="65"/>
                    </a:lnTo>
                    <a:lnTo>
                      <a:pt x="349" y="65"/>
                    </a:lnTo>
                    <a:lnTo>
                      <a:pt x="352" y="65"/>
                    </a:lnTo>
                    <a:lnTo>
                      <a:pt x="357" y="68"/>
                    </a:lnTo>
                    <a:lnTo>
                      <a:pt x="371" y="74"/>
                    </a:lnTo>
                    <a:lnTo>
                      <a:pt x="373" y="74"/>
                    </a:lnTo>
                    <a:lnTo>
                      <a:pt x="377" y="78"/>
                    </a:lnTo>
                    <a:lnTo>
                      <a:pt x="379" y="79"/>
                    </a:lnTo>
                    <a:lnTo>
                      <a:pt x="385" y="79"/>
                    </a:lnTo>
                    <a:lnTo>
                      <a:pt x="397" y="71"/>
                    </a:lnTo>
                    <a:lnTo>
                      <a:pt x="398" y="71"/>
                    </a:lnTo>
                    <a:lnTo>
                      <a:pt x="399" y="72"/>
                    </a:lnTo>
                    <a:lnTo>
                      <a:pt x="405" y="72"/>
                    </a:lnTo>
                    <a:lnTo>
                      <a:pt x="408" y="72"/>
                    </a:lnTo>
                    <a:lnTo>
                      <a:pt x="409" y="70"/>
                    </a:lnTo>
                    <a:lnTo>
                      <a:pt x="412" y="70"/>
                    </a:lnTo>
                    <a:lnTo>
                      <a:pt x="412" y="71"/>
                    </a:lnTo>
                    <a:lnTo>
                      <a:pt x="411" y="72"/>
                    </a:lnTo>
                    <a:lnTo>
                      <a:pt x="408" y="74"/>
                    </a:lnTo>
                    <a:lnTo>
                      <a:pt x="407" y="74"/>
                    </a:lnTo>
                    <a:lnTo>
                      <a:pt x="408" y="76"/>
                    </a:lnTo>
                    <a:lnTo>
                      <a:pt x="409" y="82"/>
                    </a:lnTo>
                    <a:lnTo>
                      <a:pt x="408" y="86"/>
                    </a:lnTo>
                    <a:lnTo>
                      <a:pt x="409" y="90"/>
                    </a:lnTo>
                    <a:lnTo>
                      <a:pt x="408" y="91"/>
                    </a:lnTo>
                    <a:lnTo>
                      <a:pt x="406" y="93"/>
                    </a:lnTo>
                    <a:lnTo>
                      <a:pt x="400" y="96"/>
                    </a:lnTo>
                    <a:lnTo>
                      <a:pt x="392" y="102"/>
                    </a:lnTo>
                    <a:lnTo>
                      <a:pt x="386" y="101"/>
                    </a:lnTo>
                    <a:lnTo>
                      <a:pt x="385" y="104"/>
                    </a:lnTo>
                    <a:lnTo>
                      <a:pt x="383" y="106"/>
                    </a:lnTo>
                    <a:lnTo>
                      <a:pt x="382" y="108"/>
                    </a:lnTo>
                    <a:lnTo>
                      <a:pt x="385" y="111"/>
                    </a:lnTo>
                    <a:lnTo>
                      <a:pt x="386" y="112"/>
                    </a:lnTo>
                    <a:lnTo>
                      <a:pt x="391" y="113"/>
                    </a:lnTo>
                    <a:lnTo>
                      <a:pt x="393" y="113"/>
                    </a:lnTo>
                    <a:lnTo>
                      <a:pt x="392" y="116"/>
                    </a:lnTo>
                    <a:lnTo>
                      <a:pt x="394" y="116"/>
                    </a:lnTo>
                    <a:lnTo>
                      <a:pt x="405" y="110"/>
                    </a:lnTo>
                    <a:lnTo>
                      <a:pt x="416" y="110"/>
                    </a:lnTo>
                    <a:lnTo>
                      <a:pt x="417" y="110"/>
                    </a:lnTo>
                    <a:lnTo>
                      <a:pt x="418" y="113"/>
                    </a:lnTo>
                    <a:lnTo>
                      <a:pt x="421" y="114"/>
                    </a:lnTo>
                    <a:lnTo>
                      <a:pt x="421" y="117"/>
                    </a:lnTo>
                    <a:lnTo>
                      <a:pt x="421" y="118"/>
                    </a:lnTo>
                    <a:lnTo>
                      <a:pt x="423" y="119"/>
                    </a:lnTo>
                    <a:lnTo>
                      <a:pt x="426" y="118"/>
                    </a:lnTo>
                    <a:lnTo>
                      <a:pt x="428" y="116"/>
                    </a:lnTo>
                    <a:lnTo>
                      <a:pt x="429" y="118"/>
                    </a:lnTo>
                    <a:lnTo>
                      <a:pt x="433" y="119"/>
                    </a:lnTo>
                    <a:lnTo>
                      <a:pt x="433" y="120"/>
                    </a:lnTo>
                    <a:lnTo>
                      <a:pt x="437" y="122"/>
                    </a:lnTo>
                    <a:lnTo>
                      <a:pt x="437" y="120"/>
                    </a:lnTo>
                    <a:lnTo>
                      <a:pt x="439" y="119"/>
                    </a:lnTo>
                    <a:lnTo>
                      <a:pt x="440" y="116"/>
                    </a:lnTo>
                    <a:lnTo>
                      <a:pt x="438" y="114"/>
                    </a:lnTo>
                    <a:lnTo>
                      <a:pt x="440" y="114"/>
                    </a:lnTo>
                    <a:lnTo>
                      <a:pt x="440" y="112"/>
                    </a:lnTo>
                    <a:lnTo>
                      <a:pt x="443" y="109"/>
                    </a:lnTo>
                    <a:lnTo>
                      <a:pt x="442" y="108"/>
                    </a:lnTo>
                    <a:lnTo>
                      <a:pt x="443" y="108"/>
                    </a:lnTo>
                    <a:lnTo>
                      <a:pt x="445" y="108"/>
                    </a:lnTo>
                    <a:lnTo>
                      <a:pt x="447" y="108"/>
                    </a:lnTo>
                    <a:lnTo>
                      <a:pt x="447" y="107"/>
                    </a:lnTo>
                    <a:lnTo>
                      <a:pt x="447" y="105"/>
                    </a:lnTo>
                    <a:lnTo>
                      <a:pt x="451" y="103"/>
                    </a:lnTo>
                    <a:lnTo>
                      <a:pt x="450" y="101"/>
                    </a:lnTo>
                    <a:lnTo>
                      <a:pt x="445" y="101"/>
                    </a:lnTo>
                    <a:lnTo>
                      <a:pt x="443" y="102"/>
                    </a:lnTo>
                    <a:lnTo>
                      <a:pt x="441" y="107"/>
                    </a:lnTo>
                    <a:lnTo>
                      <a:pt x="443" y="104"/>
                    </a:lnTo>
                    <a:lnTo>
                      <a:pt x="444" y="106"/>
                    </a:lnTo>
                    <a:lnTo>
                      <a:pt x="447" y="102"/>
                    </a:lnTo>
                    <a:lnTo>
                      <a:pt x="450" y="101"/>
                    </a:lnTo>
                    <a:lnTo>
                      <a:pt x="454" y="96"/>
                    </a:lnTo>
                    <a:lnTo>
                      <a:pt x="460" y="95"/>
                    </a:lnTo>
                    <a:lnTo>
                      <a:pt x="467" y="96"/>
                    </a:lnTo>
                    <a:lnTo>
                      <a:pt x="487" y="92"/>
                    </a:lnTo>
                    <a:lnTo>
                      <a:pt x="487" y="94"/>
                    </a:lnTo>
                    <a:lnTo>
                      <a:pt x="487" y="99"/>
                    </a:lnTo>
                    <a:lnTo>
                      <a:pt x="487" y="101"/>
                    </a:lnTo>
                    <a:lnTo>
                      <a:pt x="489" y="101"/>
                    </a:lnTo>
                    <a:lnTo>
                      <a:pt x="487" y="100"/>
                    </a:lnTo>
                    <a:lnTo>
                      <a:pt x="487" y="96"/>
                    </a:lnTo>
                    <a:lnTo>
                      <a:pt x="490" y="94"/>
                    </a:lnTo>
                    <a:lnTo>
                      <a:pt x="490" y="93"/>
                    </a:lnTo>
                    <a:lnTo>
                      <a:pt x="488" y="93"/>
                    </a:lnTo>
                    <a:lnTo>
                      <a:pt x="487" y="93"/>
                    </a:lnTo>
                    <a:lnTo>
                      <a:pt x="488" y="92"/>
                    </a:lnTo>
                    <a:lnTo>
                      <a:pt x="489" y="92"/>
                    </a:lnTo>
                    <a:lnTo>
                      <a:pt x="491" y="90"/>
                    </a:lnTo>
                    <a:lnTo>
                      <a:pt x="495" y="86"/>
                    </a:lnTo>
                    <a:lnTo>
                      <a:pt x="503" y="82"/>
                    </a:lnTo>
                    <a:lnTo>
                      <a:pt x="506" y="80"/>
                    </a:lnTo>
                    <a:lnTo>
                      <a:pt x="512" y="71"/>
                    </a:lnTo>
                    <a:lnTo>
                      <a:pt x="515" y="69"/>
                    </a:lnTo>
                    <a:lnTo>
                      <a:pt x="519" y="62"/>
                    </a:lnTo>
                    <a:lnTo>
                      <a:pt x="521" y="60"/>
                    </a:lnTo>
                    <a:lnTo>
                      <a:pt x="521" y="61"/>
                    </a:lnTo>
                    <a:lnTo>
                      <a:pt x="521" y="62"/>
                    </a:lnTo>
                    <a:lnTo>
                      <a:pt x="523" y="63"/>
                    </a:lnTo>
                    <a:lnTo>
                      <a:pt x="533" y="65"/>
                    </a:lnTo>
                    <a:lnTo>
                      <a:pt x="550" y="65"/>
                    </a:lnTo>
                    <a:lnTo>
                      <a:pt x="551" y="65"/>
                    </a:lnTo>
                    <a:lnTo>
                      <a:pt x="552" y="67"/>
                    </a:lnTo>
                    <a:lnTo>
                      <a:pt x="548" y="68"/>
                    </a:lnTo>
                    <a:lnTo>
                      <a:pt x="545" y="67"/>
                    </a:lnTo>
                    <a:lnTo>
                      <a:pt x="543" y="68"/>
                    </a:lnTo>
                    <a:lnTo>
                      <a:pt x="541" y="68"/>
                    </a:lnTo>
                    <a:lnTo>
                      <a:pt x="539" y="68"/>
                    </a:lnTo>
                    <a:lnTo>
                      <a:pt x="536" y="66"/>
                    </a:lnTo>
                    <a:lnTo>
                      <a:pt x="535" y="65"/>
                    </a:lnTo>
                    <a:lnTo>
                      <a:pt x="533" y="67"/>
                    </a:lnTo>
                    <a:lnTo>
                      <a:pt x="532" y="68"/>
                    </a:lnTo>
                    <a:lnTo>
                      <a:pt x="530" y="67"/>
                    </a:lnTo>
                    <a:lnTo>
                      <a:pt x="528" y="67"/>
                    </a:lnTo>
                    <a:lnTo>
                      <a:pt x="527" y="68"/>
                    </a:lnTo>
                    <a:lnTo>
                      <a:pt x="525" y="69"/>
                    </a:lnTo>
                    <a:lnTo>
                      <a:pt x="525" y="70"/>
                    </a:lnTo>
                    <a:lnTo>
                      <a:pt x="527" y="70"/>
                    </a:lnTo>
                    <a:lnTo>
                      <a:pt x="526" y="71"/>
                    </a:lnTo>
                    <a:lnTo>
                      <a:pt x="523" y="70"/>
                    </a:lnTo>
                    <a:lnTo>
                      <a:pt x="521" y="72"/>
                    </a:lnTo>
                    <a:lnTo>
                      <a:pt x="516" y="70"/>
                    </a:lnTo>
                    <a:lnTo>
                      <a:pt x="513" y="72"/>
                    </a:lnTo>
                    <a:lnTo>
                      <a:pt x="512" y="74"/>
                    </a:lnTo>
                    <a:lnTo>
                      <a:pt x="513" y="75"/>
                    </a:lnTo>
                    <a:lnTo>
                      <a:pt x="510" y="75"/>
                    </a:lnTo>
                    <a:lnTo>
                      <a:pt x="511" y="76"/>
                    </a:lnTo>
                    <a:lnTo>
                      <a:pt x="510" y="78"/>
                    </a:lnTo>
                    <a:lnTo>
                      <a:pt x="508" y="79"/>
                    </a:lnTo>
                    <a:lnTo>
                      <a:pt x="509" y="82"/>
                    </a:lnTo>
                    <a:lnTo>
                      <a:pt x="509" y="84"/>
                    </a:lnTo>
                    <a:lnTo>
                      <a:pt x="511" y="85"/>
                    </a:lnTo>
                    <a:lnTo>
                      <a:pt x="515" y="85"/>
                    </a:lnTo>
                    <a:lnTo>
                      <a:pt x="512" y="84"/>
                    </a:lnTo>
                    <a:lnTo>
                      <a:pt x="512" y="83"/>
                    </a:lnTo>
                    <a:lnTo>
                      <a:pt x="513" y="81"/>
                    </a:lnTo>
                    <a:lnTo>
                      <a:pt x="514" y="80"/>
                    </a:lnTo>
                    <a:lnTo>
                      <a:pt x="517" y="79"/>
                    </a:lnTo>
                    <a:lnTo>
                      <a:pt x="517" y="78"/>
                    </a:lnTo>
                    <a:lnTo>
                      <a:pt x="517" y="76"/>
                    </a:lnTo>
                    <a:lnTo>
                      <a:pt x="522" y="75"/>
                    </a:lnTo>
                    <a:lnTo>
                      <a:pt x="523" y="74"/>
                    </a:lnTo>
                    <a:lnTo>
                      <a:pt x="522" y="73"/>
                    </a:lnTo>
                    <a:lnTo>
                      <a:pt x="524" y="72"/>
                    </a:lnTo>
                    <a:lnTo>
                      <a:pt x="525" y="72"/>
                    </a:lnTo>
                    <a:lnTo>
                      <a:pt x="525" y="74"/>
                    </a:lnTo>
                    <a:lnTo>
                      <a:pt x="526" y="73"/>
                    </a:lnTo>
                    <a:lnTo>
                      <a:pt x="527" y="72"/>
                    </a:lnTo>
                    <a:lnTo>
                      <a:pt x="533" y="70"/>
                    </a:lnTo>
                    <a:lnTo>
                      <a:pt x="532" y="69"/>
                    </a:lnTo>
                    <a:lnTo>
                      <a:pt x="533" y="68"/>
                    </a:lnTo>
                    <a:lnTo>
                      <a:pt x="536" y="68"/>
                    </a:lnTo>
                    <a:lnTo>
                      <a:pt x="534" y="70"/>
                    </a:lnTo>
                    <a:lnTo>
                      <a:pt x="534" y="71"/>
                    </a:lnTo>
                    <a:lnTo>
                      <a:pt x="533" y="72"/>
                    </a:lnTo>
                    <a:lnTo>
                      <a:pt x="536" y="70"/>
                    </a:lnTo>
                    <a:lnTo>
                      <a:pt x="537" y="72"/>
                    </a:lnTo>
                    <a:lnTo>
                      <a:pt x="538" y="72"/>
                    </a:lnTo>
                    <a:lnTo>
                      <a:pt x="540" y="72"/>
                    </a:lnTo>
                    <a:lnTo>
                      <a:pt x="541" y="70"/>
                    </a:lnTo>
                    <a:lnTo>
                      <a:pt x="541" y="72"/>
                    </a:lnTo>
                    <a:lnTo>
                      <a:pt x="543" y="72"/>
                    </a:lnTo>
                    <a:lnTo>
                      <a:pt x="543" y="75"/>
                    </a:lnTo>
                    <a:lnTo>
                      <a:pt x="546" y="74"/>
                    </a:lnTo>
                    <a:lnTo>
                      <a:pt x="549" y="72"/>
                    </a:lnTo>
                    <a:lnTo>
                      <a:pt x="551" y="69"/>
                    </a:lnTo>
                    <a:lnTo>
                      <a:pt x="559" y="65"/>
                    </a:lnTo>
                    <a:lnTo>
                      <a:pt x="560" y="65"/>
                    </a:lnTo>
                    <a:lnTo>
                      <a:pt x="559" y="69"/>
                    </a:lnTo>
                    <a:lnTo>
                      <a:pt x="561" y="71"/>
                    </a:lnTo>
                    <a:lnTo>
                      <a:pt x="564" y="71"/>
                    </a:lnTo>
                    <a:lnTo>
                      <a:pt x="565" y="72"/>
                    </a:lnTo>
                    <a:lnTo>
                      <a:pt x="564" y="74"/>
                    </a:lnTo>
                    <a:lnTo>
                      <a:pt x="564" y="76"/>
                    </a:lnTo>
                    <a:lnTo>
                      <a:pt x="566" y="79"/>
                    </a:lnTo>
                    <a:lnTo>
                      <a:pt x="566" y="80"/>
                    </a:lnTo>
                    <a:lnTo>
                      <a:pt x="567" y="82"/>
                    </a:lnTo>
                    <a:lnTo>
                      <a:pt x="569" y="83"/>
                    </a:lnTo>
                    <a:lnTo>
                      <a:pt x="571" y="82"/>
                    </a:lnTo>
                    <a:lnTo>
                      <a:pt x="571" y="83"/>
                    </a:lnTo>
                    <a:lnTo>
                      <a:pt x="569" y="84"/>
                    </a:lnTo>
                    <a:lnTo>
                      <a:pt x="571" y="84"/>
                    </a:lnTo>
                    <a:lnTo>
                      <a:pt x="572" y="84"/>
                    </a:lnTo>
                    <a:lnTo>
                      <a:pt x="574" y="85"/>
                    </a:lnTo>
                    <a:lnTo>
                      <a:pt x="575" y="86"/>
                    </a:lnTo>
                    <a:lnTo>
                      <a:pt x="579" y="86"/>
                    </a:lnTo>
                    <a:lnTo>
                      <a:pt x="580" y="87"/>
                    </a:lnTo>
                    <a:lnTo>
                      <a:pt x="582" y="90"/>
                    </a:lnTo>
                    <a:lnTo>
                      <a:pt x="583" y="92"/>
                    </a:lnTo>
                    <a:lnTo>
                      <a:pt x="585" y="92"/>
                    </a:lnTo>
                    <a:lnTo>
                      <a:pt x="583" y="94"/>
                    </a:lnTo>
                    <a:lnTo>
                      <a:pt x="588" y="93"/>
                    </a:lnTo>
                    <a:lnTo>
                      <a:pt x="589" y="94"/>
                    </a:lnTo>
                    <a:lnTo>
                      <a:pt x="590" y="94"/>
                    </a:lnTo>
                    <a:lnTo>
                      <a:pt x="588" y="96"/>
                    </a:lnTo>
                    <a:lnTo>
                      <a:pt x="589" y="96"/>
                    </a:lnTo>
                    <a:lnTo>
                      <a:pt x="590" y="95"/>
                    </a:lnTo>
                    <a:lnTo>
                      <a:pt x="592" y="98"/>
                    </a:lnTo>
                    <a:lnTo>
                      <a:pt x="594" y="101"/>
                    </a:lnTo>
                    <a:lnTo>
                      <a:pt x="597" y="102"/>
                    </a:lnTo>
                    <a:lnTo>
                      <a:pt x="598" y="102"/>
                    </a:lnTo>
                    <a:lnTo>
                      <a:pt x="595" y="99"/>
                    </a:lnTo>
                    <a:lnTo>
                      <a:pt x="608" y="96"/>
                    </a:lnTo>
                    <a:lnTo>
                      <a:pt x="614" y="93"/>
                    </a:lnTo>
                    <a:lnTo>
                      <a:pt x="614" y="94"/>
                    </a:lnTo>
                    <a:lnTo>
                      <a:pt x="613" y="96"/>
                    </a:lnTo>
                    <a:lnTo>
                      <a:pt x="617" y="97"/>
                    </a:lnTo>
                    <a:lnTo>
                      <a:pt x="621" y="101"/>
                    </a:lnTo>
                    <a:lnTo>
                      <a:pt x="619" y="105"/>
                    </a:lnTo>
                    <a:lnTo>
                      <a:pt x="619" y="107"/>
                    </a:lnTo>
                    <a:lnTo>
                      <a:pt x="617" y="108"/>
                    </a:lnTo>
                    <a:lnTo>
                      <a:pt x="618" y="109"/>
                    </a:lnTo>
                    <a:lnTo>
                      <a:pt x="618" y="110"/>
                    </a:lnTo>
                    <a:lnTo>
                      <a:pt x="623" y="113"/>
                    </a:lnTo>
                    <a:lnTo>
                      <a:pt x="624" y="115"/>
                    </a:lnTo>
                    <a:lnTo>
                      <a:pt x="624" y="116"/>
                    </a:lnTo>
                    <a:lnTo>
                      <a:pt x="628" y="117"/>
                    </a:lnTo>
                    <a:lnTo>
                      <a:pt x="629" y="120"/>
                    </a:lnTo>
                    <a:lnTo>
                      <a:pt x="625" y="122"/>
                    </a:lnTo>
                    <a:lnTo>
                      <a:pt x="624" y="124"/>
                    </a:lnTo>
                    <a:lnTo>
                      <a:pt x="622" y="125"/>
                    </a:lnTo>
                    <a:lnTo>
                      <a:pt x="621" y="127"/>
                    </a:lnTo>
                    <a:lnTo>
                      <a:pt x="621" y="128"/>
                    </a:lnTo>
                    <a:lnTo>
                      <a:pt x="625" y="128"/>
                    </a:lnTo>
                    <a:lnTo>
                      <a:pt x="628" y="132"/>
                    </a:lnTo>
                    <a:lnTo>
                      <a:pt x="629" y="132"/>
                    </a:lnTo>
                    <a:lnTo>
                      <a:pt x="633" y="135"/>
                    </a:lnTo>
                    <a:lnTo>
                      <a:pt x="637" y="136"/>
                    </a:lnTo>
                    <a:lnTo>
                      <a:pt x="643" y="139"/>
                    </a:lnTo>
                    <a:lnTo>
                      <a:pt x="649" y="139"/>
                    </a:lnTo>
                    <a:lnTo>
                      <a:pt x="651" y="140"/>
                    </a:lnTo>
                    <a:lnTo>
                      <a:pt x="655" y="137"/>
                    </a:lnTo>
                    <a:lnTo>
                      <a:pt x="656" y="137"/>
                    </a:lnTo>
                    <a:lnTo>
                      <a:pt x="657" y="139"/>
                    </a:lnTo>
                    <a:lnTo>
                      <a:pt x="656" y="139"/>
                    </a:lnTo>
                    <a:lnTo>
                      <a:pt x="656" y="140"/>
                    </a:lnTo>
                    <a:lnTo>
                      <a:pt x="653" y="143"/>
                    </a:lnTo>
                    <a:lnTo>
                      <a:pt x="656" y="143"/>
                    </a:lnTo>
                    <a:lnTo>
                      <a:pt x="658" y="143"/>
                    </a:lnTo>
                    <a:lnTo>
                      <a:pt x="659" y="145"/>
                    </a:lnTo>
                    <a:lnTo>
                      <a:pt x="658" y="147"/>
                    </a:lnTo>
                    <a:lnTo>
                      <a:pt x="659" y="147"/>
                    </a:lnTo>
                    <a:lnTo>
                      <a:pt x="659" y="150"/>
                    </a:lnTo>
                    <a:lnTo>
                      <a:pt x="661" y="153"/>
                    </a:lnTo>
                    <a:lnTo>
                      <a:pt x="661" y="157"/>
                    </a:lnTo>
                    <a:lnTo>
                      <a:pt x="660" y="159"/>
                    </a:lnTo>
                    <a:lnTo>
                      <a:pt x="661" y="161"/>
                    </a:lnTo>
                    <a:lnTo>
                      <a:pt x="661" y="163"/>
                    </a:lnTo>
                    <a:lnTo>
                      <a:pt x="664" y="165"/>
                    </a:lnTo>
                    <a:lnTo>
                      <a:pt x="664" y="169"/>
                    </a:lnTo>
                    <a:lnTo>
                      <a:pt x="666" y="169"/>
                    </a:lnTo>
                    <a:lnTo>
                      <a:pt x="666" y="172"/>
                    </a:lnTo>
                    <a:lnTo>
                      <a:pt x="667" y="178"/>
                    </a:lnTo>
                    <a:lnTo>
                      <a:pt x="667" y="179"/>
                    </a:lnTo>
                    <a:lnTo>
                      <a:pt x="669" y="181"/>
                    </a:lnTo>
                    <a:lnTo>
                      <a:pt x="669" y="185"/>
                    </a:lnTo>
                    <a:lnTo>
                      <a:pt x="669" y="188"/>
                    </a:lnTo>
                    <a:lnTo>
                      <a:pt x="671" y="188"/>
                    </a:lnTo>
                    <a:lnTo>
                      <a:pt x="671" y="190"/>
                    </a:lnTo>
                    <a:lnTo>
                      <a:pt x="668" y="194"/>
                    </a:lnTo>
                    <a:lnTo>
                      <a:pt x="667" y="195"/>
                    </a:lnTo>
                    <a:lnTo>
                      <a:pt x="666" y="197"/>
                    </a:lnTo>
                    <a:lnTo>
                      <a:pt x="666" y="200"/>
                    </a:lnTo>
                    <a:lnTo>
                      <a:pt x="667" y="201"/>
                    </a:lnTo>
                    <a:lnTo>
                      <a:pt x="664" y="212"/>
                    </a:lnTo>
                    <a:lnTo>
                      <a:pt x="659" y="215"/>
                    </a:lnTo>
                    <a:lnTo>
                      <a:pt x="658" y="215"/>
                    </a:lnTo>
                    <a:lnTo>
                      <a:pt x="656" y="216"/>
                    </a:lnTo>
                    <a:lnTo>
                      <a:pt x="654" y="218"/>
                    </a:lnTo>
                    <a:lnTo>
                      <a:pt x="651" y="219"/>
                    </a:lnTo>
                    <a:lnTo>
                      <a:pt x="649" y="220"/>
                    </a:lnTo>
                    <a:lnTo>
                      <a:pt x="648" y="221"/>
                    </a:lnTo>
                    <a:lnTo>
                      <a:pt x="647" y="222"/>
                    </a:lnTo>
                    <a:lnTo>
                      <a:pt x="648" y="223"/>
                    </a:lnTo>
                    <a:lnTo>
                      <a:pt x="648" y="225"/>
                    </a:lnTo>
                    <a:lnTo>
                      <a:pt x="649" y="229"/>
                    </a:lnTo>
                    <a:lnTo>
                      <a:pt x="649" y="230"/>
                    </a:lnTo>
                    <a:lnTo>
                      <a:pt x="646" y="233"/>
                    </a:lnTo>
                    <a:lnTo>
                      <a:pt x="647" y="235"/>
                    </a:lnTo>
                    <a:lnTo>
                      <a:pt x="653" y="236"/>
                    </a:lnTo>
                    <a:lnTo>
                      <a:pt x="660" y="242"/>
                    </a:lnTo>
                    <a:lnTo>
                      <a:pt x="664" y="243"/>
                    </a:lnTo>
                    <a:lnTo>
                      <a:pt x="673" y="253"/>
                    </a:lnTo>
                    <a:lnTo>
                      <a:pt x="682" y="258"/>
                    </a:lnTo>
                    <a:lnTo>
                      <a:pt x="686" y="262"/>
                    </a:lnTo>
                    <a:lnTo>
                      <a:pt x="685" y="264"/>
                    </a:lnTo>
                    <a:lnTo>
                      <a:pt x="684" y="267"/>
                    </a:lnTo>
                    <a:lnTo>
                      <a:pt x="684" y="268"/>
                    </a:lnTo>
                    <a:lnTo>
                      <a:pt x="686" y="270"/>
                    </a:lnTo>
                    <a:lnTo>
                      <a:pt x="681" y="276"/>
                    </a:lnTo>
                    <a:lnTo>
                      <a:pt x="679" y="277"/>
                    </a:lnTo>
                    <a:lnTo>
                      <a:pt x="678" y="281"/>
                    </a:lnTo>
                    <a:lnTo>
                      <a:pt x="679" y="282"/>
                    </a:lnTo>
                    <a:lnTo>
                      <a:pt x="680" y="288"/>
                    </a:lnTo>
                    <a:lnTo>
                      <a:pt x="682" y="291"/>
                    </a:lnTo>
                    <a:lnTo>
                      <a:pt x="681" y="292"/>
                    </a:lnTo>
                    <a:lnTo>
                      <a:pt x="682" y="293"/>
                    </a:lnTo>
                    <a:lnTo>
                      <a:pt x="691" y="296"/>
                    </a:lnTo>
                    <a:lnTo>
                      <a:pt x="692" y="297"/>
                    </a:lnTo>
                    <a:lnTo>
                      <a:pt x="692" y="299"/>
                    </a:lnTo>
                    <a:lnTo>
                      <a:pt x="690" y="302"/>
                    </a:lnTo>
                    <a:lnTo>
                      <a:pt x="691" y="305"/>
                    </a:lnTo>
                    <a:lnTo>
                      <a:pt x="690" y="307"/>
                    </a:lnTo>
                    <a:lnTo>
                      <a:pt x="690" y="311"/>
                    </a:lnTo>
                    <a:lnTo>
                      <a:pt x="691" y="312"/>
                    </a:lnTo>
                    <a:lnTo>
                      <a:pt x="693" y="313"/>
                    </a:lnTo>
                    <a:lnTo>
                      <a:pt x="696" y="315"/>
                    </a:lnTo>
                    <a:lnTo>
                      <a:pt x="695" y="315"/>
                    </a:lnTo>
                    <a:lnTo>
                      <a:pt x="694" y="317"/>
                    </a:lnTo>
                    <a:lnTo>
                      <a:pt x="694" y="319"/>
                    </a:lnTo>
                    <a:lnTo>
                      <a:pt x="692" y="322"/>
                    </a:lnTo>
                    <a:lnTo>
                      <a:pt x="692" y="323"/>
                    </a:lnTo>
                    <a:lnTo>
                      <a:pt x="691" y="325"/>
                    </a:lnTo>
                    <a:lnTo>
                      <a:pt x="692" y="328"/>
                    </a:lnTo>
                    <a:lnTo>
                      <a:pt x="691" y="330"/>
                    </a:lnTo>
                    <a:lnTo>
                      <a:pt x="690" y="333"/>
                    </a:lnTo>
                    <a:lnTo>
                      <a:pt x="688" y="335"/>
                    </a:lnTo>
                    <a:lnTo>
                      <a:pt x="687" y="337"/>
                    </a:lnTo>
                    <a:lnTo>
                      <a:pt x="683" y="339"/>
                    </a:lnTo>
                    <a:lnTo>
                      <a:pt x="683" y="341"/>
                    </a:lnTo>
                    <a:lnTo>
                      <a:pt x="684" y="343"/>
                    </a:lnTo>
                    <a:lnTo>
                      <a:pt x="687" y="345"/>
                    </a:lnTo>
                    <a:lnTo>
                      <a:pt x="687" y="348"/>
                    </a:lnTo>
                    <a:lnTo>
                      <a:pt x="687" y="349"/>
                    </a:lnTo>
                    <a:lnTo>
                      <a:pt x="688" y="351"/>
                    </a:lnTo>
                    <a:lnTo>
                      <a:pt x="691" y="354"/>
                    </a:lnTo>
                    <a:lnTo>
                      <a:pt x="694" y="356"/>
                    </a:lnTo>
                    <a:lnTo>
                      <a:pt x="695" y="357"/>
                    </a:lnTo>
                    <a:lnTo>
                      <a:pt x="695" y="364"/>
                    </a:lnTo>
                    <a:lnTo>
                      <a:pt x="692" y="369"/>
                    </a:lnTo>
                    <a:lnTo>
                      <a:pt x="693" y="370"/>
                    </a:lnTo>
                    <a:lnTo>
                      <a:pt x="694" y="372"/>
                    </a:lnTo>
                    <a:lnTo>
                      <a:pt x="699" y="374"/>
                    </a:lnTo>
                    <a:lnTo>
                      <a:pt x="704" y="377"/>
                    </a:lnTo>
                    <a:lnTo>
                      <a:pt x="708" y="377"/>
                    </a:lnTo>
                    <a:lnTo>
                      <a:pt x="711" y="378"/>
                    </a:lnTo>
                    <a:lnTo>
                      <a:pt x="712" y="382"/>
                    </a:lnTo>
                    <a:lnTo>
                      <a:pt x="712" y="384"/>
                    </a:lnTo>
                    <a:lnTo>
                      <a:pt x="711" y="386"/>
                    </a:lnTo>
                    <a:lnTo>
                      <a:pt x="713" y="389"/>
                    </a:lnTo>
                    <a:lnTo>
                      <a:pt x="712" y="390"/>
                    </a:lnTo>
                    <a:lnTo>
                      <a:pt x="713" y="393"/>
                    </a:lnTo>
                    <a:lnTo>
                      <a:pt x="717" y="397"/>
                    </a:lnTo>
                    <a:lnTo>
                      <a:pt x="717" y="399"/>
                    </a:lnTo>
                    <a:lnTo>
                      <a:pt x="717" y="402"/>
                    </a:lnTo>
                    <a:lnTo>
                      <a:pt x="715" y="406"/>
                    </a:lnTo>
                    <a:lnTo>
                      <a:pt x="715" y="409"/>
                    </a:lnTo>
                    <a:lnTo>
                      <a:pt x="714" y="411"/>
                    </a:lnTo>
                    <a:lnTo>
                      <a:pt x="715" y="413"/>
                    </a:lnTo>
                    <a:lnTo>
                      <a:pt x="714" y="414"/>
                    </a:lnTo>
                    <a:lnTo>
                      <a:pt x="714" y="415"/>
                    </a:lnTo>
                    <a:lnTo>
                      <a:pt x="712" y="417"/>
                    </a:lnTo>
                    <a:lnTo>
                      <a:pt x="713" y="418"/>
                    </a:lnTo>
                    <a:lnTo>
                      <a:pt x="713" y="419"/>
                    </a:lnTo>
                    <a:lnTo>
                      <a:pt x="713" y="420"/>
                    </a:lnTo>
                    <a:lnTo>
                      <a:pt x="712" y="423"/>
                    </a:lnTo>
                    <a:lnTo>
                      <a:pt x="710" y="424"/>
                    </a:lnTo>
                    <a:lnTo>
                      <a:pt x="709" y="428"/>
                    </a:lnTo>
                    <a:lnTo>
                      <a:pt x="706" y="432"/>
                    </a:lnTo>
                    <a:lnTo>
                      <a:pt x="706" y="435"/>
                    </a:lnTo>
                    <a:lnTo>
                      <a:pt x="700" y="441"/>
                    </a:lnTo>
                    <a:lnTo>
                      <a:pt x="701" y="442"/>
                    </a:lnTo>
                    <a:lnTo>
                      <a:pt x="699" y="447"/>
                    </a:lnTo>
                    <a:lnTo>
                      <a:pt x="697" y="447"/>
                    </a:lnTo>
                    <a:lnTo>
                      <a:pt x="692" y="447"/>
                    </a:lnTo>
                    <a:lnTo>
                      <a:pt x="692" y="446"/>
                    </a:lnTo>
                    <a:lnTo>
                      <a:pt x="685" y="443"/>
                    </a:lnTo>
                    <a:lnTo>
                      <a:pt x="684" y="443"/>
                    </a:lnTo>
                    <a:lnTo>
                      <a:pt x="686" y="439"/>
                    </a:lnTo>
                    <a:lnTo>
                      <a:pt x="687" y="438"/>
                    </a:lnTo>
                    <a:lnTo>
                      <a:pt x="687" y="436"/>
                    </a:lnTo>
                    <a:lnTo>
                      <a:pt x="682" y="437"/>
                    </a:lnTo>
                    <a:lnTo>
                      <a:pt x="680" y="437"/>
                    </a:lnTo>
                    <a:lnTo>
                      <a:pt x="682" y="433"/>
                    </a:lnTo>
                    <a:lnTo>
                      <a:pt x="683" y="430"/>
                    </a:lnTo>
                    <a:lnTo>
                      <a:pt x="681" y="429"/>
                    </a:lnTo>
                    <a:lnTo>
                      <a:pt x="680" y="427"/>
                    </a:lnTo>
                    <a:lnTo>
                      <a:pt x="678" y="428"/>
                    </a:lnTo>
                    <a:lnTo>
                      <a:pt x="678" y="427"/>
                    </a:lnTo>
                    <a:lnTo>
                      <a:pt x="675" y="426"/>
                    </a:lnTo>
                    <a:lnTo>
                      <a:pt x="676" y="423"/>
                    </a:lnTo>
                    <a:lnTo>
                      <a:pt x="675" y="424"/>
                    </a:lnTo>
                    <a:lnTo>
                      <a:pt x="675" y="426"/>
                    </a:lnTo>
                    <a:lnTo>
                      <a:pt x="672" y="425"/>
                    </a:lnTo>
                    <a:lnTo>
                      <a:pt x="669" y="426"/>
                    </a:lnTo>
                    <a:lnTo>
                      <a:pt x="667" y="425"/>
                    </a:lnTo>
                    <a:lnTo>
                      <a:pt x="666" y="424"/>
                    </a:lnTo>
                    <a:lnTo>
                      <a:pt x="664" y="424"/>
                    </a:lnTo>
                    <a:lnTo>
                      <a:pt x="660" y="423"/>
                    </a:lnTo>
                    <a:lnTo>
                      <a:pt x="659" y="424"/>
                    </a:lnTo>
                    <a:lnTo>
                      <a:pt x="658" y="427"/>
                    </a:lnTo>
                    <a:lnTo>
                      <a:pt x="656" y="427"/>
                    </a:lnTo>
                    <a:lnTo>
                      <a:pt x="657" y="428"/>
                    </a:lnTo>
                    <a:lnTo>
                      <a:pt x="656" y="429"/>
                    </a:lnTo>
                    <a:lnTo>
                      <a:pt x="659" y="431"/>
                    </a:lnTo>
                    <a:lnTo>
                      <a:pt x="661" y="430"/>
                    </a:lnTo>
                    <a:lnTo>
                      <a:pt x="661" y="431"/>
                    </a:lnTo>
                    <a:lnTo>
                      <a:pt x="660" y="431"/>
                    </a:lnTo>
                    <a:lnTo>
                      <a:pt x="661" y="434"/>
                    </a:lnTo>
                    <a:lnTo>
                      <a:pt x="667" y="435"/>
                    </a:lnTo>
                    <a:lnTo>
                      <a:pt x="667" y="437"/>
                    </a:lnTo>
                    <a:lnTo>
                      <a:pt x="667" y="439"/>
                    </a:lnTo>
                    <a:lnTo>
                      <a:pt x="664" y="439"/>
                    </a:lnTo>
                    <a:lnTo>
                      <a:pt x="661" y="441"/>
                    </a:lnTo>
                    <a:lnTo>
                      <a:pt x="658" y="439"/>
                    </a:lnTo>
                    <a:lnTo>
                      <a:pt x="655" y="440"/>
                    </a:lnTo>
                    <a:lnTo>
                      <a:pt x="654" y="442"/>
                    </a:lnTo>
                    <a:lnTo>
                      <a:pt x="652" y="444"/>
                    </a:lnTo>
                    <a:lnTo>
                      <a:pt x="648" y="445"/>
                    </a:lnTo>
                    <a:lnTo>
                      <a:pt x="643" y="447"/>
                    </a:lnTo>
                    <a:lnTo>
                      <a:pt x="642" y="448"/>
                    </a:lnTo>
                    <a:lnTo>
                      <a:pt x="638" y="449"/>
                    </a:lnTo>
                    <a:lnTo>
                      <a:pt x="638" y="448"/>
                    </a:lnTo>
                    <a:lnTo>
                      <a:pt x="637" y="449"/>
                    </a:lnTo>
                    <a:lnTo>
                      <a:pt x="636" y="447"/>
                    </a:lnTo>
                    <a:lnTo>
                      <a:pt x="633" y="449"/>
                    </a:lnTo>
                    <a:lnTo>
                      <a:pt x="632" y="451"/>
                    </a:lnTo>
                    <a:lnTo>
                      <a:pt x="629" y="450"/>
                    </a:lnTo>
                    <a:lnTo>
                      <a:pt x="627" y="453"/>
                    </a:lnTo>
                    <a:lnTo>
                      <a:pt x="628" y="455"/>
                    </a:lnTo>
                    <a:lnTo>
                      <a:pt x="626" y="455"/>
                    </a:lnTo>
                    <a:lnTo>
                      <a:pt x="625" y="458"/>
                    </a:lnTo>
                    <a:lnTo>
                      <a:pt x="618" y="456"/>
                    </a:lnTo>
                    <a:lnTo>
                      <a:pt x="617" y="457"/>
                    </a:lnTo>
                    <a:lnTo>
                      <a:pt x="615" y="457"/>
                    </a:lnTo>
                    <a:lnTo>
                      <a:pt x="614" y="458"/>
                    </a:lnTo>
                    <a:lnTo>
                      <a:pt x="609" y="457"/>
                    </a:lnTo>
                    <a:lnTo>
                      <a:pt x="608" y="458"/>
                    </a:lnTo>
                    <a:lnTo>
                      <a:pt x="606" y="459"/>
                    </a:lnTo>
                    <a:lnTo>
                      <a:pt x="601" y="459"/>
                    </a:lnTo>
                    <a:lnTo>
                      <a:pt x="600" y="460"/>
                    </a:lnTo>
                    <a:lnTo>
                      <a:pt x="601" y="462"/>
                    </a:lnTo>
                    <a:lnTo>
                      <a:pt x="601" y="463"/>
                    </a:lnTo>
                    <a:lnTo>
                      <a:pt x="598" y="465"/>
                    </a:lnTo>
                    <a:lnTo>
                      <a:pt x="598" y="466"/>
                    </a:lnTo>
                    <a:lnTo>
                      <a:pt x="594" y="470"/>
                    </a:lnTo>
                    <a:lnTo>
                      <a:pt x="590" y="469"/>
                    </a:lnTo>
                    <a:lnTo>
                      <a:pt x="589" y="467"/>
                    </a:lnTo>
                    <a:lnTo>
                      <a:pt x="588" y="466"/>
                    </a:lnTo>
                    <a:lnTo>
                      <a:pt x="587" y="468"/>
                    </a:lnTo>
                    <a:lnTo>
                      <a:pt x="584" y="470"/>
                    </a:lnTo>
                    <a:lnTo>
                      <a:pt x="583" y="472"/>
                    </a:lnTo>
                    <a:lnTo>
                      <a:pt x="581" y="473"/>
                    </a:lnTo>
                    <a:lnTo>
                      <a:pt x="579" y="471"/>
                    </a:lnTo>
                    <a:lnTo>
                      <a:pt x="577" y="471"/>
                    </a:lnTo>
                    <a:lnTo>
                      <a:pt x="575" y="474"/>
                    </a:lnTo>
                    <a:lnTo>
                      <a:pt x="575" y="476"/>
                    </a:lnTo>
                    <a:lnTo>
                      <a:pt x="573" y="480"/>
                    </a:lnTo>
                    <a:lnTo>
                      <a:pt x="569" y="481"/>
                    </a:lnTo>
                    <a:lnTo>
                      <a:pt x="568" y="479"/>
                    </a:lnTo>
                    <a:lnTo>
                      <a:pt x="565" y="481"/>
                    </a:lnTo>
                    <a:lnTo>
                      <a:pt x="563" y="481"/>
                    </a:lnTo>
                    <a:lnTo>
                      <a:pt x="562" y="480"/>
                    </a:lnTo>
                    <a:lnTo>
                      <a:pt x="560" y="481"/>
                    </a:lnTo>
                    <a:lnTo>
                      <a:pt x="559" y="484"/>
                    </a:lnTo>
                    <a:lnTo>
                      <a:pt x="559" y="487"/>
                    </a:lnTo>
                    <a:lnTo>
                      <a:pt x="557" y="490"/>
                    </a:lnTo>
                    <a:lnTo>
                      <a:pt x="553" y="490"/>
                    </a:lnTo>
                    <a:lnTo>
                      <a:pt x="543" y="485"/>
                    </a:lnTo>
                    <a:lnTo>
                      <a:pt x="543" y="487"/>
                    </a:lnTo>
                    <a:lnTo>
                      <a:pt x="543" y="488"/>
                    </a:lnTo>
                    <a:lnTo>
                      <a:pt x="540" y="486"/>
                    </a:lnTo>
                    <a:lnTo>
                      <a:pt x="538" y="488"/>
                    </a:lnTo>
                    <a:lnTo>
                      <a:pt x="535" y="492"/>
                    </a:lnTo>
                    <a:lnTo>
                      <a:pt x="532" y="490"/>
                    </a:lnTo>
                    <a:lnTo>
                      <a:pt x="529" y="491"/>
                    </a:lnTo>
                    <a:lnTo>
                      <a:pt x="528" y="490"/>
                    </a:lnTo>
                    <a:lnTo>
                      <a:pt x="524" y="492"/>
                    </a:lnTo>
                    <a:lnTo>
                      <a:pt x="520" y="492"/>
                    </a:lnTo>
                    <a:lnTo>
                      <a:pt x="518" y="494"/>
                    </a:lnTo>
                    <a:lnTo>
                      <a:pt x="518" y="497"/>
                    </a:lnTo>
                    <a:lnTo>
                      <a:pt x="515" y="498"/>
                    </a:lnTo>
                    <a:lnTo>
                      <a:pt x="513" y="500"/>
                    </a:lnTo>
                    <a:lnTo>
                      <a:pt x="511" y="500"/>
                    </a:lnTo>
                    <a:lnTo>
                      <a:pt x="511" y="502"/>
                    </a:lnTo>
                    <a:lnTo>
                      <a:pt x="508" y="504"/>
                    </a:lnTo>
                    <a:lnTo>
                      <a:pt x="507" y="508"/>
                    </a:lnTo>
                    <a:lnTo>
                      <a:pt x="505" y="509"/>
                    </a:lnTo>
                    <a:lnTo>
                      <a:pt x="505" y="512"/>
                    </a:lnTo>
                    <a:lnTo>
                      <a:pt x="506" y="514"/>
                    </a:lnTo>
                    <a:lnTo>
                      <a:pt x="505" y="516"/>
                    </a:lnTo>
                    <a:lnTo>
                      <a:pt x="503" y="515"/>
                    </a:lnTo>
                    <a:lnTo>
                      <a:pt x="501" y="514"/>
                    </a:lnTo>
                    <a:lnTo>
                      <a:pt x="502" y="511"/>
                    </a:lnTo>
                    <a:lnTo>
                      <a:pt x="499" y="508"/>
                    </a:lnTo>
                    <a:lnTo>
                      <a:pt x="500" y="507"/>
                    </a:lnTo>
                    <a:lnTo>
                      <a:pt x="500" y="506"/>
                    </a:lnTo>
                    <a:lnTo>
                      <a:pt x="495" y="505"/>
                    </a:lnTo>
                    <a:lnTo>
                      <a:pt x="495" y="502"/>
                    </a:lnTo>
                    <a:lnTo>
                      <a:pt x="494" y="500"/>
                    </a:lnTo>
                    <a:lnTo>
                      <a:pt x="487" y="500"/>
                    </a:lnTo>
                    <a:lnTo>
                      <a:pt x="490" y="501"/>
                    </a:lnTo>
                    <a:lnTo>
                      <a:pt x="490" y="503"/>
                    </a:lnTo>
                    <a:lnTo>
                      <a:pt x="490" y="504"/>
                    </a:lnTo>
                    <a:lnTo>
                      <a:pt x="490" y="505"/>
                    </a:lnTo>
                    <a:lnTo>
                      <a:pt x="487" y="506"/>
                    </a:lnTo>
                    <a:lnTo>
                      <a:pt x="487" y="508"/>
                    </a:lnTo>
                    <a:lnTo>
                      <a:pt x="491" y="510"/>
                    </a:lnTo>
                    <a:lnTo>
                      <a:pt x="495" y="514"/>
                    </a:lnTo>
                    <a:lnTo>
                      <a:pt x="496" y="516"/>
                    </a:lnTo>
                    <a:lnTo>
                      <a:pt x="495" y="520"/>
                    </a:lnTo>
                    <a:lnTo>
                      <a:pt x="496" y="522"/>
                    </a:lnTo>
                    <a:lnTo>
                      <a:pt x="499" y="524"/>
                    </a:lnTo>
                    <a:lnTo>
                      <a:pt x="501" y="526"/>
                    </a:lnTo>
                    <a:lnTo>
                      <a:pt x="500" y="528"/>
                    </a:lnTo>
                    <a:lnTo>
                      <a:pt x="504" y="528"/>
                    </a:lnTo>
                    <a:lnTo>
                      <a:pt x="505" y="530"/>
                    </a:lnTo>
                    <a:lnTo>
                      <a:pt x="507" y="530"/>
                    </a:lnTo>
                    <a:lnTo>
                      <a:pt x="509" y="533"/>
                    </a:lnTo>
                    <a:lnTo>
                      <a:pt x="513" y="534"/>
                    </a:lnTo>
                    <a:lnTo>
                      <a:pt x="513" y="535"/>
                    </a:lnTo>
                    <a:lnTo>
                      <a:pt x="516" y="535"/>
                    </a:lnTo>
                    <a:lnTo>
                      <a:pt x="518" y="536"/>
                    </a:lnTo>
                    <a:lnTo>
                      <a:pt x="518" y="537"/>
                    </a:lnTo>
                    <a:lnTo>
                      <a:pt x="518" y="538"/>
                    </a:lnTo>
                    <a:lnTo>
                      <a:pt x="517" y="540"/>
                    </a:lnTo>
                    <a:lnTo>
                      <a:pt x="522" y="542"/>
                    </a:lnTo>
                    <a:lnTo>
                      <a:pt x="523" y="545"/>
                    </a:lnTo>
                    <a:lnTo>
                      <a:pt x="521" y="546"/>
                    </a:lnTo>
                    <a:lnTo>
                      <a:pt x="519" y="551"/>
                    </a:lnTo>
                    <a:lnTo>
                      <a:pt x="517" y="551"/>
                    </a:lnTo>
                    <a:lnTo>
                      <a:pt x="516" y="557"/>
                    </a:lnTo>
                    <a:lnTo>
                      <a:pt x="511" y="558"/>
                    </a:lnTo>
                    <a:lnTo>
                      <a:pt x="511" y="561"/>
                    </a:lnTo>
                    <a:lnTo>
                      <a:pt x="512" y="562"/>
                    </a:lnTo>
                    <a:lnTo>
                      <a:pt x="513" y="563"/>
                    </a:lnTo>
                    <a:lnTo>
                      <a:pt x="515" y="566"/>
                    </a:lnTo>
                    <a:lnTo>
                      <a:pt x="520" y="567"/>
                    </a:lnTo>
                    <a:lnTo>
                      <a:pt x="521" y="569"/>
                    </a:lnTo>
                    <a:lnTo>
                      <a:pt x="520" y="571"/>
                    </a:lnTo>
                    <a:lnTo>
                      <a:pt x="521" y="572"/>
                    </a:lnTo>
                    <a:lnTo>
                      <a:pt x="520" y="573"/>
                    </a:lnTo>
                    <a:lnTo>
                      <a:pt x="521" y="574"/>
                    </a:lnTo>
                    <a:lnTo>
                      <a:pt x="524" y="575"/>
                    </a:lnTo>
                    <a:lnTo>
                      <a:pt x="524" y="576"/>
                    </a:lnTo>
                    <a:lnTo>
                      <a:pt x="525" y="578"/>
                    </a:lnTo>
                    <a:lnTo>
                      <a:pt x="525" y="580"/>
                    </a:lnTo>
                    <a:lnTo>
                      <a:pt x="526" y="583"/>
                    </a:lnTo>
                    <a:lnTo>
                      <a:pt x="528" y="584"/>
                    </a:lnTo>
                    <a:lnTo>
                      <a:pt x="529" y="583"/>
                    </a:lnTo>
                    <a:lnTo>
                      <a:pt x="530" y="584"/>
                    </a:lnTo>
                    <a:lnTo>
                      <a:pt x="530" y="588"/>
                    </a:lnTo>
                    <a:lnTo>
                      <a:pt x="530" y="589"/>
                    </a:lnTo>
                    <a:lnTo>
                      <a:pt x="531" y="591"/>
                    </a:lnTo>
                    <a:lnTo>
                      <a:pt x="532" y="594"/>
                    </a:lnTo>
                    <a:lnTo>
                      <a:pt x="535" y="595"/>
                    </a:lnTo>
                    <a:lnTo>
                      <a:pt x="539" y="598"/>
                    </a:lnTo>
                    <a:lnTo>
                      <a:pt x="539" y="600"/>
                    </a:lnTo>
                    <a:lnTo>
                      <a:pt x="540" y="601"/>
                    </a:lnTo>
                    <a:lnTo>
                      <a:pt x="541" y="603"/>
                    </a:lnTo>
                    <a:lnTo>
                      <a:pt x="542" y="603"/>
                    </a:lnTo>
                    <a:lnTo>
                      <a:pt x="545" y="603"/>
                    </a:lnTo>
                    <a:lnTo>
                      <a:pt x="549" y="605"/>
                    </a:lnTo>
                    <a:lnTo>
                      <a:pt x="550" y="604"/>
                    </a:lnTo>
                    <a:lnTo>
                      <a:pt x="549" y="603"/>
                    </a:lnTo>
                    <a:lnTo>
                      <a:pt x="553" y="603"/>
                    </a:lnTo>
                    <a:lnTo>
                      <a:pt x="559" y="607"/>
                    </a:lnTo>
                    <a:lnTo>
                      <a:pt x="560" y="608"/>
                    </a:lnTo>
                    <a:lnTo>
                      <a:pt x="560" y="611"/>
                    </a:lnTo>
                    <a:lnTo>
                      <a:pt x="564" y="613"/>
                    </a:lnTo>
                    <a:lnTo>
                      <a:pt x="565" y="615"/>
                    </a:lnTo>
                    <a:lnTo>
                      <a:pt x="567" y="617"/>
                    </a:lnTo>
                    <a:lnTo>
                      <a:pt x="567" y="618"/>
                    </a:lnTo>
                    <a:lnTo>
                      <a:pt x="568" y="618"/>
                    </a:lnTo>
                    <a:lnTo>
                      <a:pt x="569" y="620"/>
                    </a:lnTo>
                    <a:lnTo>
                      <a:pt x="571" y="621"/>
                    </a:lnTo>
                    <a:lnTo>
                      <a:pt x="572" y="622"/>
                    </a:lnTo>
                    <a:lnTo>
                      <a:pt x="572" y="625"/>
                    </a:lnTo>
                    <a:lnTo>
                      <a:pt x="574" y="627"/>
                    </a:lnTo>
                    <a:lnTo>
                      <a:pt x="580" y="627"/>
                    </a:lnTo>
                    <a:lnTo>
                      <a:pt x="583" y="629"/>
                    </a:lnTo>
                    <a:lnTo>
                      <a:pt x="585" y="632"/>
                    </a:lnTo>
                    <a:lnTo>
                      <a:pt x="589" y="634"/>
                    </a:lnTo>
                    <a:lnTo>
                      <a:pt x="589" y="635"/>
                    </a:lnTo>
                    <a:lnTo>
                      <a:pt x="589" y="636"/>
                    </a:lnTo>
                    <a:lnTo>
                      <a:pt x="589" y="638"/>
                    </a:lnTo>
                    <a:lnTo>
                      <a:pt x="589" y="639"/>
                    </a:lnTo>
                    <a:lnTo>
                      <a:pt x="590" y="640"/>
                    </a:lnTo>
                    <a:lnTo>
                      <a:pt x="597" y="645"/>
                    </a:lnTo>
                    <a:lnTo>
                      <a:pt x="598" y="645"/>
                    </a:lnTo>
                    <a:lnTo>
                      <a:pt x="598" y="642"/>
                    </a:lnTo>
                    <a:lnTo>
                      <a:pt x="603" y="642"/>
                    </a:lnTo>
                    <a:lnTo>
                      <a:pt x="605" y="644"/>
                    </a:lnTo>
                    <a:lnTo>
                      <a:pt x="607" y="644"/>
                    </a:lnTo>
                    <a:lnTo>
                      <a:pt x="608" y="648"/>
                    </a:lnTo>
                    <a:lnTo>
                      <a:pt x="611" y="652"/>
                    </a:lnTo>
                    <a:lnTo>
                      <a:pt x="612" y="652"/>
                    </a:lnTo>
                    <a:lnTo>
                      <a:pt x="615" y="652"/>
                    </a:lnTo>
                    <a:lnTo>
                      <a:pt x="617" y="656"/>
                    </a:lnTo>
                    <a:lnTo>
                      <a:pt x="619" y="657"/>
                    </a:lnTo>
                    <a:lnTo>
                      <a:pt x="621" y="660"/>
                    </a:lnTo>
                    <a:lnTo>
                      <a:pt x="621" y="662"/>
                    </a:lnTo>
                    <a:lnTo>
                      <a:pt x="623" y="663"/>
                    </a:lnTo>
                    <a:lnTo>
                      <a:pt x="623" y="664"/>
                    </a:lnTo>
                    <a:lnTo>
                      <a:pt x="621" y="667"/>
                    </a:lnTo>
                    <a:lnTo>
                      <a:pt x="620" y="668"/>
                    </a:lnTo>
                    <a:lnTo>
                      <a:pt x="623" y="670"/>
                    </a:lnTo>
                    <a:lnTo>
                      <a:pt x="623" y="671"/>
                    </a:lnTo>
                    <a:lnTo>
                      <a:pt x="622" y="672"/>
                    </a:lnTo>
                    <a:lnTo>
                      <a:pt x="622" y="677"/>
                    </a:lnTo>
                    <a:lnTo>
                      <a:pt x="622" y="680"/>
                    </a:lnTo>
                    <a:lnTo>
                      <a:pt x="621" y="681"/>
                    </a:lnTo>
                    <a:lnTo>
                      <a:pt x="621" y="683"/>
                    </a:lnTo>
                    <a:lnTo>
                      <a:pt x="620" y="684"/>
                    </a:lnTo>
                    <a:lnTo>
                      <a:pt x="617" y="686"/>
                    </a:lnTo>
                    <a:lnTo>
                      <a:pt x="616" y="685"/>
                    </a:lnTo>
                    <a:lnTo>
                      <a:pt x="616" y="688"/>
                    </a:lnTo>
                    <a:lnTo>
                      <a:pt x="614" y="690"/>
                    </a:lnTo>
                    <a:lnTo>
                      <a:pt x="611" y="689"/>
                    </a:lnTo>
                    <a:lnTo>
                      <a:pt x="609" y="686"/>
                    </a:lnTo>
                    <a:lnTo>
                      <a:pt x="605" y="684"/>
                    </a:lnTo>
                    <a:lnTo>
                      <a:pt x="602" y="685"/>
                    </a:lnTo>
                    <a:lnTo>
                      <a:pt x="599" y="683"/>
                    </a:lnTo>
                    <a:lnTo>
                      <a:pt x="598" y="683"/>
                    </a:lnTo>
                    <a:lnTo>
                      <a:pt x="598" y="684"/>
                    </a:lnTo>
                    <a:lnTo>
                      <a:pt x="595" y="686"/>
                    </a:lnTo>
                    <a:lnTo>
                      <a:pt x="593" y="684"/>
                    </a:lnTo>
                    <a:lnTo>
                      <a:pt x="592" y="686"/>
                    </a:lnTo>
                    <a:lnTo>
                      <a:pt x="594" y="690"/>
                    </a:lnTo>
                    <a:lnTo>
                      <a:pt x="592" y="696"/>
                    </a:lnTo>
                    <a:lnTo>
                      <a:pt x="592" y="699"/>
                    </a:lnTo>
                    <a:lnTo>
                      <a:pt x="591" y="704"/>
                    </a:lnTo>
                    <a:lnTo>
                      <a:pt x="589" y="706"/>
                    </a:lnTo>
                    <a:lnTo>
                      <a:pt x="581" y="713"/>
                    </a:lnTo>
                    <a:lnTo>
                      <a:pt x="578" y="713"/>
                    </a:lnTo>
                    <a:lnTo>
                      <a:pt x="571" y="713"/>
                    </a:lnTo>
                    <a:lnTo>
                      <a:pt x="568" y="715"/>
                    </a:lnTo>
                    <a:lnTo>
                      <a:pt x="559" y="717"/>
                    </a:lnTo>
                    <a:lnTo>
                      <a:pt x="556" y="721"/>
                    </a:lnTo>
                    <a:lnTo>
                      <a:pt x="553" y="723"/>
                    </a:lnTo>
                    <a:lnTo>
                      <a:pt x="548" y="723"/>
                    </a:lnTo>
                    <a:lnTo>
                      <a:pt x="545" y="728"/>
                    </a:lnTo>
                    <a:lnTo>
                      <a:pt x="542" y="729"/>
                    </a:lnTo>
                    <a:lnTo>
                      <a:pt x="541" y="731"/>
                    </a:lnTo>
                    <a:lnTo>
                      <a:pt x="540" y="731"/>
                    </a:lnTo>
                    <a:lnTo>
                      <a:pt x="539" y="733"/>
                    </a:lnTo>
                    <a:lnTo>
                      <a:pt x="540" y="737"/>
                    </a:lnTo>
                    <a:lnTo>
                      <a:pt x="546" y="743"/>
                    </a:lnTo>
                    <a:lnTo>
                      <a:pt x="548" y="748"/>
                    </a:lnTo>
                    <a:lnTo>
                      <a:pt x="551" y="749"/>
                    </a:lnTo>
                    <a:lnTo>
                      <a:pt x="552" y="751"/>
                    </a:lnTo>
                    <a:lnTo>
                      <a:pt x="553" y="751"/>
                    </a:lnTo>
                    <a:lnTo>
                      <a:pt x="553" y="752"/>
                    </a:lnTo>
                    <a:lnTo>
                      <a:pt x="556" y="755"/>
                    </a:lnTo>
                    <a:lnTo>
                      <a:pt x="556" y="758"/>
                    </a:lnTo>
                    <a:lnTo>
                      <a:pt x="559" y="760"/>
                    </a:lnTo>
                    <a:lnTo>
                      <a:pt x="553" y="768"/>
                    </a:lnTo>
                    <a:lnTo>
                      <a:pt x="553" y="769"/>
                    </a:lnTo>
                    <a:lnTo>
                      <a:pt x="551" y="774"/>
                    </a:lnTo>
                    <a:lnTo>
                      <a:pt x="551" y="775"/>
                    </a:lnTo>
                    <a:lnTo>
                      <a:pt x="557" y="775"/>
                    </a:lnTo>
                    <a:lnTo>
                      <a:pt x="559" y="774"/>
                    </a:lnTo>
                    <a:lnTo>
                      <a:pt x="560" y="774"/>
                    </a:lnTo>
                    <a:lnTo>
                      <a:pt x="564" y="778"/>
                    </a:lnTo>
                    <a:lnTo>
                      <a:pt x="566" y="782"/>
                    </a:lnTo>
                    <a:lnTo>
                      <a:pt x="565" y="783"/>
                    </a:lnTo>
                    <a:lnTo>
                      <a:pt x="564" y="785"/>
                    </a:lnTo>
                    <a:lnTo>
                      <a:pt x="564" y="788"/>
                    </a:lnTo>
                    <a:lnTo>
                      <a:pt x="561" y="789"/>
                    </a:lnTo>
                    <a:lnTo>
                      <a:pt x="563" y="791"/>
                    </a:lnTo>
                    <a:lnTo>
                      <a:pt x="561" y="794"/>
                    </a:lnTo>
                    <a:lnTo>
                      <a:pt x="562" y="795"/>
                    </a:lnTo>
                    <a:lnTo>
                      <a:pt x="562" y="798"/>
                    </a:lnTo>
                    <a:lnTo>
                      <a:pt x="560" y="799"/>
                    </a:lnTo>
                    <a:lnTo>
                      <a:pt x="559" y="801"/>
                    </a:lnTo>
                    <a:lnTo>
                      <a:pt x="557" y="799"/>
                    </a:lnTo>
                    <a:lnTo>
                      <a:pt x="556" y="800"/>
                    </a:lnTo>
                    <a:lnTo>
                      <a:pt x="554" y="800"/>
                    </a:lnTo>
                    <a:lnTo>
                      <a:pt x="550" y="796"/>
                    </a:lnTo>
                    <a:lnTo>
                      <a:pt x="549" y="795"/>
                    </a:lnTo>
                    <a:lnTo>
                      <a:pt x="546" y="794"/>
                    </a:lnTo>
                    <a:lnTo>
                      <a:pt x="546" y="792"/>
                    </a:lnTo>
                    <a:lnTo>
                      <a:pt x="545" y="792"/>
                    </a:lnTo>
                    <a:lnTo>
                      <a:pt x="543" y="792"/>
                    </a:lnTo>
                    <a:lnTo>
                      <a:pt x="541" y="788"/>
                    </a:lnTo>
                    <a:lnTo>
                      <a:pt x="542" y="788"/>
                    </a:lnTo>
                    <a:lnTo>
                      <a:pt x="542" y="786"/>
                    </a:lnTo>
                    <a:lnTo>
                      <a:pt x="545" y="785"/>
                    </a:lnTo>
                    <a:lnTo>
                      <a:pt x="543" y="783"/>
                    </a:lnTo>
                    <a:lnTo>
                      <a:pt x="540" y="781"/>
                    </a:lnTo>
                    <a:lnTo>
                      <a:pt x="540" y="779"/>
                    </a:lnTo>
                    <a:lnTo>
                      <a:pt x="539" y="780"/>
                    </a:lnTo>
                    <a:lnTo>
                      <a:pt x="536" y="778"/>
                    </a:lnTo>
                    <a:lnTo>
                      <a:pt x="532" y="778"/>
                    </a:lnTo>
                    <a:lnTo>
                      <a:pt x="527" y="779"/>
                    </a:lnTo>
                    <a:lnTo>
                      <a:pt x="525" y="782"/>
                    </a:lnTo>
                    <a:lnTo>
                      <a:pt x="523" y="782"/>
                    </a:lnTo>
                    <a:lnTo>
                      <a:pt x="520" y="783"/>
                    </a:lnTo>
                    <a:lnTo>
                      <a:pt x="515" y="780"/>
                    </a:lnTo>
                    <a:lnTo>
                      <a:pt x="514" y="776"/>
                    </a:lnTo>
                    <a:lnTo>
                      <a:pt x="509" y="777"/>
                    </a:lnTo>
                    <a:lnTo>
                      <a:pt x="505" y="776"/>
                    </a:lnTo>
                    <a:lnTo>
                      <a:pt x="499" y="777"/>
                    </a:lnTo>
                    <a:lnTo>
                      <a:pt x="498" y="775"/>
                    </a:lnTo>
                    <a:lnTo>
                      <a:pt x="501" y="773"/>
                    </a:lnTo>
                    <a:lnTo>
                      <a:pt x="500" y="771"/>
                    </a:lnTo>
                    <a:lnTo>
                      <a:pt x="493" y="776"/>
                    </a:lnTo>
                    <a:lnTo>
                      <a:pt x="496" y="783"/>
                    </a:lnTo>
                    <a:lnTo>
                      <a:pt x="496" y="785"/>
                    </a:lnTo>
                    <a:lnTo>
                      <a:pt x="495" y="786"/>
                    </a:lnTo>
                    <a:lnTo>
                      <a:pt x="493" y="785"/>
                    </a:lnTo>
                    <a:lnTo>
                      <a:pt x="491" y="786"/>
                    </a:lnTo>
                    <a:lnTo>
                      <a:pt x="485" y="785"/>
                    </a:lnTo>
                    <a:lnTo>
                      <a:pt x="482" y="786"/>
                    </a:lnTo>
                    <a:lnTo>
                      <a:pt x="480" y="784"/>
                    </a:lnTo>
                    <a:lnTo>
                      <a:pt x="469" y="786"/>
                    </a:lnTo>
                    <a:lnTo>
                      <a:pt x="468" y="789"/>
                    </a:lnTo>
                    <a:lnTo>
                      <a:pt x="462" y="788"/>
                    </a:lnTo>
                    <a:lnTo>
                      <a:pt x="454" y="788"/>
                    </a:lnTo>
                    <a:lnTo>
                      <a:pt x="451" y="788"/>
                    </a:lnTo>
                    <a:lnTo>
                      <a:pt x="451" y="789"/>
                    </a:lnTo>
                    <a:lnTo>
                      <a:pt x="449" y="789"/>
                    </a:lnTo>
                    <a:lnTo>
                      <a:pt x="446" y="795"/>
                    </a:lnTo>
                    <a:lnTo>
                      <a:pt x="441" y="796"/>
                    </a:lnTo>
                    <a:lnTo>
                      <a:pt x="435" y="795"/>
                    </a:lnTo>
                    <a:lnTo>
                      <a:pt x="432" y="800"/>
                    </a:lnTo>
                    <a:lnTo>
                      <a:pt x="433" y="801"/>
                    </a:lnTo>
                    <a:lnTo>
                      <a:pt x="433" y="802"/>
                    </a:lnTo>
                    <a:lnTo>
                      <a:pt x="428" y="802"/>
                    </a:lnTo>
                    <a:lnTo>
                      <a:pt x="424" y="805"/>
                    </a:lnTo>
                    <a:lnTo>
                      <a:pt x="424" y="807"/>
                    </a:lnTo>
                    <a:lnTo>
                      <a:pt x="423" y="807"/>
                    </a:lnTo>
                    <a:lnTo>
                      <a:pt x="419" y="807"/>
                    </a:lnTo>
                    <a:lnTo>
                      <a:pt x="420" y="804"/>
                    </a:lnTo>
                    <a:lnTo>
                      <a:pt x="418" y="804"/>
                    </a:lnTo>
                    <a:lnTo>
                      <a:pt x="415" y="805"/>
                    </a:lnTo>
                    <a:lnTo>
                      <a:pt x="410" y="808"/>
                    </a:lnTo>
                    <a:lnTo>
                      <a:pt x="400" y="808"/>
                    </a:lnTo>
                    <a:lnTo>
                      <a:pt x="399" y="807"/>
                    </a:lnTo>
                    <a:lnTo>
                      <a:pt x="399" y="806"/>
                    </a:lnTo>
                    <a:lnTo>
                      <a:pt x="400" y="805"/>
                    </a:lnTo>
                    <a:lnTo>
                      <a:pt x="396" y="800"/>
                    </a:lnTo>
                    <a:lnTo>
                      <a:pt x="396" y="799"/>
                    </a:lnTo>
                    <a:lnTo>
                      <a:pt x="391" y="798"/>
                    </a:lnTo>
                    <a:lnTo>
                      <a:pt x="392" y="797"/>
                    </a:lnTo>
                    <a:lnTo>
                      <a:pt x="395" y="795"/>
                    </a:lnTo>
                    <a:lnTo>
                      <a:pt x="393" y="795"/>
                    </a:lnTo>
                    <a:lnTo>
                      <a:pt x="392" y="793"/>
                    </a:lnTo>
                    <a:lnTo>
                      <a:pt x="386" y="795"/>
                    </a:lnTo>
                    <a:lnTo>
                      <a:pt x="383" y="795"/>
                    </a:lnTo>
                    <a:lnTo>
                      <a:pt x="382" y="793"/>
                    </a:lnTo>
                    <a:lnTo>
                      <a:pt x="380" y="794"/>
                    </a:lnTo>
                    <a:lnTo>
                      <a:pt x="377" y="792"/>
                    </a:lnTo>
                    <a:lnTo>
                      <a:pt x="372" y="791"/>
                    </a:lnTo>
                    <a:lnTo>
                      <a:pt x="371" y="790"/>
                    </a:lnTo>
                    <a:lnTo>
                      <a:pt x="369" y="791"/>
                    </a:lnTo>
                    <a:lnTo>
                      <a:pt x="368" y="794"/>
                    </a:lnTo>
                    <a:lnTo>
                      <a:pt x="364" y="794"/>
                    </a:lnTo>
                    <a:lnTo>
                      <a:pt x="362" y="793"/>
                    </a:lnTo>
                    <a:lnTo>
                      <a:pt x="360" y="792"/>
                    </a:lnTo>
                    <a:lnTo>
                      <a:pt x="361" y="789"/>
                    </a:lnTo>
                    <a:lnTo>
                      <a:pt x="361" y="788"/>
                    </a:lnTo>
                    <a:lnTo>
                      <a:pt x="357" y="789"/>
                    </a:lnTo>
                    <a:lnTo>
                      <a:pt x="359" y="792"/>
                    </a:lnTo>
                    <a:lnTo>
                      <a:pt x="358" y="794"/>
                    </a:lnTo>
                    <a:lnTo>
                      <a:pt x="358" y="795"/>
                    </a:lnTo>
                    <a:lnTo>
                      <a:pt x="357" y="797"/>
                    </a:lnTo>
                    <a:lnTo>
                      <a:pt x="360" y="799"/>
                    </a:lnTo>
                    <a:lnTo>
                      <a:pt x="361" y="804"/>
                    </a:lnTo>
                    <a:lnTo>
                      <a:pt x="357" y="808"/>
                    </a:lnTo>
                    <a:lnTo>
                      <a:pt x="357" y="810"/>
                    </a:lnTo>
                    <a:lnTo>
                      <a:pt x="354" y="811"/>
                    </a:lnTo>
                    <a:lnTo>
                      <a:pt x="353" y="813"/>
                    </a:lnTo>
                    <a:lnTo>
                      <a:pt x="351" y="815"/>
                    </a:lnTo>
                    <a:lnTo>
                      <a:pt x="350" y="817"/>
                    </a:lnTo>
                    <a:lnTo>
                      <a:pt x="341" y="821"/>
                    </a:lnTo>
                    <a:lnTo>
                      <a:pt x="339" y="820"/>
                    </a:lnTo>
                    <a:lnTo>
                      <a:pt x="337" y="821"/>
                    </a:lnTo>
                    <a:lnTo>
                      <a:pt x="337" y="820"/>
                    </a:lnTo>
                    <a:lnTo>
                      <a:pt x="338" y="819"/>
                    </a:lnTo>
                    <a:lnTo>
                      <a:pt x="340" y="818"/>
                    </a:lnTo>
                    <a:lnTo>
                      <a:pt x="340" y="816"/>
                    </a:lnTo>
                    <a:lnTo>
                      <a:pt x="339" y="816"/>
                    </a:lnTo>
                    <a:lnTo>
                      <a:pt x="342" y="811"/>
                    </a:lnTo>
                    <a:lnTo>
                      <a:pt x="342" y="810"/>
                    </a:lnTo>
                    <a:lnTo>
                      <a:pt x="337" y="809"/>
                    </a:lnTo>
                    <a:lnTo>
                      <a:pt x="335" y="811"/>
                    </a:lnTo>
                    <a:lnTo>
                      <a:pt x="333" y="810"/>
                    </a:lnTo>
                    <a:lnTo>
                      <a:pt x="331" y="812"/>
                    </a:lnTo>
                    <a:lnTo>
                      <a:pt x="330" y="807"/>
                    </a:lnTo>
                    <a:lnTo>
                      <a:pt x="329" y="807"/>
                    </a:lnTo>
                    <a:lnTo>
                      <a:pt x="332" y="805"/>
                    </a:lnTo>
                    <a:lnTo>
                      <a:pt x="330" y="801"/>
                    </a:lnTo>
                    <a:lnTo>
                      <a:pt x="327" y="800"/>
                    </a:lnTo>
                    <a:lnTo>
                      <a:pt x="327" y="798"/>
                    </a:lnTo>
                    <a:lnTo>
                      <a:pt x="324" y="799"/>
                    </a:lnTo>
                    <a:lnTo>
                      <a:pt x="323" y="797"/>
                    </a:lnTo>
                    <a:lnTo>
                      <a:pt x="320" y="794"/>
                    </a:lnTo>
                    <a:lnTo>
                      <a:pt x="321" y="793"/>
                    </a:lnTo>
                    <a:lnTo>
                      <a:pt x="320" y="794"/>
                    </a:lnTo>
                    <a:lnTo>
                      <a:pt x="317" y="794"/>
                    </a:lnTo>
                    <a:lnTo>
                      <a:pt x="314" y="792"/>
                    </a:lnTo>
                    <a:lnTo>
                      <a:pt x="313" y="794"/>
                    </a:lnTo>
                    <a:lnTo>
                      <a:pt x="309" y="792"/>
                    </a:lnTo>
                    <a:lnTo>
                      <a:pt x="310" y="789"/>
                    </a:lnTo>
                    <a:lnTo>
                      <a:pt x="310" y="788"/>
                    </a:lnTo>
                    <a:lnTo>
                      <a:pt x="307" y="788"/>
                    </a:lnTo>
                    <a:lnTo>
                      <a:pt x="304" y="789"/>
                    </a:lnTo>
                    <a:lnTo>
                      <a:pt x="303" y="794"/>
                    </a:lnTo>
                    <a:lnTo>
                      <a:pt x="302" y="794"/>
                    </a:lnTo>
                    <a:lnTo>
                      <a:pt x="293" y="794"/>
                    </a:lnTo>
                    <a:lnTo>
                      <a:pt x="290" y="793"/>
                    </a:lnTo>
                    <a:lnTo>
                      <a:pt x="266" y="780"/>
                    </a:lnTo>
                    <a:lnTo>
                      <a:pt x="258" y="781"/>
                    </a:lnTo>
                    <a:lnTo>
                      <a:pt x="258" y="780"/>
                    </a:lnTo>
                    <a:lnTo>
                      <a:pt x="252" y="778"/>
                    </a:lnTo>
                    <a:lnTo>
                      <a:pt x="249" y="777"/>
                    </a:lnTo>
                    <a:lnTo>
                      <a:pt x="247" y="777"/>
                    </a:lnTo>
                    <a:lnTo>
                      <a:pt x="240" y="781"/>
                    </a:lnTo>
                    <a:lnTo>
                      <a:pt x="237" y="781"/>
                    </a:lnTo>
                    <a:lnTo>
                      <a:pt x="236" y="780"/>
                    </a:lnTo>
                    <a:lnTo>
                      <a:pt x="234" y="777"/>
                    </a:lnTo>
                    <a:lnTo>
                      <a:pt x="234" y="776"/>
                    </a:lnTo>
                    <a:lnTo>
                      <a:pt x="235" y="777"/>
                    </a:lnTo>
                    <a:lnTo>
                      <a:pt x="235" y="776"/>
                    </a:lnTo>
                    <a:lnTo>
                      <a:pt x="233" y="774"/>
                    </a:lnTo>
                    <a:lnTo>
                      <a:pt x="231" y="775"/>
                    </a:lnTo>
                    <a:lnTo>
                      <a:pt x="230" y="773"/>
                    </a:lnTo>
                    <a:lnTo>
                      <a:pt x="228" y="775"/>
                    </a:lnTo>
                    <a:lnTo>
                      <a:pt x="230" y="776"/>
                    </a:lnTo>
                    <a:lnTo>
                      <a:pt x="230" y="778"/>
                    </a:lnTo>
                    <a:lnTo>
                      <a:pt x="224" y="777"/>
                    </a:lnTo>
                    <a:lnTo>
                      <a:pt x="225" y="775"/>
                    </a:lnTo>
                    <a:lnTo>
                      <a:pt x="223" y="774"/>
                    </a:lnTo>
                    <a:lnTo>
                      <a:pt x="225" y="771"/>
                    </a:lnTo>
                    <a:lnTo>
                      <a:pt x="225" y="770"/>
                    </a:lnTo>
                    <a:lnTo>
                      <a:pt x="221" y="769"/>
                    </a:lnTo>
                    <a:lnTo>
                      <a:pt x="221" y="768"/>
                    </a:lnTo>
                    <a:lnTo>
                      <a:pt x="219" y="766"/>
                    </a:lnTo>
                    <a:lnTo>
                      <a:pt x="218" y="767"/>
                    </a:lnTo>
                    <a:lnTo>
                      <a:pt x="218" y="769"/>
                    </a:lnTo>
                    <a:lnTo>
                      <a:pt x="217" y="769"/>
                    </a:lnTo>
                    <a:lnTo>
                      <a:pt x="215" y="768"/>
                    </a:lnTo>
                    <a:lnTo>
                      <a:pt x="216" y="766"/>
                    </a:lnTo>
                    <a:lnTo>
                      <a:pt x="215" y="765"/>
                    </a:lnTo>
                    <a:lnTo>
                      <a:pt x="211" y="765"/>
                    </a:lnTo>
                    <a:lnTo>
                      <a:pt x="210" y="765"/>
                    </a:lnTo>
                    <a:lnTo>
                      <a:pt x="211" y="767"/>
                    </a:lnTo>
                    <a:lnTo>
                      <a:pt x="211" y="768"/>
                    </a:lnTo>
                    <a:lnTo>
                      <a:pt x="204" y="769"/>
                    </a:lnTo>
                    <a:lnTo>
                      <a:pt x="203" y="772"/>
                    </a:lnTo>
                    <a:lnTo>
                      <a:pt x="203" y="774"/>
                    </a:lnTo>
                    <a:lnTo>
                      <a:pt x="199" y="776"/>
                    </a:lnTo>
                    <a:lnTo>
                      <a:pt x="200" y="777"/>
                    </a:lnTo>
                    <a:lnTo>
                      <a:pt x="199" y="780"/>
                    </a:lnTo>
                    <a:lnTo>
                      <a:pt x="203" y="781"/>
                    </a:lnTo>
                    <a:lnTo>
                      <a:pt x="204" y="782"/>
                    </a:lnTo>
                    <a:lnTo>
                      <a:pt x="208" y="781"/>
                    </a:lnTo>
                    <a:lnTo>
                      <a:pt x="209" y="780"/>
                    </a:lnTo>
                    <a:lnTo>
                      <a:pt x="212" y="780"/>
                    </a:lnTo>
                    <a:lnTo>
                      <a:pt x="213" y="780"/>
                    </a:lnTo>
                    <a:lnTo>
                      <a:pt x="215" y="780"/>
                    </a:lnTo>
                    <a:lnTo>
                      <a:pt x="217" y="781"/>
                    </a:lnTo>
                    <a:lnTo>
                      <a:pt x="215" y="783"/>
                    </a:lnTo>
                    <a:lnTo>
                      <a:pt x="215" y="781"/>
                    </a:lnTo>
                    <a:lnTo>
                      <a:pt x="214" y="781"/>
                    </a:lnTo>
                    <a:lnTo>
                      <a:pt x="214" y="783"/>
                    </a:lnTo>
                    <a:lnTo>
                      <a:pt x="214" y="785"/>
                    </a:lnTo>
                    <a:lnTo>
                      <a:pt x="212" y="787"/>
                    </a:lnTo>
                    <a:lnTo>
                      <a:pt x="211" y="787"/>
                    </a:lnTo>
                    <a:lnTo>
                      <a:pt x="211" y="785"/>
                    </a:lnTo>
                    <a:lnTo>
                      <a:pt x="209" y="783"/>
                    </a:lnTo>
                    <a:lnTo>
                      <a:pt x="207" y="783"/>
                    </a:lnTo>
                    <a:lnTo>
                      <a:pt x="206" y="785"/>
                    </a:lnTo>
                    <a:lnTo>
                      <a:pt x="204" y="786"/>
                    </a:lnTo>
                    <a:lnTo>
                      <a:pt x="203" y="788"/>
                    </a:lnTo>
                    <a:lnTo>
                      <a:pt x="204" y="788"/>
                    </a:lnTo>
                    <a:lnTo>
                      <a:pt x="205" y="789"/>
                    </a:lnTo>
                    <a:lnTo>
                      <a:pt x="206" y="788"/>
                    </a:lnTo>
                    <a:lnTo>
                      <a:pt x="206" y="789"/>
                    </a:lnTo>
                    <a:lnTo>
                      <a:pt x="205" y="789"/>
                    </a:lnTo>
                    <a:lnTo>
                      <a:pt x="201" y="789"/>
                    </a:lnTo>
                    <a:lnTo>
                      <a:pt x="198" y="789"/>
                    </a:lnTo>
                    <a:lnTo>
                      <a:pt x="197" y="789"/>
                    </a:lnTo>
                    <a:lnTo>
                      <a:pt x="194" y="789"/>
                    </a:lnTo>
                    <a:lnTo>
                      <a:pt x="191" y="788"/>
                    </a:lnTo>
                    <a:lnTo>
                      <a:pt x="190" y="786"/>
                    </a:lnTo>
                    <a:lnTo>
                      <a:pt x="186" y="785"/>
                    </a:lnTo>
                    <a:lnTo>
                      <a:pt x="184" y="786"/>
                    </a:lnTo>
                    <a:lnTo>
                      <a:pt x="183" y="785"/>
                    </a:lnTo>
                    <a:lnTo>
                      <a:pt x="180" y="787"/>
                    </a:lnTo>
                    <a:lnTo>
                      <a:pt x="177" y="788"/>
                    </a:lnTo>
                    <a:lnTo>
                      <a:pt x="174" y="791"/>
                    </a:lnTo>
                    <a:lnTo>
                      <a:pt x="160" y="792"/>
                    </a:lnTo>
                    <a:lnTo>
                      <a:pt x="160" y="789"/>
                    </a:lnTo>
                    <a:lnTo>
                      <a:pt x="158" y="788"/>
                    </a:lnTo>
                    <a:lnTo>
                      <a:pt x="153" y="788"/>
                    </a:lnTo>
                    <a:lnTo>
                      <a:pt x="150" y="792"/>
                    </a:lnTo>
                    <a:lnTo>
                      <a:pt x="143" y="793"/>
                    </a:lnTo>
                    <a:lnTo>
                      <a:pt x="142" y="793"/>
                    </a:lnTo>
                    <a:lnTo>
                      <a:pt x="137" y="791"/>
                    </a:lnTo>
                    <a:lnTo>
                      <a:pt x="139" y="789"/>
                    </a:lnTo>
                    <a:lnTo>
                      <a:pt x="142" y="789"/>
                    </a:lnTo>
                    <a:lnTo>
                      <a:pt x="141" y="788"/>
                    </a:lnTo>
                    <a:lnTo>
                      <a:pt x="142" y="786"/>
                    </a:lnTo>
                    <a:lnTo>
                      <a:pt x="139" y="786"/>
                    </a:lnTo>
                    <a:lnTo>
                      <a:pt x="135" y="788"/>
                    </a:lnTo>
                    <a:lnTo>
                      <a:pt x="135" y="787"/>
                    </a:lnTo>
                    <a:lnTo>
                      <a:pt x="133" y="782"/>
                    </a:lnTo>
                    <a:lnTo>
                      <a:pt x="129" y="780"/>
                    </a:lnTo>
                    <a:lnTo>
                      <a:pt x="129" y="776"/>
                    </a:lnTo>
                    <a:lnTo>
                      <a:pt x="132" y="772"/>
                    </a:lnTo>
                    <a:lnTo>
                      <a:pt x="130" y="768"/>
                    </a:lnTo>
                    <a:lnTo>
                      <a:pt x="130" y="767"/>
                    </a:lnTo>
                    <a:lnTo>
                      <a:pt x="132" y="763"/>
                    </a:lnTo>
                    <a:lnTo>
                      <a:pt x="133" y="762"/>
                    </a:lnTo>
                    <a:lnTo>
                      <a:pt x="133" y="757"/>
                    </a:lnTo>
                    <a:lnTo>
                      <a:pt x="134" y="755"/>
                    </a:lnTo>
                    <a:lnTo>
                      <a:pt x="134" y="752"/>
                    </a:lnTo>
                    <a:lnTo>
                      <a:pt x="138" y="747"/>
                    </a:lnTo>
                    <a:lnTo>
                      <a:pt x="137" y="745"/>
                    </a:lnTo>
                    <a:lnTo>
                      <a:pt x="134" y="741"/>
                    </a:lnTo>
                    <a:lnTo>
                      <a:pt x="134" y="736"/>
                    </a:lnTo>
                    <a:lnTo>
                      <a:pt x="134" y="733"/>
                    </a:lnTo>
                    <a:lnTo>
                      <a:pt x="136" y="730"/>
                    </a:lnTo>
                    <a:lnTo>
                      <a:pt x="137" y="727"/>
                    </a:lnTo>
                    <a:lnTo>
                      <a:pt x="139" y="723"/>
                    </a:lnTo>
                    <a:lnTo>
                      <a:pt x="142" y="719"/>
                    </a:lnTo>
                    <a:lnTo>
                      <a:pt x="143" y="713"/>
                    </a:lnTo>
                    <a:lnTo>
                      <a:pt x="148" y="709"/>
                    </a:lnTo>
                    <a:lnTo>
                      <a:pt x="146" y="702"/>
                    </a:lnTo>
                    <a:lnTo>
                      <a:pt x="149" y="696"/>
                    </a:lnTo>
                    <a:lnTo>
                      <a:pt x="149" y="693"/>
                    </a:lnTo>
                    <a:lnTo>
                      <a:pt x="152" y="690"/>
                    </a:lnTo>
                    <a:lnTo>
                      <a:pt x="152" y="682"/>
                    </a:lnTo>
                    <a:lnTo>
                      <a:pt x="154" y="677"/>
                    </a:lnTo>
                    <a:lnTo>
                      <a:pt x="161" y="672"/>
                    </a:lnTo>
                    <a:lnTo>
                      <a:pt x="164" y="668"/>
                    </a:lnTo>
                    <a:lnTo>
                      <a:pt x="165" y="665"/>
                    </a:lnTo>
                    <a:lnTo>
                      <a:pt x="168" y="665"/>
                    </a:lnTo>
                    <a:lnTo>
                      <a:pt x="169" y="662"/>
                    </a:lnTo>
                    <a:lnTo>
                      <a:pt x="173" y="661"/>
                    </a:lnTo>
                    <a:lnTo>
                      <a:pt x="174" y="660"/>
                    </a:lnTo>
                    <a:lnTo>
                      <a:pt x="175" y="658"/>
                    </a:lnTo>
                    <a:lnTo>
                      <a:pt x="176" y="656"/>
                    </a:lnTo>
                    <a:lnTo>
                      <a:pt x="178" y="650"/>
                    </a:lnTo>
                    <a:lnTo>
                      <a:pt x="182" y="644"/>
                    </a:lnTo>
                    <a:lnTo>
                      <a:pt x="185" y="643"/>
                    </a:lnTo>
                    <a:lnTo>
                      <a:pt x="184" y="642"/>
                    </a:lnTo>
                    <a:lnTo>
                      <a:pt x="183" y="642"/>
                    </a:lnTo>
                    <a:lnTo>
                      <a:pt x="173" y="640"/>
                    </a:lnTo>
                    <a:lnTo>
                      <a:pt x="170" y="638"/>
                    </a:lnTo>
                    <a:lnTo>
                      <a:pt x="165" y="636"/>
                    </a:lnTo>
                    <a:lnTo>
                      <a:pt x="162" y="634"/>
                    </a:lnTo>
                    <a:lnTo>
                      <a:pt x="161" y="635"/>
                    </a:lnTo>
                    <a:lnTo>
                      <a:pt x="158" y="635"/>
                    </a:lnTo>
                    <a:lnTo>
                      <a:pt x="156" y="636"/>
                    </a:lnTo>
                    <a:lnTo>
                      <a:pt x="151" y="633"/>
                    </a:lnTo>
                    <a:lnTo>
                      <a:pt x="149" y="635"/>
                    </a:lnTo>
                    <a:lnTo>
                      <a:pt x="143" y="633"/>
                    </a:lnTo>
                    <a:lnTo>
                      <a:pt x="142" y="635"/>
                    </a:lnTo>
                    <a:lnTo>
                      <a:pt x="140" y="634"/>
                    </a:lnTo>
                    <a:lnTo>
                      <a:pt x="137" y="631"/>
                    </a:lnTo>
                    <a:lnTo>
                      <a:pt x="133" y="631"/>
                    </a:lnTo>
                    <a:lnTo>
                      <a:pt x="131" y="630"/>
                    </a:lnTo>
                    <a:lnTo>
                      <a:pt x="129" y="627"/>
                    </a:lnTo>
                    <a:lnTo>
                      <a:pt x="127" y="625"/>
                    </a:lnTo>
                    <a:lnTo>
                      <a:pt x="129" y="623"/>
                    </a:lnTo>
                    <a:lnTo>
                      <a:pt x="127" y="622"/>
                    </a:lnTo>
                    <a:lnTo>
                      <a:pt x="123" y="622"/>
                    </a:lnTo>
                    <a:lnTo>
                      <a:pt x="123" y="621"/>
                    </a:lnTo>
                    <a:lnTo>
                      <a:pt x="118" y="621"/>
                    </a:lnTo>
                    <a:lnTo>
                      <a:pt x="117" y="624"/>
                    </a:lnTo>
                    <a:lnTo>
                      <a:pt x="114" y="625"/>
                    </a:lnTo>
                    <a:lnTo>
                      <a:pt x="112" y="627"/>
                    </a:lnTo>
                    <a:lnTo>
                      <a:pt x="111" y="627"/>
                    </a:lnTo>
                    <a:lnTo>
                      <a:pt x="108" y="626"/>
                    </a:lnTo>
                    <a:lnTo>
                      <a:pt x="105" y="627"/>
                    </a:lnTo>
                    <a:lnTo>
                      <a:pt x="103" y="626"/>
                    </a:lnTo>
                    <a:lnTo>
                      <a:pt x="101" y="626"/>
                    </a:lnTo>
                    <a:lnTo>
                      <a:pt x="99" y="625"/>
                    </a:lnTo>
                    <a:lnTo>
                      <a:pt x="97" y="625"/>
                    </a:lnTo>
                    <a:lnTo>
                      <a:pt x="97" y="623"/>
                    </a:lnTo>
                    <a:lnTo>
                      <a:pt x="96" y="623"/>
                    </a:lnTo>
                    <a:lnTo>
                      <a:pt x="96" y="626"/>
                    </a:lnTo>
                    <a:lnTo>
                      <a:pt x="95" y="626"/>
                    </a:lnTo>
                    <a:lnTo>
                      <a:pt x="94" y="627"/>
                    </a:lnTo>
                    <a:lnTo>
                      <a:pt x="92" y="627"/>
                    </a:lnTo>
                    <a:lnTo>
                      <a:pt x="91" y="622"/>
                    </a:lnTo>
                    <a:lnTo>
                      <a:pt x="91" y="621"/>
                    </a:lnTo>
                    <a:lnTo>
                      <a:pt x="91" y="620"/>
                    </a:lnTo>
                    <a:lnTo>
                      <a:pt x="85" y="617"/>
                    </a:lnTo>
                    <a:lnTo>
                      <a:pt x="84" y="616"/>
                    </a:lnTo>
                    <a:lnTo>
                      <a:pt x="81" y="617"/>
                    </a:lnTo>
                    <a:lnTo>
                      <a:pt x="79" y="616"/>
                    </a:lnTo>
                    <a:lnTo>
                      <a:pt x="77" y="616"/>
                    </a:lnTo>
                    <a:lnTo>
                      <a:pt x="76" y="617"/>
                    </a:lnTo>
                    <a:lnTo>
                      <a:pt x="77" y="618"/>
                    </a:lnTo>
                    <a:lnTo>
                      <a:pt x="78" y="620"/>
                    </a:lnTo>
                    <a:lnTo>
                      <a:pt x="78" y="621"/>
                    </a:lnTo>
                    <a:lnTo>
                      <a:pt x="76" y="623"/>
                    </a:lnTo>
                    <a:lnTo>
                      <a:pt x="71" y="621"/>
                    </a:lnTo>
                    <a:lnTo>
                      <a:pt x="68" y="621"/>
                    </a:lnTo>
                    <a:lnTo>
                      <a:pt x="67" y="620"/>
                    </a:lnTo>
                    <a:lnTo>
                      <a:pt x="67" y="619"/>
                    </a:lnTo>
                    <a:lnTo>
                      <a:pt x="68" y="618"/>
                    </a:lnTo>
                    <a:lnTo>
                      <a:pt x="68" y="616"/>
                    </a:lnTo>
                    <a:lnTo>
                      <a:pt x="67" y="616"/>
                    </a:lnTo>
                    <a:lnTo>
                      <a:pt x="65" y="617"/>
                    </a:lnTo>
                    <a:lnTo>
                      <a:pt x="64" y="613"/>
                    </a:lnTo>
                    <a:lnTo>
                      <a:pt x="62" y="612"/>
                    </a:lnTo>
                    <a:lnTo>
                      <a:pt x="63" y="610"/>
                    </a:lnTo>
                    <a:lnTo>
                      <a:pt x="57" y="605"/>
                    </a:lnTo>
                    <a:lnTo>
                      <a:pt x="57" y="604"/>
                    </a:lnTo>
                    <a:lnTo>
                      <a:pt x="55" y="603"/>
                    </a:lnTo>
                    <a:lnTo>
                      <a:pt x="55" y="602"/>
                    </a:lnTo>
                    <a:lnTo>
                      <a:pt x="57" y="602"/>
                    </a:lnTo>
                    <a:lnTo>
                      <a:pt x="58" y="601"/>
                    </a:lnTo>
                    <a:lnTo>
                      <a:pt x="57" y="601"/>
                    </a:lnTo>
                    <a:lnTo>
                      <a:pt x="56" y="599"/>
                    </a:lnTo>
                    <a:lnTo>
                      <a:pt x="53" y="597"/>
                    </a:lnTo>
                    <a:lnTo>
                      <a:pt x="53" y="596"/>
                    </a:lnTo>
                    <a:lnTo>
                      <a:pt x="54" y="595"/>
                    </a:lnTo>
                    <a:lnTo>
                      <a:pt x="53" y="593"/>
                    </a:lnTo>
                    <a:lnTo>
                      <a:pt x="48" y="591"/>
                    </a:lnTo>
                    <a:lnTo>
                      <a:pt x="46" y="591"/>
                    </a:lnTo>
                    <a:lnTo>
                      <a:pt x="43" y="589"/>
                    </a:lnTo>
                    <a:lnTo>
                      <a:pt x="42" y="590"/>
                    </a:lnTo>
                    <a:lnTo>
                      <a:pt x="39" y="591"/>
                    </a:lnTo>
                    <a:lnTo>
                      <a:pt x="39" y="583"/>
                    </a:lnTo>
                    <a:lnTo>
                      <a:pt x="40" y="581"/>
                    </a:lnTo>
                    <a:lnTo>
                      <a:pt x="39" y="579"/>
                    </a:lnTo>
                    <a:lnTo>
                      <a:pt x="40" y="578"/>
                    </a:lnTo>
                    <a:lnTo>
                      <a:pt x="40" y="577"/>
                    </a:lnTo>
                    <a:lnTo>
                      <a:pt x="42" y="576"/>
                    </a:lnTo>
                    <a:lnTo>
                      <a:pt x="45" y="571"/>
                    </a:lnTo>
                    <a:lnTo>
                      <a:pt x="44" y="569"/>
                    </a:lnTo>
                    <a:lnTo>
                      <a:pt x="50" y="565"/>
                    </a:lnTo>
                    <a:lnTo>
                      <a:pt x="51" y="565"/>
                    </a:lnTo>
                    <a:lnTo>
                      <a:pt x="50" y="563"/>
                    </a:lnTo>
                    <a:lnTo>
                      <a:pt x="51" y="563"/>
                    </a:lnTo>
                    <a:lnTo>
                      <a:pt x="50" y="562"/>
                    </a:lnTo>
                    <a:lnTo>
                      <a:pt x="50" y="561"/>
                    </a:lnTo>
                    <a:lnTo>
                      <a:pt x="51" y="559"/>
                    </a:lnTo>
                    <a:lnTo>
                      <a:pt x="51" y="556"/>
                    </a:lnTo>
                    <a:lnTo>
                      <a:pt x="52" y="555"/>
                    </a:lnTo>
                    <a:lnTo>
                      <a:pt x="52" y="554"/>
                    </a:lnTo>
                    <a:lnTo>
                      <a:pt x="51" y="555"/>
                    </a:lnTo>
                    <a:lnTo>
                      <a:pt x="47" y="552"/>
                    </a:lnTo>
                    <a:lnTo>
                      <a:pt x="46" y="553"/>
                    </a:lnTo>
                    <a:lnTo>
                      <a:pt x="44" y="554"/>
                    </a:lnTo>
                    <a:lnTo>
                      <a:pt x="42" y="553"/>
                    </a:lnTo>
                    <a:lnTo>
                      <a:pt x="39" y="550"/>
                    </a:lnTo>
                    <a:lnTo>
                      <a:pt x="37" y="550"/>
                    </a:lnTo>
                    <a:lnTo>
                      <a:pt x="36" y="551"/>
                    </a:lnTo>
                    <a:lnTo>
                      <a:pt x="36" y="549"/>
                    </a:lnTo>
                    <a:lnTo>
                      <a:pt x="35" y="548"/>
                    </a:lnTo>
                    <a:lnTo>
                      <a:pt x="31" y="546"/>
                    </a:lnTo>
                    <a:lnTo>
                      <a:pt x="29" y="545"/>
                    </a:lnTo>
                    <a:lnTo>
                      <a:pt x="28" y="539"/>
                    </a:lnTo>
                    <a:lnTo>
                      <a:pt x="26" y="539"/>
                    </a:lnTo>
                    <a:lnTo>
                      <a:pt x="26" y="537"/>
                    </a:lnTo>
                    <a:lnTo>
                      <a:pt x="25" y="537"/>
                    </a:lnTo>
                    <a:lnTo>
                      <a:pt x="25" y="539"/>
                    </a:lnTo>
                    <a:lnTo>
                      <a:pt x="24" y="539"/>
                    </a:lnTo>
                    <a:lnTo>
                      <a:pt x="23" y="536"/>
                    </a:lnTo>
                    <a:lnTo>
                      <a:pt x="24" y="536"/>
                    </a:lnTo>
                    <a:lnTo>
                      <a:pt x="22" y="534"/>
                    </a:lnTo>
                    <a:lnTo>
                      <a:pt x="22" y="533"/>
                    </a:lnTo>
                    <a:lnTo>
                      <a:pt x="21" y="532"/>
                    </a:lnTo>
                    <a:lnTo>
                      <a:pt x="21" y="531"/>
                    </a:lnTo>
                    <a:lnTo>
                      <a:pt x="21" y="528"/>
                    </a:lnTo>
                    <a:lnTo>
                      <a:pt x="20" y="528"/>
                    </a:lnTo>
                    <a:lnTo>
                      <a:pt x="21" y="526"/>
                    </a:lnTo>
                    <a:lnTo>
                      <a:pt x="20" y="526"/>
                    </a:lnTo>
                    <a:lnTo>
                      <a:pt x="20" y="524"/>
                    </a:lnTo>
                    <a:lnTo>
                      <a:pt x="21" y="524"/>
                    </a:lnTo>
                    <a:lnTo>
                      <a:pt x="21" y="520"/>
                    </a:lnTo>
                    <a:lnTo>
                      <a:pt x="23" y="519"/>
                    </a:lnTo>
                    <a:lnTo>
                      <a:pt x="21" y="518"/>
                    </a:lnTo>
                    <a:lnTo>
                      <a:pt x="22" y="517"/>
                    </a:lnTo>
                    <a:lnTo>
                      <a:pt x="21" y="516"/>
                    </a:lnTo>
                    <a:lnTo>
                      <a:pt x="22" y="515"/>
                    </a:lnTo>
                    <a:lnTo>
                      <a:pt x="26" y="514"/>
                    </a:lnTo>
                    <a:lnTo>
                      <a:pt x="25" y="512"/>
                    </a:lnTo>
                    <a:lnTo>
                      <a:pt x="24" y="510"/>
                    </a:lnTo>
                    <a:lnTo>
                      <a:pt x="24" y="509"/>
                    </a:lnTo>
                    <a:lnTo>
                      <a:pt x="26" y="508"/>
                    </a:lnTo>
                    <a:lnTo>
                      <a:pt x="28" y="507"/>
                    </a:lnTo>
                    <a:lnTo>
                      <a:pt x="32" y="506"/>
                    </a:lnTo>
                    <a:lnTo>
                      <a:pt x="33" y="505"/>
                    </a:lnTo>
                    <a:lnTo>
                      <a:pt x="33" y="504"/>
                    </a:lnTo>
                    <a:lnTo>
                      <a:pt x="35" y="500"/>
                    </a:lnTo>
                    <a:lnTo>
                      <a:pt x="37" y="500"/>
                    </a:lnTo>
                    <a:lnTo>
                      <a:pt x="39" y="502"/>
                    </a:lnTo>
                    <a:lnTo>
                      <a:pt x="42" y="500"/>
                    </a:lnTo>
                    <a:lnTo>
                      <a:pt x="42" y="499"/>
                    </a:lnTo>
                    <a:lnTo>
                      <a:pt x="41" y="497"/>
                    </a:lnTo>
                    <a:lnTo>
                      <a:pt x="39" y="496"/>
                    </a:lnTo>
                    <a:lnTo>
                      <a:pt x="38" y="494"/>
                    </a:lnTo>
                    <a:lnTo>
                      <a:pt x="40" y="488"/>
                    </a:lnTo>
                    <a:lnTo>
                      <a:pt x="40" y="486"/>
                    </a:lnTo>
                    <a:lnTo>
                      <a:pt x="38" y="485"/>
                    </a:lnTo>
                    <a:lnTo>
                      <a:pt x="38" y="483"/>
                    </a:lnTo>
                    <a:lnTo>
                      <a:pt x="39" y="482"/>
                    </a:lnTo>
                    <a:lnTo>
                      <a:pt x="35" y="481"/>
                    </a:lnTo>
                    <a:lnTo>
                      <a:pt x="33" y="482"/>
                    </a:lnTo>
                    <a:lnTo>
                      <a:pt x="32" y="481"/>
                    </a:lnTo>
                    <a:lnTo>
                      <a:pt x="29" y="482"/>
                    </a:lnTo>
                    <a:lnTo>
                      <a:pt x="27" y="479"/>
                    </a:lnTo>
                    <a:lnTo>
                      <a:pt x="26" y="479"/>
                    </a:lnTo>
                    <a:lnTo>
                      <a:pt x="27" y="478"/>
                    </a:lnTo>
                    <a:lnTo>
                      <a:pt x="26" y="478"/>
                    </a:lnTo>
                    <a:lnTo>
                      <a:pt x="26" y="477"/>
                    </a:lnTo>
                    <a:lnTo>
                      <a:pt x="24" y="476"/>
                    </a:lnTo>
                    <a:lnTo>
                      <a:pt x="24" y="475"/>
                    </a:lnTo>
                    <a:lnTo>
                      <a:pt x="27" y="473"/>
                    </a:lnTo>
                    <a:lnTo>
                      <a:pt x="29" y="471"/>
                    </a:lnTo>
                    <a:lnTo>
                      <a:pt x="30" y="471"/>
                    </a:lnTo>
                    <a:lnTo>
                      <a:pt x="32" y="468"/>
                    </a:lnTo>
                    <a:lnTo>
                      <a:pt x="26" y="467"/>
                    </a:lnTo>
                    <a:lnTo>
                      <a:pt x="25" y="468"/>
                    </a:lnTo>
                    <a:lnTo>
                      <a:pt x="24" y="467"/>
                    </a:lnTo>
                    <a:lnTo>
                      <a:pt x="24" y="465"/>
                    </a:lnTo>
                    <a:lnTo>
                      <a:pt x="25" y="465"/>
                    </a:lnTo>
                    <a:lnTo>
                      <a:pt x="22" y="462"/>
                    </a:lnTo>
                    <a:lnTo>
                      <a:pt x="19" y="458"/>
                    </a:lnTo>
                    <a:lnTo>
                      <a:pt x="13" y="458"/>
                    </a:lnTo>
                    <a:lnTo>
                      <a:pt x="13" y="455"/>
                    </a:lnTo>
                    <a:lnTo>
                      <a:pt x="12" y="454"/>
                    </a:lnTo>
                    <a:lnTo>
                      <a:pt x="12" y="452"/>
                    </a:lnTo>
                    <a:lnTo>
                      <a:pt x="9" y="449"/>
                    </a:lnTo>
                    <a:lnTo>
                      <a:pt x="10" y="449"/>
                    </a:lnTo>
                    <a:lnTo>
                      <a:pt x="12" y="449"/>
                    </a:lnTo>
                    <a:lnTo>
                      <a:pt x="12" y="448"/>
                    </a:lnTo>
                    <a:lnTo>
                      <a:pt x="13" y="447"/>
                    </a:lnTo>
                    <a:lnTo>
                      <a:pt x="12" y="445"/>
                    </a:lnTo>
                    <a:lnTo>
                      <a:pt x="14" y="444"/>
                    </a:lnTo>
                    <a:lnTo>
                      <a:pt x="16" y="444"/>
                    </a:lnTo>
                    <a:lnTo>
                      <a:pt x="18" y="441"/>
                    </a:lnTo>
                    <a:lnTo>
                      <a:pt x="16" y="439"/>
                    </a:lnTo>
                    <a:lnTo>
                      <a:pt x="17" y="437"/>
                    </a:lnTo>
                    <a:lnTo>
                      <a:pt x="12" y="435"/>
                    </a:lnTo>
                    <a:lnTo>
                      <a:pt x="12" y="432"/>
                    </a:lnTo>
                    <a:lnTo>
                      <a:pt x="13" y="431"/>
                    </a:lnTo>
                    <a:lnTo>
                      <a:pt x="10" y="431"/>
                    </a:lnTo>
                    <a:lnTo>
                      <a:pt x="7" y="430"/>
                    </a:lnTo>
                    <a:lnTo>
                      <a:pt x="3" y="431"/>
                    </a:lnTo>
                    <a:lnTo>
                      <a:pt x="3" y="429"/>
                    </a:lnTo>
                    <a:lnTo>
                      <a:pt x="3" y="427"/>
                    </a:lnTo>
                    <a:lnTo>
                      <a:pt x="1" y="427"/>
                    </a:lnTo>
                    <a:lnTo>
                      <a:pt x="1" y="425"/>
                    </a:lnTo>
                    <a:lnTo>
                      <a:pt x="0" y="423"/>
                    </a:lnTo>
                    <a:lnTo>
                      <a:pt x="4" y="421"/>
                    </a:lnTo>
                    <a:lnTo>
                      <a:pt x="5" y="424"/>
                    </a:lnTo>
                    <a:lnTo>
                      <a:pt x="7" y="424"/>
                    </a:lnTo>
                    <a:lnTo>
                      <a:pt x="11" y="419"/>
                    </a:lnTo>
                    <a:lnTo>
                      <a:pt x="13" y="419"/>
                    </a:lnTo>
                    <a:lnTo>
                      <a:pt x="14" y="418"/>
                    </a:lnTo>
                    <a:lnTo>
                      <a:pt x="16" y="416"/>
                    </a:lnTo>
                    <a:lnTo>
                      <a:pt x="24" y="411"/>
                    </a:lnTo>
                    <a:lnTo>
                      <a:pt x="22" y="410"/>
                    </a:lnTo>
                    <a:lnTo>
                      <a:pt x="24" y="408"/>
                    </a:lnTo>
                    <a:lnTo>
                      <a:pt x="18" y="410"/>
                    </a:lnTo>
                    <a:lnTo>
                      <a:pt x="16" y="406"/>
                    </a:lnTo>
                    <a:lnTo>
                      <a:pt x="18" y="404"/>
                    </a:lnTo>
                    <a:lnTo>
                      <a:pt x="17" y="402"/>
                    </a:lnTo>
                    <a:lnTo>
                      <a:pt x="22" y="397"/>
                    </a:lnTo>
                    <a:lnTo>
                      <a:pt x="24" y="393"/>
                    </a:lnTo>
                    <a:lnTo>
                      <a:pt x="26" y="393"/>
                    </a:lnTo>
                    <a:lnTo>
                      <a:pt x="29" y="390"/>
                    </a:lnTo>
                    <a:lnTo>
                      <a:pt x="28" y="387"/>
                    </a:lnTo>
                    <a:lnTo>
                      <a:pt x="29" y="386"/>
                    </a:lnTo>
                    <a:lnTo>
                      <a:pt x="27" y="385"/>
                    </a:lnTo>
                    <a:lnTo>
                      <a:pt x="27" y="381"/>
                    </a:lnTo>
                    <a:lnTo>
                      <a:pt x="29" y="379"/>
                    </a:lnTo>
                    <a:lnTo>
                      <a:pt x="27" y="376"/>
                    </a:lnTo>
                    <a:lnTo>
                      <a:pt x="27" y="374"/>
                    </a:lnTo>
                    <a:lnTo>
                      <a:pt x="23" y="368"/>
                    </a:lnTo>
                    <a:lnTo>
                      <a:pt x="21" y="367"/>
                    </a:lnTo>
                    <a:lnTo>
                      <a:pt x="20" y="366"/>
                    </a:lnTo>
                    <a:lnTo>
                      <a:pt x="18" y="364"/>
                    </a:lnTo>
                    <a:lnTo>
                      <a:pt x="20" y="359"/>
                    </a:lnTo>
                    <a:lnTo>
                      <a:pt x="16" y="358"/>
                    </a:lnTo>
                    <a:lnTo>
                      <a:pt x="13" y="357"/>
                    </a:lnTo>
                    <a:lnTo>
                      <a:pt x="13" y="354"/>
                    </a:lnTo>
                    <a:lnTo>
                      <a:pt x="14" y="352"/>
                    </a:lnTo>
                    <a:lnTo>
                      <a:pt x="10" y="350"/>
                    </a:lnTo>
                    <a:lnTo>
                      <a:pt x="8" y="350"/>
                    </a:lnTo>
                    <a:lnTo>
                      <a:pt x="7" y="349"/>
                    </a:lnTo>
                    <a:lnTo>
                      <a:pt x="10" y="347"/>
                    </a:lnTo>
                    <a:lnTo>
                      <a:pt x="10" y="346"/>
                    </a:lnTo>
                    <a:lnTo>
                      <a:pt x="10" y="345"/>
                    </a:lnTo>
                    <a:lnTo>
                      <a:pt x="9" y="345"/>
                    </a:lnTo>
                    <a:lnTo>
                      <a:pt x="8" y="343"/>
                    </a:lnTo>
                    <a:lnTo>
                      <a:pt x="7" y="342"/>
                    </a:lnTo>
                    <a:lnTo>
                      <a:pt x="8" y="341"/>
                    </a:lnTo>
                    <a:lnTo>
                      <a:pt x="7" y="341"/>
                    </a:lnTo>
                    <a:lnTo>
                      <a:pt x="8" y="340"/>
                    </a:lnTo>
                    <a:lnTo>
                      <a:pt x="12" y="340"/>
                    </a:lnTo>
                    <a:lnTo>
                      <a:pt x="15" y="337"/>
                    </a:lnTo>
                    <a:lnTo>
                      <a:pt x="24" y="339"/>
                    </a:lnTo>
                    <a:lnTo>
                      <a:pt x="24" y="338"/>
                    </a:lnTo>
                    <a:lnTo>
                      <a:pt x="19" y="334"/>
                    </a:lnTo>
                    <a:lnTo>
                      <a:pt x="20" y="333"/>
                    </a:lnTo>
                    <a:lnTo>
                      <a:pt x="23" y="332"/>
                    </a:lnTo>
                    <a:lnTo>
                      <a:pt x="27" y="336"/>
                    </a:lnTo>
                    <a:lnTo>
                      <a:pt x="33" y="336"/>
                    </a:lnTo>
                    <a:lnTo>
                      <a:pt x="35" y="338"/>
                    </a:lnTo>
                    <a:lnTo>
                      <a:pt x="39" y="339"/>
                    </a:lnTo>
                    <a:lnTo>
                      <a:pt x="39" y="341"/>
                    </a:lnTo>
                    <a:lnTo>
                      <a:pt x="42" y="341"/>
                    </a:lnTo>
                    <a:lnTo>
                      <a:pt x="42" y="336"/>
                    </a:lnTo>
                    <a:lnTo>
                      <a:pt x="48" y="338"/>
                    </a:lnTo>
                    <a:lnTo>
                      <a:pt x="54" y="335"/>
                    </a:lnTo>
                    <a:lnTo>
                      <a:pt x="57" y="333"/>
                    </a:lnTo>
                    <a:lnTo>
                      <a:pt x="64" y="331"/>
                    </a:lnTo>
                    <a:lnTo>
                      <a:pt x="68" y="333"/>
                    </a:lnTo>
                    <a:lnTo>
                      <a:pt x="72" y="331"/>
                    </a:lnTo>
                    <a:lnTo>
                      <a:pt x="74" y="327"/>
                    </a:lnTo>
                    <a:lnTo>
                      <a:pt x="76" y="326"/>
                    </a:lnTo>
                    <a:lnTo>
                      <a:pt x="76" y="323"/>
                    </a:lnTo>
                    <a:lnTo>
                      <a:pt x="73" y="321"/>
                    </a:lnTo>
                    <a:lnTo>
                      <a:pt x="68" y="319"/>
                    </a:lnTo>
                    <a:lnTo>
                      <a:pt x="65" y="318"/>
                    </a:lnTo>
                    <a:lnTo>
                      <a:pt x="65" y="315"/>
                    </a:lnTo>
                    <a:lnTo>
                      <a:pt x="68" y="315"/>
                    </a:lnTo>
                    <a:lnTo>
                      <a:pt x="71" y="310"/>
                    </a:lnTo>
                    <a:lnTo>
                      <a:pt x="78" y="310"/>
                    </a:lnTo>
                    <a:lnTo>
                      <a:pt x="79" y="309"/>
                    </a:lnTo>
                    <a:lnTo>
                      <a:pt x="79" y="307"/>
                    </a:lnTo>
                    <a:lnTo>
                      <a:pt x="81" y="305"/>
                    </a:lnTo>
                    <a:lnTo>
                      <a:pt x="86" y="303"/>
                    </a:lnTo>
                    <a:lnTo>
                      <a:pt x="88" y="299"/>
                    </a:lnTo>
                    <a:lnTo>
                      <a:pt x="93" y="297"/>
                    </a:lnTo>
                    <a:lnTo>
                      <a:pt x="91" y="293"/>
                    </a:lnTo>
                    <a:lnTo>
                      <a:pt x="92" y="291"/>
                    </a:lnTo>
                    <a:lnTo>
                      <a:pt x="94" y="285"/>
                    </a:lnTo>
                    <a:lnTo>
                      <a:pt x="94" y="282"/>
                    </a:lnTo>
                    <a:lnTo>
                      <a:pt x="93" y="280"/>
                    </a:lnTo>
                    <a:lnTo>
                      <a:pt x="91" y="278"/>
                    </a:lnTo>
                    <a:lnTo>
                      <a:pt x="88" y="274"/>
                    </a:lnTo>
                    <a:lnTo>
                      <a:pt x="85" y="276"/>
                    </a:lnTo>
                    <a:lnTo>
                      <a:pt x="78" y="275"/>
                    </a:lnTo>
                    <a:lnTo>
                      <a:pt x="77" y="274"/>
                    </a:lnTo>
                    <a:lnTo>
                      <a:pt x="71" y="274"/>
                    </a:lnTo>
                    <a:lnTo>
                      <a:pt x="66" y="271"/>
                    </a:lnTo>
                    <a:lnTo>
                      <a:pt x="66" y="266"/>
                    </a:lnTo>
                    <a:lnTo>
                      <a:pt x="65" y="264"/>
                    </a:lnTo>
                    <a:lnTo>
                      <a:pt x="67" y="264"/>
                    </a:lnTo>
                    <a:lnTo>
                      <a:pt x="68" y="263"/>
                    </a:lnTo>
                    <a:lnTo>
                      <a:pt x="70" y="263"/>
                    </a:lnTo>
                    <a:lnTo>
                      <a:pt x="67" y="260"/>
                    </a:lnTo>
                    <a:lnTo>
                      <a:pt x="68" y="257"/>
                    </a:lnTo>
                    <a:lnTo>
                      <a:pt x="67" y="256"/>
                    </a:lnTo>
                    <a:lnTo>
                      <a:pt x="71" y="254"/>
                    </a:lnTo>
                    <a:lnTo>
                      <a:pt x="81" y="254"/>
                    </a:lnTo>
                    <a:lnTo>
                      <a:pt x="83" y="255"/>
                    </a:lnTo>
                    <a:lnTo>
                      <a:pt x="87" y="254"/>
                    </a:lnTo>
                    <a:lnTo>
                      <a:pt x="91" y="256"/>
                    </a:lnTo>
                    <a:lnTo>
                      <a:pt x="93" y="255"/>
                    </a:lnTo>
                    <a:lnTo>
                      <a:pt x="94" y="252"/>
                    </a:lnTo>
                    <a:lnTo>
                      <a:pt x="94" y="236"/>
                    </a:lnTo>
                    <a:lnTo>
                      <a:pt x="96" y="234"/>
                    </a:lnTo>
                    <a:lnTo>
                      <a:pt x="97" y="232"/>
                    </a:lnTo>
                    <a:lnTo>
                      <a:pt x="99" y="229"/>
                    </a:lnTo>
                    <a:lnTo>
                      <a:pt x="103" y="224"/>
                    </a:lnTo>
                    <a:lnTo>
                      <a:pt x="106" y="216"/>
                    </a:lnTo>
                    <a:lnTo>
                      <a:pt x="105" y="214"/>
                    </a:lnTo>
                    <a:lnTo>
                      <a:pt x="105" y="211"/>
                    </a:lnTo>
                    <a:lnTo>
                      <a:pt x="105" y="206"/>
                    </a:lnTo>
                    <a:lnTo>
                      <a:pt x="104" y="203"/>
                    </a:lnTo>
                    <a:lnTo>
                      <a:pt x="104" y="200"/>
                    </a:lnTo>
                    <a:lnTo>
                      <a:pt x="106" y="197"/>
                    </a:lnTo>
                    <a:lnTo>
                      <a:pt x="105" y="191"/>
                    </a:lnTo>
                    <a:lnTo>
                      <a:pt x="106" y="191"/>
                    </a:lnTo>
                    <a:lnTo>
                      <a:pt x="107" y="189"/>
                    </a:lnTo>
                    <a:lnTo>
                      <a:pt x="108" y="188"/>
                    </a:lnTo>
                    <a:lnTo>
                      <a:pt x="107" y="185"/>
                    </a:lnTo>
                    <a:lnTo>
                      <a:pt x="109" y="183"/>
                    </a:lnTo>
                    <a:lnTo>
                      <a:pt x="115" y="183"/>
                    </a:lnTo>
                    <a:lnTo>
                      <a:pt x="118" y="185"/>
                    </a:lnTo>
                    <a:lnTo>
                      <a:pt x="117" y="183"/>
                    </a:lnTo>
                    <a:lnTo>
                      <a:pt x="115" y="183"/>
                    </a:lnTo>
                    <a:lnTo>
                      <a:pt x="110" y="183"/>
                    </a:lnTo>
                    <a:lnTo>
                      <a:pt x="103" y="181"/>
                    </a:lnTo>
                    <a:lnTo>
                      <a:pt x="93" y="182"/>
                    </a:lnTo>
                    <a:lnTo>
                      <a:pt x="90" y="177"/>
                    </a:lnTo>
                    <a:lnTo>
                      <a:pt x="90" y="174"/>
                    </a:lnTo>
                    <a:lnTo>
                      <a:pt x="91" y="166"/>
                    </a:lnTo>
                    <a:lnTo>
                      <a:pt x="93" y="163"/>
                    </a:lnTo>
                    <a:lnTo>
                      <a:pt x="95" y="162"/>
                    </a:lnTo>
                    <a:lnTo>
                      <a:pt x="97" y="163"/>
                    </a:lnTo>
                    <a:lnTo>
                      <a:pt x="98" y="162"/>
                    </a:lnTo>
                    <a:lnTo>
                      <a:pt x="99" y="162"/>
                    </a:lnTo>
                    <a:lnTo>
                      <a:pt x="101" y="161"/>
                    </a:lnTo>
                    <a:lnTo>
                      <a:pt x="100" y="159"/>
                    </a:lnTo>
                    <a:lnTo>
                      <a:pt x="96" y="157"/>
                    </a:lnTo>
                    <a:lnTo>
                      <a:pt x="96" y="155"/>
                    </a:lnTo>
                    <a:lnTo>
                      <a:pt x="108" y="146"/>
                    </a:lnTo>
                    <a:lnTo>
                      <a:pt x="112" y="145"/>
                    </a:lnTo>
                    <a:lnTo>
                      <a:pt x="116" y="144"/>
                    </a:lnTo>
                    <a:lnTo>
                      <a:pt x="126" y="145"/>
                    </a:lnTo>
                    <a:lnTo>
                      <a:pt x="129" y="146"/>
                    </a:lnTo>
                    <a:lnTo>
                      <a:pt x="143" y="143"/>
                    </a:lnTo>
                    <a:lnTo>
                      <a:pt x="149" y="143"/>
                    </a:lnTo>
                    <a:lnTo>
                      <a:pt x="160" y="141"/>
                    </a:lnTo>
                    <a:lnTo>
                      <a:pt x="168" y="142"/>
                    </a:lnTo>
                    <a:lnTo>
                      <a:pt x="170" y="143"/>
                    </a:lnTo>
                    <a:lnTo>
                      <a:pt x="169" y="145"/>
                    </a:lnTo>
                    <a:lnTo>
                      <a:pt x="171" y="150"/>
                    </a:lnTo>
                    <a:lnTo>
                      <a:pt x="177" y="155"/>
                    </a:lnTo>
                    <a:lnTo>
                      <a:pt x="177" y="158"/>
                    </a:lnTo>
                    <a:lnTo>
                      <a:pt x="180" y="157"/>
                    </a:lnTo>
                    <a:lnTo>
                      <a:pt x="180" y="159"/>
                    </a:lnTo>
                    <a:lnTo>
                      <a:pt x="180" y="161"/>
                    </a:lnTo>
                    <a:lnTo>
                      <a:pt x="180" y="162"/>
                    </a:lnTo>
                    <a:lnTo>
                      <a:pt x="177" y="163"/>
                    </a:lnTo>
                    <a:lnTo>
                      <a:pt x="178" y="163"/>
                    </a:lnTo>
                    <a:lnTo>
                      <a:pt x="177" y="163"/>
                    </a:lnTo>
                    <a:lnTo>
                      <a:pt x="175" y="164"/>
                    </a:lnTo>
                    <a:lnTo>
                      <a:pt x="172" y="164"/>
                    </a:lnTo>
                    <a:lnTo>
                      <a:pt x="173" y="168"/>
                    </a:lnTo>
                    <a:lnTo>
                      <a:pt x="175" y="170"/>
                    </a:lnTo>
                    <a:lnTo>
                      <a:pt x="175" y="171"/>
                    </a:lnTo>
                    <a:lnTo>
                      <a:pt x="176" y="171"/>
                    </a:lnTo>
                    <a:lnTo>
                      <a:pt x="176" y="169"/>
                    </a:lnTo>
                    <a:lnTo>
                      <a:pt x="179" y="169"/>
                    </a:lnTo>
                    <a:lnTo>
                      <a:pt x="180" y="170"/>
                    </a:lnTo>
                    <a:lnTo>
                      <a:pt x="183" y="174"/>
                    </a:lnTo>
                    <a:lnTo>
                      <a:pt x="184" y="175"/>
                    </a:lnTo>
                    <a:lnTo>
                      <a:pt x="187" y="175"/>
                    </a:lnTo>
                    <a:lnTo>
                      <a:pt x="190" y="172"/>
                    </a:lnTo>
                    <a:lnTo>
                      <a:pt x="190" y="171"/>
                    </a:lnTo>
                    <a:lnTo>
                      <a:pt x="192" y="169"/>
                    </a:lnTo>
                    <a:lnTo>
                      <a:pt x="192" y="164"/>
                    </a:lnTo>
                    <a:lnTo>
                      <a:pt x="192" y="163"/>
                    </a:lnTo>
                    <a:lnTo>
                      <a:pt x="192" y="161"/>
                    </a:lnTo>
                    <a:lnTo>
                      <a:pt x="186" y="162"/>
                    </a:lnTo>
                    <a:lnTo>
                      <a:pt x="186" y="155"/>
                    </a:lnTo>
                    <a:lnTo>
                      <a:pt x="190" y="152"/>
                    </a:lnTo>
                    <a:lnTo>
                      <a:pt x="192" y="152"/>
                    </a:lnTo>
                    <a:lnTo>
                      <a:pt x="195" y="153"/>
                    </a:lnTo>
                    <a:lnTo>
                      <a:pt x="198" y="156"/>
                    </a:lnTo>
                    <a:lnTo>
                      <a:pt x="210" y="160"/>
                    </a:lnTo>
                    <a:lnTo>
                      <a:pt x="210" y="161"/>
                    </a:lnTo>
                    <a:lnTo>
                      <a:pt x="206" y="164"/>
                    </a:lnTo>
                    <a:lnTo>
                      <a:pt x="205" y="167"/>
                    </a:lnTo>
                    <a:lnTo>
                      <a:pt x="205" y="177"/>
                    </a:lnTo>
                    <a:lnTo>
                      <a:pt x="206" y="179"/>
                    </a:lnTo>
                    <a:lnTo>
                      <a:pt x="207" y="177"/>
                    </a:lnTo>
                    <a:lnTo>
                      <a:pt x="206" y="167"/>
                    </a:lnTo>
                    <a:lnTo>
                      <a:pt x="207" y="165"/>
                    </a:lnTo>
                    <a:lnTo>
                      <a:pt x="210" y="163"/>
                    </a:lnTo>
                    <a:lnTo>
                      <a:pt x="212" y="161"/>
                    </a:lnTo>
                    <a:lnTo>
                      <a:pt x="209" y="155"/>
                    </a:lnTo>
                    <a:lnTo>
                      <a:pt x="205" y="148"/>
                    </a:lnTo>
                    <a:lnTo>
                      <a:pt x="205" y="144"/>
                    </a:lnTo>
                    <a:lnTo>
                      <a:pt x="208" y="137"/>
                    </a:lnTo>
                    <a:lnTo>
                      <a:pt x="210" y="131"/>
                    </a:lnTo>
                    <a:lnTo>
                      <a:pt x="212" y="127"/>
                    </a:lnTo>
                    <a:lnTo>
                      <a:pt x="214" y="124"/>
                    </a:lnTo>
                    <a:lnTo>
                      <a:pt x="220" y="122"/>
                    </a:lnTo>
                    <a:lnTo>
                      <a:pt x="223" y="126"/>
                    </a:lnTo>
                    <a:lnTo>
                      <a:pt x="226" y="128"/>
                    </a:lnTo>
                    <a:lnTo>
                      <a:pt x="234" y="129"/>
                    </a:lnTo>
                    <a:lnTo>
                      <a:pt x="238" y="129"/>
                    </a:lnTo>
                    <a:lnTo>
                      <a:pt x="244" y="128"/>
                    </a:lnTo>
                    <a:lnTo>
                      <a:pt x="247" y="128"/>
                    </a:lnTo>
                    <a:lnTo>
                      <a:pt x="255" y="125"/>
                    </a:lnTo>
                    <a:lnTo>
                      <a:pt x="267" y="127"/>
                    </a:lnTo>
                    <a:lnTo>
                      <a:pt x="270" y="129"/>
                    </a:lnTo>
                    <a:lnTo>
                      <a:pt x="277" y="140"/>
                    </a:lnTo>
                    <a:lnTo>
                      <a:pt x="283" y="144"/>
                    </a:lnTo>
                    <a:lnTo>
                      <a:pt x="286" y="150"/>
                    </a:lnTo>
                    <a:lnTo>
                      <a:pt x="290" y="155"/>
                    </a:lnTo>
                    <a:lnTo>
                      <a:pt x="294" y="155"/>
                    </a:lnTo>
                    <a:lnTo>
                      <a:pt x="299" y="159"/>
                    </a:lnTo>
                    <a:lnTo>
                      <a:pt x="309" y="161"/>
                    </a:lnTo>
                    <a:lnTo>
                      <a:pt x="311" y="160"/>
                    </a:lnTo>
                    <a:lnTo>
                      <a:pt x="310" y="159"/>
                    </a:lnTo>
                    <a:lnTo>
                      <a:pt x="307" y="158"/>
                    </a:lnTo>
                    <a:lnTo>
                      <a:pt x="299" y="157"/>
                    </a:lnTo>
                    <a:lnTo>
                      <a:pt x="294" y="153"/>
                    </a:lnTo>
                    <a:lnTo>
                      <a:pt x="289" y="151"/>
                    </a:lnTo>
                    <a:lnTo>
                      <a:pt x="288" y="149"/>
                    </a:lnTo>
                    <a:lnTo>
                      <a:pt x="288" y="147"/>
                    </a:lnTo>
                    <a:lnTo>
                      <a:pt x="289" y="149"/>
                    </a:lnTo>
                    <a:lnTo>
                      <a:pt x="290" y="150"/>
                    </a:lnTo>
                    <a:lnTo>
                      <a:pt x="289" y="149"/>
                    </a:lnTo>
                    <a:lnTo>
                      <a:pt x="287" y="142"/>
                    </a:lnTo>
                    <a:lnTo>
                      <a:pt x="280" y="139"/>
                    </a:lnTo>
                    <a:lnTo>
                      <a:pt x="279" y="138"/>
                    </a:lnTo>
                    <a:lnTo>
                      <a:pt x="277" y="133"/>
                    </a:lnTo>
                    <a:lnTo>
                      <a:pt x="276" y="131"/>
                    </a:lnTo>
                    <a:lnTo>
                      <a:pt x="276" y="130"/>
                    </a:lnTo>
                    <a:lnTo>
                      <a:pt x="271" y="127"/>
                    </a:lnTo>
                    <a:lnTo>
                      <a:pt x="268" y="125"/>
                    </a:lnTo>
                    <a:lnTo>
                      <a:pt x="261" y="123"/>
                    </a:lnTo>
                    <a:lnTo>
                      <a:pt x="254" y="123"/>
                    </a:lnTo>
                    <a:lnTo>
                      <a:pt x="249" y="122"/>
                    </a:lnTo>
                    <a:lnTo>
                      <a:pt x="244" y="123"/>
                    </a:lnTo>
                    <a:lnTo>
                      <a:pt x="240" y="120"/>
                    </a:lnTo>
                    <a:lnTo>
                      <a:pt x="237" y="117"/>
                    </a:lnTo>
                    <a:lnTo>
                      <a:pt x="236" y="115"/>
                    </a:lnTo>
                    <a:lnTo>
                      <a:pt x="236" y="113"/>
                    </a:lnTo>
                    <a:lnTo>
                      <a:pt x="235" y="113"/>
                    </a:lnTo>
                    <a:lnTo>
                      <a:pt x="233" y="108"/>
                    </a:lnTo>
                    <a:lnTo>
                      <a:pt x="236" y="107"/>
                    </a:lnTo>
                    <a:lnTo>
                      <a:pt x="239" y="107"/>
                    </a:lnTo>
                    <a:lnTo>
                      <a:pt x="243" y="110"/>
                    </a:lnTo>
                    <a:lnTo>
                      <a:pt x="244" y="109"/>
                    </a:lnTo>
                    <a:lnTo>
                      <a:pt x="246" y="108"/>
                    </a:lnTo>
                    <a:lnTo>
                      <a:pt x="246" y="107"/>
                    </a:lnTo>
                    <a:lnTo>
                      <a:pt x="247" y="102"/>
                    </a:lnTo>
                    <a:lnTo>
                      <a:pt x="245" y="100"/>
                    </a:lnTo>
                    <a:lnTo>
                      <a:pt x="243" y="98"/>
                    </a:lnTo>
                    <a:lnTo>
                      <a:pt x="244" y="96"/>
                    </a:lnTo>
                    <a:lnTo>
                      <a:pt x="243" y="96"/>
                    </a:lnTo>
                    <a:lnTo>
                      <a:pt x="241" y="96"/>
                    </a:lnTo>
                    <a:lnTo>
                      <a:pt x="234" y="98"/>
                    </a:lnTo>
                    <a:lnTo>
                      <a:pt x="232" y="96"/>
                    </a:lnTo>
                    <a:lnTo>
                      <a:pt x="232" y="94"/>
                    </a:lnTo>
                    <a:lnTo>
                      <a:pt x="231" y="92"/>
                    </a:lnTo>
                    <a:lnTo>
                      <a:pt x="232" y="90"/>
                    </a:lnTo>
                    <a:lnTo>
                      <a:pt x="233" y="88"/>
                    </a:lnTo>
                    <a:lnTo>
                      <a:pt x="233" y="84"/>
                    </a:lnTo>
                    <a:lnTo>
                      <a:pt x="238" y="83"/>
                    </a:lnTo>
                    <a:lnTo>
                      <a:pt x="242" y="80"/>
                    </a:lnTo>
                    <a:lnTo>
                      <a:pt x="243" y="78"/>
                    </a:lnTo>
                    <a:lnTo>
                      <a:pt x="237" y="81"/>
                    </a:lnTo>
                    <a:lnTo>
                      <a:pt x="236" y="81"/>
                    </a:lnTo>
                    <a:lnTo>
                      <a:pt x="237" y="80"/>
                    </a:lnTo>
                    <a:lnTo>
                      <a:pt x="235" y="80"/>
                    </a:lnTo>
                    <a:lnTo>
                      <a:pt x="229" y="82"/>
                    </a:lnTo>
                    <a:lnTo>
                      <a:pt x="224" y="80"/>
                    </a:lnTo>
                    <a:lnTo>
                      <a:pt x="222" y="82"/>
                    </a:lnTo>
                    <a:lnTo>
                      <a:pt x="222" y="83"/>
                    </a:lnTo>
                    <a:lnTo>
                      <a:pt x="221" y="83"/>
                    </a:lnTo>
                    <a:lnTo>
                      <a:pt x="216" y="82"/>
                    </a:lnTo>
                    <a:lnTo>
                      <a:pt x="214" y="77"/>
                    </a:lnTo>
                    <a:lnTo>
                      <a:pt x="215" y="75"/>
                    </a:lnTo>
                    <a:lnTo>
                      <a:pt x="217" y="75"/>
                    </a:lnTo>
                    <a:lnTo>
                      <a:pt x="221" y="74"/>
                    </a:lnTo>
                    <a:lnTo>
                      <a:pt x="219" y="72"/>
                    </a:lnTo>
                    <a:lnTo>
                      <a:pt x="217" y="73"/>
                    </a:lnTo>
                    <a:lnTo>
                      <a:pt x="216" y="72"/>
                    </a:lnTo>
                    <a:lnTo>
                      <a:pt x="218" y="69"/>
                    </a:lnTo>
                    <a:lnTo>
                      <a:pt x="219" y="70"/>
                    </a:lnTo>
                    <a:lnTo>
                      <a:pt x="221" y="69"/>
                    </a:lnTo>
                    <a:lnTo>
                      <a:pt x="223" y="69"/>
                    </a:lnTo>
                    <a:lnTo>
                      <a:pt x="232" y="68"/>
                    </a:lnTo>
                    <a:lnTo>
                      <a:pt x="233" y="69"/>
                    </a:lnTo>
                    <a:lnTo>
                      <a:pt x="234" y="68"/>
                    </a:lnTo>
                    <a:lnTo>
                      <a:pt x="238" y="67"/>
                    </a:lnTo>
                    <a:lnTo>
                      <a:pt x="243" y="63"/>
                    </a:lnTo>
                    <a:lnTo>
                      <a:pt x="245" y="64"/>
                    </a:lnTo>
                    <a:lnTo>
                      <a:pt x="247" y="62"/>
                    </a:lnTo>
                    <a:lnTo>
                      <a:pt x="246" y="60"/>
                    </a:lnTo>
                    <a:lnTo>
                      <a:pt x="247" y="59"/>
                    </a:lnTo>
                    <a:lnTo>
                      <a:pt x="243" y="54"/>
                    </a:lnTo>
                    <a:lnTo>
                      <a:pt x="239" y="52"/>
                    </a:lnTo>
                    <a:lnTo>
                      <a:pt x="237" y="49"/>
                    </a:lnTo>
                    <a:lnTo>
                      <a:pt x="236" y="47"/>
                    </a:lnTo>
                    <a:lnTo>
                      <a:pt x="231" y="48"/>
                    </a:lnTo>
                    <a:lnTo>
                      <a:pt x="234" y="46"/>
                    </a:lnTo>
                    <a:lnTo>
                      <a:pt x="230" y="39"/>
                    </a:lnTo>
                    <a:lnTo>
                      <a:pt x="225" y="35"/>
                    </a:lnTo>
                    <a:lnTo>
                      <a:pt x="221" y="34"/>
                    </a:lnTo>
                    <a:lnTo>
                      <a:pt x="222" y="32"/>
                    </a:lnTo>
                    <a:lnTo>
                      <a:pt x="218" y="26"/>
                    </a:lnTo>
                    <a:lnTo>
                      <a:pt x="217" y="23"/>
                    </a:lnTo>
                    <a:lnTo>
                      <a:pt x="218" y="19"/>
                    </a:lnTo>
                    <a:lnTo>
                      <a:pt x="214" y="18"/>
                    </a:lnTo>
                    <a:lnTo>
                      <a:pt x="207" y="19"/>
                    </a:lnTo>
                    <a:lnTo>
                      <a:pt x="200" y="21"/>
                    </a:lnTo>
                    <a:lnTo>
                      <a:pt x="197" y="21"/>
                    </a:lnTo>
                    <a:lnTo>
                      <a:pt x="195" y="19"/>
                    </a:lnTo>
                    <a:lnTo>
                      <a:pt x="194" y="19"/>
                    </a:lnTo>
                    <a:lnTo>
                      <a:pt x="193" y="20"/>
                    </a:lnTo>
                    <a:lnTo>
                      <a:pt x="191" y="21"/>
                    </a:lnTo>
                    <a:lnTo>
                      <a:pt x="190" y="28"/>
                    </a:lnTo>
                    <a:lnTo>
                      <a:pt x="191" y="30"/>
                    </a:lnTo>
                    <a:lnTo>
                      <a:pt x="191" y="33"/>
                    </a:lnTo>
                    <a:lnTo>
                      <a:pt x="190" y="33"/>
                    </a:lnTo>
                    <a:lnTo>
                      <a:pt x="189" y="32"/>
                    </a:lnTo>
                    <a:close/>
                    <a:moveTo>
                      <a:pt x="242" y="58"/>
                    </a:moveTo>
                    <a:lnTo>
                      <a:pt x="240" y="59"/>
                    </a:lnTo>
                    <a:lnTo>
                      <a:pt x="239" y="62"/>
                    </a:lnTo>
                    <a:lnTo>
                      <a:pt x="238" y="62"/>
                    </a:lnTo>
                    <a:lnTo>
                      <a:pt x="233" y="63"/>
                    </a:lnTo>
                    <a:lnTo>
                      <a:pt x="231" y="62"/>
                    </a:lnTo>
                    <a:lnTo>
                      <a:pt x="232" y="60"/>
                    </a:lnTo>
                    <a:lnTo>
                      <a:pt x="231" y="58"/>
                    </a:lnTo>
                    <a:lnTo>
                      <a:pt x="235" y="56"/>
                    </a:lnTo>
                    <a:lnTo>
                      <a:pt x="242" y="56"/>
                    </a:lnTo>
                    <a:lnTo>
                      <a:pt x="242" y="57"/>
                    </a:lnTo>
                    <a:lnTo>
                      <a:pt x="242" y="58"/>
                    </a:lnTo>
                    <a:close/>
                    <a:moveTo>
                      <a:pt x="195" y="38"/>
                    </a:moveTo>
                    <a:lnTo>
                      <a:pt x="194" y="39"/>
                    </a:lnTo>
                    <a:lnTo>
                      <a:pt x="196" y="43"/>
                    </a:lnTo>
                    <a:lnTo>
                      <a:pt x="198" y="45"/>
                    </a:lnTo>
                    <a:lnTo>
                      <a:pt x="196" y="46"/>
                    </a:lnTo>
                    <a:lnTo>
                      <a:pt x="197" y="46"/>
                    </a:lnTo>
                    <a:lnTo>
                      <a:pt x="195" y="47"/>
                    </a:lnTo>
                    <a:lnTo>
                      <a:pt x="193" y="46"/>
                    </a:lnTo>
                    <a:lnTo>
                      <a:pt x="190" y="41"/>
                    </a:lnTo>
                    <a:lnTo>
                      <a:pt x="192" y="38"/>
                    </a:lnTo>
                    <a:lnTo>
                      <a:pt x="195" y="36"/>
                    </a:lnTo>
                    <a:lnTo>
                      <a:pt x="195" y="37"/>
                    </a:lnTo>
                    <a:lnTo>
                      <a:pt x="195" y="38"/>
                    </a:lnTo>
                    <a:close/>
                    <a:moveTo>
                      <a:pt x="198" y="36"/>
                    </a:moveTo>
                    <a:lnTo>
                      <a:pt x="200" y="34"/>
                    </a:lnTo>
                    <a:lnTo>
                      <a:pt x="204" y="32"/>
                    </a:lnTo>
                    <a:lnTo>
                      <a:pt x="207" y="33"/>
                    </a:lnTo>
                    <a:lnTo>
                      <a:pt x="209" y="32"/>
                    </a:lnTo>
                    <a:lnTo>
                      <a:pt x="213" y="33"/>
                    </a:lnTo>
                    <a:lnTo>
                      <a:pt x="214" y="35"/>
                    </a:lnTo>
                    <a:lnTo>
                      <a:pt x="211" y="40"/>
                    </a:lnTo>
                    <a:lnTo>
                      <a:pt x="204" y="39"/>
                    </a:lnTo>
                    <a:lnTo>
                      <a:pt x="198" y="37"/>
                    </a:lnTo>
                    <a:lnTo>
                      <a:pt x="198" y="36"/>
                    </a:lnTo>
                    <a:close/>
                    <a:moveTo>
                      <a:pt x="206" y="64"/>
                    </a:moveTo>
                    <a:lnTo>
                      <a:pt x="206" y="65"/>
                    </a:lnTo>
                    <a:lnTo>
                      <a:pt x="205" y="67"/>
                    </a:lnTo>
                    <a:lnTo>
                      <a:pt x="202" y="65"/>
                    </a:lnTo>
                    <a:lnTo>
                      <a:pt x="201" y="64"/>
                    </a:lnTo>
                    <a:lnTo>
                      <a:pt x="204" y="62"/>
                    </a:lnTo>
                    <a:lnTo>
                      <a:pt x="206" y="64"/>
                    </a:lnTo>
                    <a:close/>
                    <a:moveTo>
                      <a:pt x="223" y="53"/>
                    </a:moveTo>
                    <a:lnTo>
                      <a:pt x="223" y="56"/>
                    </a:lnTo>
                    <a:lnTo>
                      <a:pt x="220" y="59"/>
                    </a:lnTo>
                    <a:lnTo>
                      <a:pt x="215" y="59"/>
                    </a:lnTo>
                    <a:lnTo>
                      <a:pt x="213" y="57"/>
                    </a:lnTo>
                    <a:lnTo>
                      <a:pt x="214" y="56"/>
                    </a:lnTo>
                    <a:lnTo>
                      <a:pt x="216" y="55"/>
                    </a:lnTo>
                    <a:lnTo>
                      <a:pt x="218" y="53"/>
                    </a:lnTo>
                    <a:lnTo>
                      <a:pt x="222" y="53"/>
                    </a:lnTo>
                    <a:lnTo>
                      <a:pt x="223" y="53"/>
                    </a:lnTo>
                    <a:close/>
                    <a:moveTo>
                      <a:pt x="211" y="51"/>
                    </a:moveTo>
                    <a:lnTo>
                      <a:pt x="212" y="52"/>
                    </a:lnTo>
                    <a:lnTo>
                      <a:pt x="210" y="53"/>
                    </a:lnTo>
                    <a:lnTo>
                      <a:pt x="207" y="51"/>
                    </a:lnTo>
                    <a:lnTo>
                      <a:pt x="207" y="50"/>
                    </a:lnTo>
                    <a:lnTo>
                      <a:pt x="211" y="51"/>
                    </a:lnTo>
                    <a:close/>
                    <a:moveTo>
                      <a:pt x="219" y="42"/>
                    </a:moveTo>
                    <a:lnTo>
                      <a:pt x="218" y="44"/>
                    </a:lnTo>
                    <a:lnTo>
                      <a:pt x="213" y="44"/>
                    </a:lnTo>
                    <a:lnTo>
                      <a:pt x="210" y="46"/>
                    </a:lnTo>
                    <a:lnTo>
                      <a:pt x="209" y="45"/>
                    </a:lnTo>
                    <a:lnTo>
                      <a:pt x="210" y="44"/>
                    </a:lnTo>
                    <a:lnTo>
                      <a:pt x="216" y="43"/>
                    </a:lnTo>
                    <a:lnTo>
                      <a:pt x="218" y="41"/>
                    </a:lnTo>
                    <a:lnTo>
                      <a:pt x="219" y="42"/>
                    </a:lnTo>
                    <a:close/>
                    <a:moveTo>
                      <a:pt x="431" y="114"/>
                    </a:moveTo>
                    <a:lnTo>
                      <a:pt x="431" y="112"/>
                    </a:lnTo>
                    <a:lnTo>
                      <a:pt x="437" y="109"/>
                    </a:lnTo>
                    <a:lnTo>
                      <a:pt x="438" y="108"/>
                    </a:lnTo>
                    <a:lnTo>
                      <a:pt x="440" y="110"/>
                    </a:lnTo>
                    <a:lnTo>
                      <a:pt x="437" y="116"/>
                    </a:lnTo>
                    <a:lnTo>
                      <a:pt x="436" y="115"/>
                    </a:lnTo>
                    <a:lnTo>
                      <a:pt x="437" y="114"/>
                    </a:lnTo>
                    <a:lnTo>
                      <a:pt x="437" y="112"/>
                    </a:lnTo>
                    <a:lnTo>
                      <a:pt x="435" y="113"/>
                    </a:lnTo>
                    <a:lnTo>
                      <a:pt x="435" y="115"/>
                    </a:lnTo>
                    <a:lnTo>
                      <a:pt x="431" y="114"/>
                    </a:lnTo>
                    <a:close/>
                    <a:moveTo>
                      <a:pt x="562" y="61"/>
                    </a:moveTo>
                    <a:lnTo>
                      <a:pt x="563" y="58"/>
                    </a:lnTo>
                    <a:lnTo>
                      <a:pt x="565" y="52"/>
                    </a:lnTo>
                    <a:lnTo>
                      <a:pt x="565" y="49"/>
                    </a:lnTo>
                    <a:lnTo>
                      <a:pt x="567" y="47"/>
                    </a:lnTo>
                    <a:lnTo>
                      <a:pt x="570" y="48"/>
                    </a:lnTo>
                    <a:lnTo>
                      <a:pt x="570" y="50"/>
                    </a:lnTo>
                    <a:lnTo>
                      <a:pt x="570" y="49"/>
                    </a:lnTo>
                    <a:lnTo>
                      <a:pt x="569" y="51"/>
                    </a:lnTo>
                    <a:lnTo>
                      <a:pt x="569" y="49"/>
                    </a:lnTo>
                    <a:lnTo>
                      <a:pt x="566" y="50"/>
                    </a:lnTo>
                    <a:lnTo>
                      <a:pt x="566" y="52"/>
                    </a:lnTo>
                    <a:lnTo>
                      <a:pt x="567" y="52"/>
                    </a:lnTo>
                    <a:lnTo>
                      <a:pt x="566" y="55"/>
                    </a:lnTo>
                    <a:lnTo>
                      <a:pt x="564" y="57"/>
                    </a:lnTo>
                    <a:lnTo>
                      <a:pt x="563" y="61"/>
                    </a:lnTo>
                    <a:lnTo>
                      <a:pt x="563" y="62"/>
                    </a:lnTo>
                    <a:lnTo>
                      <a:pt x="562" y="61"/>
                    </a:lnTo>
                    <a:close/>
                    <a:moveTo>
                      <a:pt x="568" y="64"/>
                    </a:moveTo>
                    <a:lnTo>
                      <a:pt x="570" y="60"/>
                    </a:lnTo>
                    <a:lnTo>
                      <a:pt x="571" y="59"/>
                    </a:lnTo>
                    <a:lnTo>
                      <a:pt x="573" y="59"/>
                    </a:lnTo>
                    <a:lnTo>
                      <a:pt x="575" y="61"/>
                    </a:lnTo>
                    <a:lnTo>
                      <a:pt x="571" y="64"/>
                    </a:lnTo>
                    <a:lnTo>
                      <a:pt x="568" y="64"/>
                    </a:lnTo>
                    <a:close/>
                    <a:moveTo>
                      <a:pt x="567" y="76"/>
                    </a:moveTo>
                    <a:lnTo>
                      <a:pt x="568" y="72"/>
                    </a:lnTo>
                    <a:lnTo>
                      <a:pt x="573" y="72"/>
                    </a:lnTo>
                    <a:lnTo>
                      <a:pt x="575" y="72"/>
                    </a:lnTo>
                    <a:lnTo>
                      <a:pt x="579" y="71"/>
                    </a:lnTo>
                    <a:lnTo>
                      <a:pt x="577" y="70"/>
                    </a:lnTo>
                    <a:lnTo>
                      <a:pt x="576" y="69"/>
                    </a:lnTo>
                    <a:lnTo>
                      <a:pt x="577" y="68"/>
                    </a:lnTo>
                    <a:lnTo>
                      <a:pt x="575" y="68"/>
                    </a:lnTo>
                    <a:lnTo>
                      <a:pt x="574" y="66"/>
                    </a:lnTo>
                    <a:lnTo>
                      <a:pt x="570" y="67"/>
                    </a:lnTo>
                    <a:lnTo>
                      <a:pt x="570" y="66"/>
                    </a:lnTo>
                    <a:lnTo>
                      <a:pt x="572" y="64"/>
                    </a:lnTo>
                    <a:lnTo>
                      <a:pt x="573" y="64"/>
                    </a:lnTo>
                    <a:lnTo>
                      <a:pt x="574" y="63"/>
                    </a:lnTo>
                    <a:lnTo>
                      <a:pt x="578" y="62"/>
                    </a:lnTo>
                    <a:lnTo>
                      <a:pt x="577" y="62"/>
                    </a:lnTo>
                    <a:lnTo>
                      <a:pt x="579" y="61"/>
                    </a:lnTo>
                    <a:lnTo>
                      <a:pt x="576" y="60"/>
                    </a:lnTo>
                    <a:lnTo>
                      <a:pt x="576" y="58"/>
                    </a:lnTo>
                    <a:lnTo>
                      <a:pt x="572" y="58"/>
                    </a:lnTo>
                    <a:lnTo>
                      <a:pt x="571" y="57"/>
                    </a:lnTo>
                    <a:lnTo>
                      <a:pt x="570" y="55"/>
                    </a:lnTo>
                    <a:lnTo>
                      <a:pt x="569" y="54"/>
                    </a:lnTo>
                    <a:lnTo>
                      <a:pt x="570" y="53"/>
                    </a:lnTo>
                    <a:lnTo>
                      <a:pt x="578" y="53"/>
                    </a:lnTo>
                    <a:lnTo>
                      <a:pt x="581" y="55"/>
                    </a:lnTo>
                    <a:lnTo>
                      <a:pt x="581" y="56"/>
                    </a:lnTo>
                    <a:lnTo>
                      <a:pt x="582" y="57"/>
                    </a:lnTo>
                    <a:lnTo>
                      <a:pt x="582" y="53"/>
                    </a:lnTo>
                    <a:lnTo>
                      <a:pt x="587" y="50"/>
                    </a:lnTo>
                    <a:lnTo>
                      <a:pt x="586" y="53"/>
                    </a:lnTo>
                    <a:lnTo>
                      <a:pt x="585" y="53"/>
                    </a:lnTo>
                    <a:lnTo>
                      <a:pt x="586" y="54"/>
                    </a:lnTo>
                    <a:lnTo>
                      <a:pt x="585" y="56"/>
                    </a:lnTo>
                    <a:lnTo>
                      <a:pt x="585" y="57"/>
                    </a:lnTo>
                    <a:lnTo>
                      <a:pt x="589" y="56"/>
                    </a:lnTo>
                    <a:lnTo>
                      <a:pt x="589" y="55"/>
                    </a:lnTo>
                    <a:lnTo>
                      <a:pt x="586" y="53"/>
                    </a:lnTo>
                    <a:lnTo>
                      <a:pt x="587" y="52"/>
                    </a:lnTo>
                    <a:lnTo>
                      <a:pt x="591" y="56"/>
                    </a:lnTo>
                    <a:lnTo>
                      <a:pt x="590" y="58"/>
                    </a:lnTo>
                    <a:lnTo>
                      <a:pt x="591" y="59"/>
                    </a:lnTo>
                    <a:lnTo>
                      <a:pt x="593" y="59"/>
                    </a:lnTo>
                    <a:lnTo>
                      <a:pt x="594" y="61"/>
                    </a:lnTo>
                    <a:lnTo>
                      <a:pt x="595" y="60"/>
                    </a:lnTo>
                    <a:lnTo>
                      <a:pt x="598" y="60"/>
                    </a:lnTo>
                    <a:lnTo>
                      <a:pt x="597" y="59"/>
                    </a:lnTo>
                    <a:lnTo>
                      <a:pt x="598" y="57"/>
                    </a:lnTo>
                    <a:lnTo>
                      <a:pt x="598" y="56"/>
                    </a:lnTo>
                    <a:lnTo>
                      <a:pt x="598" y="54"/>
                    </a:lnTo>
                    <a:lnTo>
                      <a:pt x="597" y="53"/>
                    </a:lnTo>
                    <a:lnTo>
                      <a:pt x="598" y="53"/>
                    </a:lnTo>
                    <a:lnTo>
                      <a:pt x="598" y="52"/>
                    </a:lnTo>
                    <a:lnTo>
                      <a:pt x="596" y="53"/>
                    </a:lnTo>
                    <a:lnTo>
                      <a:pt x="593" y="53"/>
                    </a:lnTo>
                    <a:lnTo>
                      <a:pt x="591" y="52"/>
                    </a:lnTo>
                    <a:lnTo>
                      <a:pt x="588" y="50"/>
                    </a:lnTo>
                    <a:lnTo>
                      <a:pt x="587" y="47"/>
                    </a:lnTo>
                    <a:lnTo>
                      <a:pt x="587" y="46"/>
                    </a:lnTo>
                    <a:lnTo>
                      <a:pt x="582" y="51"/>
                    </a:lnTo>
                    <a:lnTo>
                      <a:pt x="580" y="52"/>
                    </a:lnTo>
                    <a:lnTo>
                      <a:pt x="577" y="52"/>
                    </a:lnTo>
                    <a:lnTo>
                      <a:pt x="579" y="47"/>
                    </a:lnTo>
                    <a:lnTo>
                      <a:pt x="580" y="46"/>
                    </a:lnTo>
                    <a:lnTo>
                      <a:pt x="581" y="44"/>
                    </a:lnTo>
                    <a:lnTo>
                      <a:pt x="579" y="44"/>
                    </a:lnTo>
                    <a:lnTo>
                      <a:pt x="576" y="45"/>
                    </a:lnTo>
                    <a:lnTo>
                      <a:pt x="576" y="43"/>
                    </a:lnTo>
                    <a:lnTo>
                      <a:pt x="580" y="40"/>
                    </a:lnTo>
                    <a:lnTo>
                      <a:pt x="591" y="40"/>
                    </a:lnTo>
                    <a:lnTo>
                      <a:pt x="593" y="40"/>
                    </a:lnTo>
                    <a:lnTo>
                      <a:pt x="591" y="42"/>
                    </a:lnTo>
                    <a:lnTo>
                      <a:pt x="588" y="43"/>
                    </a:lnTo>
                    <a:lnTo>
                      <a:pt x="588" y="44"/>
                    </a:lnTo>
                    <a:lnTo>
                      <a:pt x="589" y="47"/>
                    </a:lnTo>
                    <a:lnTo>
                      <a:pt x="591" y="50"/>
                    </a:lnTo>
                    <a:lnTo>
                      <a:pt x="595" y="51"/>
                    </a:lnTo>
                    <a:lnTo>
                      <a:pt x="608" y="50"/>
                    </a:lnTo>
                    <a:lnTo>
                      <a:pt x="611" y="52"/>
                    </a:lnTo>
                    <a:lnTo>
                      <a:pt x="611" y="56"/>
                    </a:lnTo>
                    <a:lnTo>
                      <a:pt x="603" y="60"/>
                    </a:lnTo>
                    <a:lnTo>
                      <a:pt x="603" y="62"/>
                    </a:lnTo>
                    <a:lnTo>
                      <a:pt x="603" y="65"/>
                    </a:lnTo>
                    <a:lnTo>
                      <a:pt x="606" y="69"/>
                    </a:lnTo>
                    <a:lnTo>
                      <a:pt x="611" y="69"/>
                    </a:lnTo>
                    <a:lnTo>
                      <a:pt x="613" y="70"/>
                    </a:lnTo>
                    <a:lnTo>
                      <a:pt x="616" y="75"/>
                    </a:lnTo>
                    <a:lnTo>
                      <a:pt x="618" y="76"/>
                    </a:lnTo>
                    <a:lnTo>
                      <a:pt x="616" y="76"/>
                    </a:lnTo>
                    <a:lnTo>
                      <a:pt x="615" y="78"/>
                    </a:lnTo>
                    <a:lnTo>
                      <a:pt x="615" y="82"/>
                    </a:lnTo>
                    <a:lnTo>
                      <a:pt x="614" y="83"/>
                    </a:lnTo>
                    <a:lnTo>
                      <a:pt x="612" y="82"/>
                    </a:lnTo>
                    <a:lnTo>
                      <a:pt x="614" y="82"/>
                    </a:lnTo>
                    <a:lnTo>
                      <a:pt x="614" y="80"/>
                    </a:lnTo>
                    <a:lnTo>
                      <a:pt x="609" y="81"/>
                    </a:lnTo>
                    <a:lnTo>
                      <a:pt x="609" y="80"/>
                    </a:lnTo>
                    <a:lnTo>
                      <a:pt x="612" y="78"/>
                    </a:lnTo>
                    <a:lnTo>
                      <a:pt x="614" y="77"/>
                    </a:lnTo>
                    <a:lnTo>
                      <a:pt x="611" y="76"/>
                    </a:lnTo>
                    <a:lnTo>
                      <a:pt x="606" y="78"/>
                    </a:lnTo>
                    <a:lnTo>
                      <a:pt x="611" y="76"/>
                    </a:lnTo>
                    <a:lnTo>
                      <a:pt x="612" y="74"/>
                    </a:lnTo>
                    <a:lnTo>
                      <a:pt x="608" y="75"/>
                    </a:lnTo>
                    <a:lnTo>
                      <a:pt x="606" y="76"/>
                    </a:lnTo>
                    <a:lnTo>
                      <a:pt x="604" y="74"/>
                    </a:lnTo>
                    <a:lnTo>
                      <a:pt x="602" y="76"/>
                    </a:lnTo>
                    <a:lnTo>
                      <a:pt x="598" y="75"/>
                    </a:lnTo>
                    <a:lnTo>
                      <a:pt x="592" y="79"/>
                    </a:lnTo>
                    <a:lnTo>
                      <a:pt x="589" y="82"/>
                    </a:lnTo>
                    <a:lnTo>
                      <a:pt x="587" y="82"/>
                    </a:lnTo>
                    <a:lnTo>
                      <a:pt x="586" y="82"/>
                    </a:lnTo>
                    <a:lnTo>
                      <a:pt x="586" y="85"/>
                    </a:lnTo>
                    <a:lnTo>
                      <a:pt x="587" y="85"/>
                    </a:lnTo>
                    <a:lnTo>
                      <a:pt x="586" y="84"/>
                    </a:lnTo>
                    <a:lnTo>
                      <a:pt x="589" y="84"/>
                    </a:lnTo>
                    <a:lnTo>
                      <a:pt x="591" y="84"/>
                    </a:lnTo>
                    <a:lnTo>
                      <a:pt x="592" y="86"/>
                    </a:lnTo>
                    <a:lnTo>
                      <a:pt x="589" y="88"/>
                    </a:lnTo>
                    <a:lnTo>
                      <a:pt x="588" y="87"/>
                    </a:lnTo>
                    <a:lnTo>
                      <a:pt x="583" y="86"/>
                    </a:lnTo>
                    <a:lnTo>
                      <a:pt x="581" y="85"/>
                    </a:lnTo>
                    <a:lnTo>
                      <a:pt x="583" y="85"/>
                    </a:lnTo>
                    <a:lnTo>
                      <a:pt x="583" y="84"/>
                    </a:lnTo>
                    <a:lnTo>
                      <a:pt x="584" y="82"/>
                    </a:lnTo>
                    <a:lnTo>
                      <a:pt x="582" y="83"/>
                    </a:lnTo>
                    <a:lnTo>
                      <a:pt x="582" y="84"/>
                    </a:lnTo>
                    <a:lnTo>
                      <a:pt x="578" y="84"/>
                    </a:lnTo>
                    <a:lnTo>
                      <a:pt x="575" y="82"/>
                    </a:lnTo>
                    <a:lnTo>
                      <a:pt x="573" y="82"/>
                    </a:lnTo>
                    <a:lnTo>
                      <a:pt x="574" y="80"/>
                    </a:lnTo>
                    <a:lnTo>
                      <a:pt x="569" y="81"/>
                    </a:lnTo>
                    <a:lnTo>
                      <a:pt x="569" y="80"/>
                    </a:lnTo>
                    <a:lnTo>
                      <a:pt x="570" y="79"/>
                    </a:lnTo>
                    <a:lnTo>
                      <a:pt x="572" y="79"/>
                    </a:lnTo>
                    <a:lnTo>
                      <a:pt x="569" y="78"/>
                    </a:lnTo>
                    <a:lnTo>
                      <a:pt x="567" y="76"/>
                    </a:lnTo>
                    <a:close/>
                  </a:path>
                </a:pathLst>
              </a:custGeom>
              <a:solidFill>
                <a:schemeClr val="tx1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57" name="Sweden">
                <a:extLst>
                  <a:ext uri="{FF2B5EF4-FFF2-40B4-BE49-F238E27FC236}">
                    <a16:creationId xmlns:a16="http://schemas.microsoft.com/office/drawing/2014/main" id="{46118AEE-9776-4C9A-877A-2391070DD3D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4812773" y="1534117"/>
                <a:ext cx="918361" cy="1303552"/>
              </a:xfrm>
              <a:custGeom>
                <a:avLst/>
                <a:gdLst>
                  <a:gd name="T0" fmla="*/ 795 w 820"/>
                  <a:gd name="T1" fmla="*/ 34 h 1021"/>
                  <a:gd name="T2" fmla="*/ 238 w 820"/>
                  <a:gd name="T3" fmla="*/ 86 h 1021"/>
                  <a:gd name="T4" fmla="*/ 91 w 820"/>
                  <a:gd name="T5" fmla="*/ 428 h 1021"/>
                  <a:gd name="T6" fmla="*/ 50 w 820"/>
                  <a:gd name="T7" fmla="*/ 622 h 1021"/>
                  <a:gd name="T8" fmla="*/ 12 w 820"/>
                  <a:gd name="T9" fmla="*/ 678 h 1021"/>
                  <a:gd name="T10" fmla="*/ 32 w 820"/>
                  <a:gd name="T11" fmla="*/ 704 h 1021"/>
                  <a:gd name="T12" fmla="*/ 52 w 820"/>
                  <a:gd name="T13" fmla="*/ 733 h 1021"/>
                  <a:gd name="T14" fmla="*/ 63 w 820"/>
                  <a:gd name="T15" fmla="*/ 787 h 1021"/>
                  <a:gd name="T16" fmla="*/ 81 w 820"/>
                  <a:gd name="T17" fmla="*/ 821 h 1021"/>
                  <a:gd name="T18" fmla="*/ 123 w 820"/>
                  <a:gd name="T19" fmla="*/ 901 h 1021"/>
                  <a:gd name="T20" fmla="*/ 146 w 820"/>
                  <a:gd name="T21" fmla="*/ 1008 h 1021"/>
                  <a:gd name="T22" fmla="*/ 263 w 820"/>
                  <a:gd name="T23" fmla="*/ 946 h 1021"/>
                  <a:gd name="T24" fmla="*/ 329 w 820"/>
                  <a:gd name="T25" fmla="*/ 933 h 1021"/>
                  <a:gd name="T26" fmla="*/ 388 w 820"/>
                  <a:gd name="T27" fmla="*/ 910 h 1021"/>
                  <a:gd name="T28" fmla="*/ 422 w 820"/>
                  <a:gd name="T29" fmla="*/ 832 h 1021"/>
                  <a:gd name="T30" fmla="*/ 424 w 820"/>
                  <a:gd name="T31" fmla="*/ 779 h 1021"/>
                  <a:gd name="T32" fmla="*/ 421 w 820"/>
                  <a:gd name="T33" fmla="*/ 739 h 1021"/>
                  <a:gd name="T34" fmla="*/ 441 w 820"/>
                  <a:gd name="T35" fmla="*/ 736 h 1021"/>
                  <a:gd name="T36" fmla="*/ 431 w 820"/>
                  <a:gd name="T37" fmla="*/ 702 h 1021"/>
                  <a:gd name="T38" fmla="*/ 415 w 820"/>
                  <a:gd name="T39" fmla="*/ 673 h 1021"/>
                  <a:gd name="T40" fmla="*/ 470 w 820"/>
                  <a:gd name="T41" fmla="*/ 660 h 1021"/>
                  <a:gd name="T42" fmla="*/ 511 w 820"/>
                  <a:gd name="T43" fmla="*/ 621 h 1021"/>
                  <a:gd name="T44" fmla="*/ 549 w 820"/>
                  <a:gd name="T45" fmla="*/ 624 h 1021"/>
                  <a:gd name="T46" fmla="*/ 588 w 820"/>
                  <a:gd name="T47" fmla="*/ 597 h 1021"/>
                  <a:gd name="T48" fmla="*/ 516 w 820"/>
                  <a:gd name="T49" fmla="*/ 608 h 1021"/>
                  <a:gd name="T50" fmla="*/ 452 w 820"/>
                  <a:gd name="T51" fmla="*/ 591 h 1021"/>
                  <a:gd name="T52" fmla="*/ 425 w 820"/>
                  <a:gd name="T53" fmla="*/ 574 h 1021"/>
                  <a:gd name="T54" fmla="*/ 486 w 820"/>
                  <a:gd name="T55" fmla="*/ 567 h 1021"/>
                  <a:gd name="T56" fmla="*/ 500 w 820"/>
                  <a:gd name="T57" fmla="*/ 565 h 1021"/>
                  <a:gd name="T58" fmla="*/ 522 w 820"/>
                  <a:gd name="T59" fmla="*/ 580 h 1021"/>
                  <a:gd name="T60" fmla="*/ 593 w 820"/>
                  <a:gd name="T61" fmla="*/ 568 h 1021"/>
                  <a:gd name="T62" fmla="*/ 617 w 820"/>
                  <a:gd name="T63" fmla="*/ 537 h 1021"/>
                  <a:gd name="T64" fmla="*/ 564 w 820"/>
                  <a:gd name="T65" fmla="*/ 495 h 1021"/>
                  <a:gd name="T66" fmla="*/ 517 w 820"/>
                  <a:gd name="T67" fmla="*/ 471 h 1021"/>
                  <a:gd name="T68" fmla="*/ 473 w 820"/>
                  <a:gd name="T69" fmla="*/ 420 h 1021"/>
                  <a:gd name="T70" fmla="*/ 477 w 820"/>
                  <a:gd name="T71" fmla="*/ 376 h 1021"/>
                  <a:gd name="T72" fmla="*/ 487 w 820"/>
                  <a:gd name="T73" fmla="*/ 351 h 1021"/>
                  <a:gd name="T74" fmla="*/ 500 w 820"/>
                  <a:gd name="T75" fmla="*/ 297 h 1021"/>
                  <a:gd name="T76" fmla="*/ 512 w 820"/>
                  <a:gd name="T77" fmla="*/ 268 h 1021"/>
                  <a:gd name="T78" fmla="*/ 521 w 820"/>
                  <a:gd name="T79" fmla="*/ 214 h 1021"/>
                  <a:gd name="T80" fmla="*/ 561 w 820"/>
                  <a:gd name="T81" fmla="*/ 226 h 1021"/>
                  <a:gd name="T82" fmla="*/ 580 w 820"/>
                  <a:gd name="T83" fmla="*/ 204 h 1021"/>
                  <a:gd name="T84" fmla="*/ 625 w 820"/>
                  <a:gd name="T85" fmla="*/ 189 h 1021"/>
                  <a:gd name="T86" fmla="*/ 651 w 820"/>
                  <a:gd name="T87" fmla="*/ 157 h 1021"/>
                  <a:gd name="T88" fmla="*/ 713 w 820"/>
                  <a:gd name="T89" fmla="*/ 141 h 1021"/>
                  <a:gd name="T90" fmla="*/ 757 w 820"/>
                  <a:gd name="T91" fmla="*/ 117 h 1021"/>
                  <a:gd name="T92" fmla="*/ 768 w 820"/>
                  <a:gd name="T93" fmla="*/ 135 h 1021"/>
                  <a:gd name="T94" fmla="*/ 497 w 820"/>
                  <a:gd name="T95" fmla="*/ 269 h 1021"/>
                  <a:gd name="T96" fmla="*/ 479 w 820"/>
                  <a:gd name="T97" fmla="*/ 587 h 1021"/>
                  <a:gd name="T98" fmla="*/ 508 w 820"/>
                  <a:gd name="T99" fmla="*/ 589 h 1021"/>
                  <a:gd name="T100" fmla="*/ 609 w 820"/>
                  <a:gd name="T101" fmla="*/ 564 h 1021"/>
                  <a:gd name="T102" fmla="*/ 576 w 820"/>
                  <a:gd name="T103" fmla="*/ 620 h 1021"/>
                  <a:gd name="T104" fmla="*/ 577 w 820"/>
                  <a:gd name="T105" fmla="*/ 492 h 1021"/>
                  <a:gd name="T106" fmla="*/ 594 w 820"/>
                  <a:gd name="T107" fmla="*/ 505 h 1021"/>
                  <a:gd name="T108" fmla="*/ 596 w 820"/>
                  <a:gd name="T109" fmla="*/ 611 h 1021"/>
                  <a:gd name="T110" fmla="*/ 47 w 820"/>
                  <a:gd name="T111" fmla="*/ 740 h 1021"/>
                  <a:gd name="T112" fmla="*/ 40 w 820"/>
                  <a:gd name="T113" fmla="*/ 728 h 1021"/>
                  <a:gd name="T114" fmla="*/ 619 w 820"/>
                  <a:gd name="T115" fmla="*/ 747 h 1021"/>
                  <a:gd name="T116" fmla="*/ 598 w 820"/>
                  <a:gd name="T117" fmla="*/ 795 h 1021"/>
                  <a:gd name="T118" fmla="*/ 563 w 820"/>
                  <a:gd name="T119" fmla="*/ 847 h 1021"/>
                  <a:gd name="T120" fmla="*/ 601 w 820"/>
                  <a:gd name="T121" fmla="*/ 757 h 1021"/>
                  <a:gd name="T122" fmla="*/ 432 w 820"/>
                  <a:gd name="T123" fmla="*/ 891 h 1021"/>
                  <a:gd name="T124" fmla="*/ 469 w 820"/>
                  <a:gd name="T125" fmla="*/ 808 h 1021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820"/>
                  <a:gd name="T190" fmla="*/ 0 h 1021"/>
                  <a:gd name="T191" fmla="*/ 820 w 820"/>
                  <a:gd name="T192" fmla="*/ 1021 h 1021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820" h="1021">
                    <a:moveTo>
                      <a:pt x="818" y="55"/>
                    </a:moveTo>
                    <a:lnTo>
                      <a:pt x="818" y="55"/>
                    </a:lnTo>
                    <a:lnTo>
                      <a:pt x="818" y="56"/>
                    </a:lnTo>
                    <a:lnTo>
                      <a:pt x="815" y="56"/>
                    </a:lnTo>
                    <a:lnTo>
                      <a:pt x="813" y="58"/>
                    </a:lnTo>
                    <a:lnTo>
                      <a:pt x="810" y="58"/>
                    </a:lnTo>
                    <a:lnTo>
                      <a:pt x="810" y="57"/>
                    </a:lnTo>
                    <a:lnTo>
                      <a:pt x="811" y="54"/>
                    </a:lnTo>
                    <a:lnTo>
                      <a:pt x="810" y="52"/>
                    </a:lnTo>
                    <a:lnTo>
                      <a:pt x="803" y="52"/>
                    </a:lnTo>
                    <a:lnTo>
                      <a:pt x="800" y="49"/>
                    </a:lnTo>
                    <a:lnTo>
                      <a:pt x="801" y="49"/>
                    </a:lnTo>
                    <a:lnTo>
                      <a:pt x="804" y="51"/>
                    </a:lnTo>
                    <a:lnTo>
                      <a:pt x="808" y="48"/>
                    </a:lnTo>
                    <a:lnTo>
                      <a:pt x="812" y="50"/>
                    </a:lnTo>
                    <a:lnTo>
                      <a:pt x="815" y="50"/>
                    </a:lnTo>
                    <a:lnTo>
                      <a:pt x="816" y="49"/>
                    </a:lnTo>
                    <a:lnTo>
                      <a:pt x="813" y="49"/>
                    </a:lnTo>
                    <a:lnTo>
                      <a:pt x="811" y="48"/>
                    </a:lnTo>
                    <a:lnTo>
                      <a:pt x="812" y="46"/>
                    </a:lnTo>
                    <a:lnTo>
                      <a:pt x="810" y="44"/>
                    </a:lnTo>
                    <a:lnTo>
                      <a:pt x="809" y="44"/>
                    </a:lnTo>
                    <a:lnTo>
                      <a:pt x="810" y="46"/>
                    </a:lnTo>
                    <a:lnTo>
                      <a:pt x="808" y="47"/>
                    </a:lnTo>
                    <a:lnTo>
                      <a:pt x="802" y="42"/>
                    </a:lnTo>
                    <a:lnTo>
                      <a:pt x="801" y="44"/>
                    </a:lnTo>
                    <a:lnTo>
                      <a:pt x="802" y="45"/>
                    </a:lnTo>
                    <a:lnTo>
                      <a:pt x="800" y="46"/>
                    </a:lnTo>
                    <a:lnTo>
                      <a:pt x="798" y="44"/>
                    </a:lnTo>
                    <a:lnTo>
                      <a:pt x="797" y="42"/>
                    </a:lnTo>
                    <a:lnTo>
                      <a:pt x="793" y="40"/>
                    </a:lnTo>
                    <a:lnTo>
                      <a:pt x="791" y="40"/>
                    </a:lnTo>
                    <a:lnTo>
                      <a:pt x="791" y="38"/>
                    </a:lnTo>
                    <a:lnTo>
                      <a:pt x="792" y="38"/>
                    </a:lnTo>
                    <a:lnTo>
                      <a:pt x="792" y="36"/>
                    </a:lnTo>
                    <a:lnTo>
                      <a:pt x="785" y="35"/>
                    </a:lnTo>
                    <a:lnTo>
                      <a:pt x="782" y="34"/>
                    </a:lnTo>
                    <a:lnTo>
                      <a:pt x="781" y="29"/>
                    </a:lnTo>
                    <a:lnTo>
                      <a:pt x="784" y="29"/>
                    </a:lnTo>
                    <a:lnTo>
                      <a:pt x="785" y="29"/>
                    </a:lnTo>
                    <a:lnTo>
                      <a:pt x="788" y="32"/>
                    </a:lnTo>
                    <a:lnTo>
                      <a:pt x="794" y="35"/>
                    </a:lnTo>
                    <a:lnTo>
                      <a:pt x="797" y="36"/>
                    </a:lnTo>
                    <a:lnTo>
                      <a:pt x="795" y="34"/>
                    </a:lnTo>
                    <a:lnTo>
                      <a:pt x="797" y="33"/>
                    </a:lnTo>
                    <a:lnTo>
                      <a:pt x="797" y="32"/>
                    </a:lnTo>
                    <a:lnTo>
                      <a:pt x="793" y="29"/>
                    </a:lnTo>
                    <a:lnTo>
                      <a:pt x="791" y="27"/>
                    </a:lnTo>
                    <a:lnTo>
                      <a:pt x="791" y="26"/>
                    </a:lnTo>
                    <a:lnTo>
                      <a:pt x="797" y="27"/>
                    </a:lnTo>
                    <a:lnTo>
                      <a:pt x="797" y="26"/>
                    </a:lnTo>
                    <a:lnTo>
                      <a:pt x="796" y="25"/>
                    </a:lnTo>
                    <a:lnTo>
                      <a:pt x="791" y="23"/>
                    </a:lnTo>
                    <a:lnTo>
                      <a:pt x="781" y="23"/>
                    </a:lnTo>
                    <a:lnTo>
                      <a:pt x="779" y="21"/>
                    </a:lnTo>
                    <a:lnTo>
                      <a:pt x="779" y="20"/>
                    </a:lnTo>
                    <a:lnTo>
                      <a:pt x="776" y="20"/>
                    </a:lnTo>
                    <a:lnTo>
                      <a:pt x="775" y="18"/>
                    </a:lnTo>
                    <a:lnTo>
                      <a:pt x="776" y="17"/>
                    </a:lnTo>
                    <a:lnTo>
                      <a:pt x="777" y="15"/>
                    </a:lnTo>
                    <a:lnTo>
                      <a:pt x="779" y="15"/>
                    </a:lnTo>
                    <a:lnTo>
                      <a:pt x="780" y="18"/>
                    </a:lnTo>
                    <a:lnTo>
                      <a:pt x="781" y="19"/>
                    </a:lnTo>
                    <a:lnTo>
                      <a:pt x="787" y="18"/>
                    </a:lnTo>
                    <a:lnTo>
                      <a:pt x="786" y="16"/>
                    </a:lnTo>
                    <a:lnTo>
                      <a:pt x="786" y="15"/>
                    </a:lnTo>
                    <a:lnTo>
                      <a:pt x="790" y="14"/>
                    </a:lnTo>
                    <a:lnTo>
                      <a:pt x="789" y="11"/>
                    </a:lnTo>
                    <a:lnTo>
                      <a:pt x="791" y="10"/>
                    </a:lnTo>
                    <a:lnTo>
                      <a:pt x="791" y="9"/>
                    </a:lnTo>
                    <a:lnTo>
                      <a:pt x="793" y="8"/>
                    </a:lnTo>
                    <a:lnTo>
                      <a:pt x="792" y="5"/>
                    </a:lnTo>
                    <a:lnTo>
                      <a:pt x="802" y="5"/>
                    </a:lnTo>
                    <a:lnTo>
                      <a:pt x="804" y="4"/>
                    </a:lnTo>
                    <a:lnTo>
                      <a:pt x="802" y="3"/>
                    </a:lnTo>
                    <a:lnTo>
                      <a:pt x="805" y="1"/>
                    </a:lnTo>
                    <a:lnTo>
                      <a:pt x="806" y="0"/>
                    </a:lnTo>
                    <a:lnTo>
                      <a:pt x="238" y="0"/>
                    </a:lnTo>
                    <a:lnTo>
                      <a:pt x="234" y="3"/>
                    </a:lnTo>
                    <a:lnTo>
                      <a:pt x="217" y="24"/>
                    </a:lnTo>
                    <a:lnTo>
                      <a:pt x="203" y="38"/>
                    </a:lnTo>
                    <a:lnTo>
                      <a:pt x="199" y="44"/>
                    </a:lnTo>
                    <a:lnTo>
                      <a:pt x="215" y="52"/>
                    </a:lnTo>
                    <a:lnTo>
                      <a:pt x="235" y="56"/>
                    </a:lnTo>
                    <a:lnTo>
                      <a:pt x="237" y="69"/>
                    </a:lnTo>
                    <a:lnTo>
                      <a:pt x="238" y="86"/>
                    </a:lnTo>
                    <a:lnTo>
                      <a:pt x="230" y="96"/>
                    </a:lnTo>
                    <a:lnTo>
                      <a:pt x="225" y="104"/>
                    </a:lnTo>
                    <a:lnTo>
                      <a:pt x="166" y="96"/>
                    </a:lnTo>
                    <a:lnTo>
                      <a:pt x="144" y="99"/>
                    </a:lnTo>
                    <a:lnTo>
                      <a:pt x="135" y="103"/>
                    </a:lnTo>
                    <a:lnTo>
                      <a:pt x="122" y="109"/>
                    </a:lnTo>
                    <a:lnTo>
                      <a:pt x="108" y="122"/>
                    </a:lnTo>
                    <a:lnTo>
                      <a:pt x="96" y="135"/>
                    </a:lnTo>
                    <a:lnTo>
                      <a:pt x="91" y="142"/>
                    </a:lnTo>
                    <a:lnTo>
                      <a:pt x="80" y="149"/>
                    </a:lnTo>
                    <a:lnTo>
                      <a:pt x="85" y="159"/>
                    </a:lnTo>
                    <a:lnTo>
                      <a:pt x="64" y="182"/>
                    </a:lnTo>
                    <a:lnTo>
                      <a:pt x="72" y="193"/>
                    </a:lnTo>
                    <a:lnTo>
                      <a:pt x="83" y="209"/>
                    </a:lnTo>
                    <a:lnTo>
                      <a:pt x="72" y="222"/>
                    </a:lnTo>
                    <a:lnTo>
                      <a:pt x="76" y="237"/>
                    </a:lnTo>
                    <a:lnTo>
                      <a:pt x="70" y="253"/>
                    </a:lnTo>
                    <a:lnTo>
                      <a:pt x="73" y="254"/>
                    </a:lnTo>
                    <a:lnTo>
                      <a:pt x="76" y="261"/>
                    </a:lnTo>
                    <a:lnTo>
                      <a:pt x="85" y="274"/>
                    </a:lnTo>
                    <a:lnTo>
                      <a:pt x="87" y="279"/>
                    </a:lnTo>
                    <a:lnTo>
                      <a:pt x="91" y="284"/>
                    </a:lnTo>
                    <a:lnTo>
                      <a:pt x="93" y="288"/>
                    </a:lnTo>
                    <a:lnTo>
                      <a:pt x="92" y="291"/>
                    </a:lnTo>
                    <a:lnTo>
                      <a:pt x="91" y="296"/>
                    </a:lnTo>
                    <a:lnTo>
                      <a:pt x="88" y="307"/>
                    </a:lnTo>
                    <a:lnTo>
                      <a:pt x="85" y="319"/>
                    </a:lnTo>
                    <a:lnTo>
                      <a:pt x="83" y="329"/>
                    </a:lnTo>
                    <a:lnTo>
                      <a:pt x="82" y="333"/>
                    </a:lnTo>
                    <a:lnTo>
                      <a:pt x="81" y="343"/>
                    </a:lnTo>
                    <a:lnTo>
                      <a:pt x="79" y="345"/>
                    </a:lnTo>
                    <a:lnTo>
                      <a:pt x="96" y="356"/>
                    </a:lnTo>
                    <a:lnTo>
                      <a:pt x="101" y="362"/>
                    </a:lnTo>
                    <a:lnTo>
                      <a:pt x="111" y="362"/>
                    </a:lnTo>
                    <a:lnTo>
                      <a:pt x="136" y="384"/>
                    </a:lnTo>
                    <a:lnTo>
                      <a:pt x="130" y="401"/>
                    </a:lnTo>
                    <a:lnTo>
                      <a:pt x="125" y="406"/>
                    </a:lnTo>
                    <a:lnTo>
                      <a:pt x="121" y="415"/>
                    </a:lnTo>
                    <a:lnTo>
                      <a:pt x="114" y="417"/>
                    </a:lnTo>
                    <a:lnTo>
                      <a:pt x="101" y="417"/>
                    </a:lnTo>
                    <a:lnTo>
                      <a:pt x="89" y="420"/>
                    </a:lnTo>
                    <a:lnTo>
                      <a:pt x="86" y="422"/>
                    </a:lnTo>
                    <a:lnTo>
                      <a:pt x="91" y="428"/>
                    </a:lnTo>
                    <a:lnTo>
                      <a:pt x="92" y="432"/>
                    </a:lnTo>
                    <a:lnTo>
                      <a:pt x="95" y="434"/>
                    </a:lnTo>
                    <a:lnTo>
                      <a:pt x="97" y="443"/>
                    </a:lnTo>
                    <a:lnTo>
                      <a:pt x="100" y="448"/>
                    </a:lnTo>
                    <a:lnTo>
                      <a:pt x="103" y="453"/>
                    </a:lnTo>
                    <a:lnTo>
                      <a:pt x="109" y="459"/>
                    </a:lnTo>
                    <a:lnTo>
                      <a:pt x="109" y="461"/>
                    </a:lnTo>
                    <a:lnTo>
                      <a:pt x="109" y="464"/>
                    </a:lnTo>
                    <a:lnTo>
                      <a:pt x="116" y="473"/>
                    </a:lnTo>
                    <a:lnTo>
                      <a:pt x="116" y="474"/>
                    </a:lnTo>
                    <a:lnTo>
                      <a:pt x="117" y="477"/>
                    </a:lnTo>
                    <a:lnTo>
                      <a:pt x="117" y="478"/>
                    </a:lnTo>
                    <a:lnTo>
                      <a:pt x="117" y="479"/>
                    </a:lnTo>
                    <a:lnTo>
                      <a:pt x="115" y="485"/>
                    </a:lnTo>
                    <a:lnTo>
                      <a:pt x="108" y="496"/>
                    </a:lnTo>
                    <a:lnTo>
                      <a:pt x="107" y="499"/>
                    </a:lnTo>
                    <a:lnTo>
                      <a:pt x="109" y="507"/>
                    </a:lnTo>
                    <a:lnTo>
                      <a:pt x="109" y="510"/>
                    </a:lnTo>
                    <a:lnTo>
                      <a:pt x="108" y="517"/>
                    </a:lnTo>
                    <a:lnTo>
                      <a:pt x="106" y="521"/>
                    </a:lnTo>
                    <a:lnTo>
                      <a:pt x="101" y="524"/>
                    </a:lnTo>
                    <a:lnTo>
                      <a:pt x="95" y="530"/>
                    </a:lnTo>
                    <a:lnTo>
                      <a:pt x="82" y="538"/>
                    </a:lnTo>
                    <a:lnTo>
                      <a:pt x="80" y="540"/>
                    </a:lnTo>
                    <a:lnTo>
                      <a:pt x="73" y="540"/>
                    </a:lnTo>
                    <a:lnTo>
                      <a:pt x="66" y="538"/>
                    </a:lnTo>
                    <a:lnTo>
                      <a:pt x="55" y="543"/>
                    </a:lnTo>
                    <a:lnTo>
                      <a:pt x="60" y="548"/>
                    </a:lnTo>
                    <a:lnTo>
                      <a:pt x="62" y="550"/>
                    </a:lnTo>
                    <a:lnTo>
                      <a:pt x="62" y="558"/>
                    </a:lnTo>
                    <a:lnTo>
                      <a:pt x="62" y="560"/>
                    </a:lnTo>
                    <a:lnTo>
                      <a:pt x="57" y="562"/>
                    </a:lnTo>
                    <a:lnTo>
                      <a:pt x="56" y="564"/>
                    </a:lnTo>
                    <a:lnTo>
                      <a:pt x="51" y="566"/>
                    </a:lnTo>
                    <a:lnTo>
                      <a:pt x="43" y="570"/>
                    </a:lnTo>
                    <a:lnTo>
                      <a:pt x="46" y="574"/>
                    </a:lnTo>
                    <a:lnTo>
                      <a:pt x="54" y="604"/>
                    </a:lnTo>
                    <a:lnTo>
                      <a:pt x="54" y="607"/>
                    </a:lnTo>
                    <a:lnTo>
                      <a:pt x="52" y="609"/>
                    </a:lnTo>
                    <a:lnTo>
                      <a:pt x="51" y="613"/>
                    </a:lnTo>
                    <a:lnTo>
                      <a:pt x="50" y="615"/>
                    </a:lnTo>
                    <a:lnTo>
                      <a:pt x="51" y="617"/>
                    </a:lnTo>
                    <a:lnTo>
                      <a:pt x="49" y="619"/>
                    </a:lnTo>
                    <a:lnTo>
                      <a:pt x="50" y="622"/>
                    </a:lnTo>
                    <a:lnTo>
                      <a:pt x="50" y="623"/>
                    </a:lnTo>
                    <a:lnTo>
                      <a:pt x="45" y="630"/>
                    </a:lnTo>
                    <a:lnTo>
                      <a:pt x="42" y="639"/>
                    </a:lnTo>
                    <a:lnTo>
                      <a:pt x="40" y="643"/>
                    </a:lnTo>
                    <a:lnTo>
                      <a:pt x="30" y="645"/>
                    </a:lnTo>
                    <a:lnTo>
                      <a:pt x="26" y="645"/>
                    </a:lnTo>
                    <a:lnTo>
                      <a:pt x="25" y="643"/>
                    </a:lnTo>
                    <a:lnTo>
                      <a:pt x="25" y="634"/>
                    </a:lnTo>
                    <a:lnTo>
                      <a:pt x="21" y="629"/>
                    </a:lnTo>
                    <a:lnTo>
                      <a:pt x="20" y="627"/>
                    </a:lnTo>
                    <a:lnTo>
                      <a:pt x="19" y="624"/>
                    </a:lnTo>
                    <a:lnTo>
                      <a:pt x="16" y="622"/>
                    </a:lnTo>
                    <a:lnTo>
                      <a:pt x="5" y="625"/>
                    </a:lnTo>
                    <a:lnTo>
                      <a:pt x="4" y="629"/>
                    </a:lnTo>
                    <a:lnTo>
                      <a:pt x="1" y="630"/>
                    </a:lnTo>
                    <a:lnTo>
                      <a:pt x="1" y="633"/>
                    </a:lnTo>
                    <a:lnTo>
                      <a:pt x="1" y="634"/>
                    </a:lnTo>
                    <a:lnTo>
                      <a:pt x="6" y="634"/>
                    </a:lnTo>
                    <a:lnTo>
                      <a:pt x="1" y="637"/>
                    </a:lnTo>
                    <a:lnTo>
                      <a:pt x="0" y="638"/>
                    </a:lnTo>
                    <a:lnTo>
                      <a:pt x="2" y="640"/>
                    </a:lnTo>
                    <a:lnTo>
                      <a:pt x="7" y="641"/>
                    </a:lnTo>
                    <a:lnTo>
                      <a:pt x="7" y="645"/>
                    </a:lnTo>
                    <a:lnTo>
                      <a:pt x="7" y="647"/>
                    </a:lnTo>
                    <a:lnTo>
                      <a:pt x="8" y="649"/>
                    </a:lnTo>
                    <a:lnTo>
                      <a:pt x="9" y="649"/>
                    </a:lnTo>
                    <a:lnTo>
                      <a:pt x="10" y="654"/>
                    </a:lnTo>
                    <a:lnTo>
                      <a:pt x="8" y="655"/>
                    </a:lnTo>
                    <a:lnTo>
                      <a:pt x="8" y="657"/>
                    </a:lnTo>
                    <a:lnTo>
                      <a:pt x="7" y="657"/>
                    </a:lnTo>
                    <a:lnTo>
                      <a:pt x="7" y="658"/>
                    </a:lnTo>
                    <a:lnTo>
                      <a:pt x="8" y="658"/>
                    </a:lnTo>
                    <a:lnTo>
                      <a:pt x="8" y="659"/>
                    </a:lnTo>
                    <a:lnTo>
                      <a:pt x="6" y="660"/>
                    </a:lnTo>
                    <a:lnTo>
                      <a:pt x="5" y="663"/>
                    </a:lnTo>
                    <a:lnTo>
                      <a:pt x="6" y="664"/>
                    </a:lnTo>
                    <a:lnTo>
                      <a:pt x="9" y="663"/>
                    </a:lnTo>
                    <a:lnTo>
                      <a:pt x="8" y="667"/>
                    </a:lnTo>
                    <a:lnTo>
                      <a:pt x="11" y="669"/>
                    </a:lnTo>
                    <a:lnTo>
                      <a:pt x="12" y="672"/>
                    </a:lnTo>
                    <a:lnTo>
                      <a:pt x="11" y="675"/>
                    </a:lnTo>
                    <a:lnTo>
                      <a:pt x="12" y="675"/>
                    </a:lnTo>
                    <a:lnTo>
                      <a:pt x="12" y="678"/>
                    </a:lnTo>
                    <a:lnTo>
                      <a:pt x="14" y="678"/>
                    </a:lnTo>
                    <a:lnTo>
                      <a:pt x="11" y="679"/>
                    </a:lnTo>
                    <a:lnTo>
                      <a:pt x="11" y="681"/>
                    </a:lnTo>
                    <a:lnTo>
                      <a:pt x="11" y="684"/>
                    </a:lnTo>
                    <a:lnTo>
                      <a:pt x="10" y="685"/>
                    </a:lnTo>
                    <a:lnTo>
                      <a:pt x="11" y="688"/>
                    </a:lnTo>
                    <a:lnTo>
                      <a:pt x="14" y="689"/>
                    </a:lnTo>
                    <a:lnTo>
                      <a:pt x="14" y="690"/>
                    </a:lnTo>
                    <a:lnTo>
                      <a:pt x="11" y="691"/>
                    </a:lnTo>
                    <a:lnTo>
                      <a:pt x="11" y="694"/>
                    </a:lnTo>
                    <a:lnTo>
                      <a:pt x="9" y="693"/>
                    </a:lnTo>
                    <a:lnTo>
                      <a:pt x="7" y="696"/>
                    </a:lnTo>
                    <a:lnTo>
                      <a:pt x="8" y="697"/>
                    </a:lnTo>
                    <a:lnTo>
                      <a:pt x="9" y="702"/>
                    </a:lnTo>
                    <a:lnTo>
                      <a:pt x="10" y="703"/>
                    </a:lnTo>
                    <a:lnTo>
                      <a:pt x="11" y="701"/>
                    </a:lnTo>
                    <a:lnTo>
                      <a:pt x="13" y="700"/>
                    </a:lnTo>
                    <a:lnTo>
                      <a:pt x="14" y="701"/>
                    </a:lnTo>
                    <a:lnTo>
                      <a:pt x="15" y="702"/>
                    </a:lnTo>
                    <a:lnTo>
                      <a:pt x="16" y="701"/>
                    </a:lnTo>
                    <a:lnTo>
                      <a:pt x="18" y="698"/>
                    </a:lnTo>
                    <a:lnTo>
                      <a:pt x="25" y="692"/>
                    </a:lnTo>
                    <a:lnTo>
                      <a:pt x="23" y="695"/>
                    </a:lnTo>
                    <a:lnTo>
                      <a:pt x="20" y="698"/>
                    </a:lnTo>
                    <a:lnTo>
                      <a:pt x="18" y="702"/>
                    </a:lnTo>
                    <a:lnTo>
                      <a:pt x="19" y="703"/>
                    </a:lnTo>
                    <a:lnTo>
                      <a:pt x="21" y="703"/>
                    </a:lnTo>
                    <a:lnTo>
                      <a:pt x="23" y="698"/>
                    </a:lnTo>
                    <a:lnTo>
                      <a:pt x="24" y="698"/>
                    </a:lnTo>
                    <a:lnTo>
                      <a:pt x="24" y="701"/>
                    </a:lnTo>
                    <a:lnTo>
                      <a:pt x="27" y="702"/>
                    </a:lnTo>
                    <a:lnTo>
                      <a:pt x="26" y="703"/>
                    </a:lnTo>
                    <a:lnTo>
                      <a:pt x="23" y="703"/>
                    </a:lnTo>
                    <a:lnTo>
                      <a:pt x="22" y="704"/>
                    </a:lnTo>
                    <a:lnTo>
                      <a:pt x="21" y="706"/>
                    </a:lnTo>
                    <a:lnTo>
                      <a:pt x="22" y="707"/>
                    </a:lnTo>
                    <a:lnTo>
                      <a:pt x="26" y="706"/>
                    </a:lnTo>
                    <a:lnTo>
                      <a:pt x="23" y="709"/>
                    </a:lnTo>
                    <a:lnTo>
                      <a:pt x="23" y="710"/>
                    </a:lnTo>
                    <a:lnTo>
                      <a:pt x="23" y="711"/>
                    </a:lnTo>
                    <a:lnTo>
                      <a:pt x="29" y="708"/>
                    </a:lnTo>
                    <a:lnTo>
                      <a:pt x="32" y="704"/>
                    </a:lnTo>
                    <a:lnTo>
                      <a:pt x="35" y="694"/>
                    </a:lnTo>
                    <a:lnTo>
                      <a:pt x="34" y="690"/>
                    </a:lnTo>
                    <a:lnTo>
                      <a:pt x="35" y="690"/>
                    </a:lnTo>
                    <a:lnTo>
                      <a:pt x="36" y="694"/>
                    </a:lnTo>
                    <a:lnTo>
                      <a:pt x="38" y="696"/>
                    </a:lnTo>
                    <a:lnTo>
                      <a:pt x="40" y="694"/>
                    </a:lnTo>
                    <a:lnTo>
                      <a:pt x="43" y="693"/>
                    </a:lnTo>
                    <a:lnTo>
                      <a:pt x="44" y="694"/>
                    </a:lnTo>
                    <a:lnTo>
                      <a:pt x="40" y="696"/>
                    </a:lnTo>
                    <a:lnTo>
                      <a:pt x="39" y="697"/>
                    </a:lnTo>
                    <a:lnTo>
                      <a:pt x="40" y="698"/>
                    </a:lnTo>
                    <a:lnTo>
                      <a:pt x="36" y="701"/>
                    </a:lnTo>
                    <a:lnTo>
                      <a:pt x="32" y="707"/>
                    </a:lnTo>
                    <a:lnTo>
                      <a:pt x="31" y="710"/>
                    </a:lnTo>
                    <a:lnTo>
                      <a:pt x="30" y="712"/>
                    </a:lnTo>
                    <a:lnTo>
                      <a:pt x="30" y="714"/>
                    </a:lnTo>
                    <a:lnTo>
                      <a:pt x="33" y="714"/>
                    </a:lnTo>
                    <a:lnTo>
                      <a:pt x="33" y="712"/>
                    </a:lnTo>
                    <a:lnTo>
                      <a:pt x="35" y="712"/>
                    </a:lnTo>
                    <a:lnTo>
                      <a:pt x="37" y="712"/>
                    </a:lnTo>
                    <a:lnTo>
                      <a:pt x="43" y="707"/>
                    </a:lnTo>
                    <a:lnTo>
                      <a:pt x="48" y="706"/>
                    </a:lnTo>
                    <a:lnTo>
                      <a:pt x="48" y="704"/>
                    </a:lnTo>
                    <a:lnTo>
                      <a:pt x="54" y="705"/>
                    </a:lnTo>
                    <a:lnTo>
                      <a:pt x="59" y="702"/>
                    </a:lnTo>
                    <a:lnTo>
                      <a:pt x="60" y="703"/>
                    </a:lnTo>
                    <a:lnTo>
                      <a:pt x="59" y="704"/>
                    </a:lnTo>
                    <a:lnTo>
                      <a:pt x="54" y="706"/>
                    </a:lnTo>
                    <a:lnTo>
                      <a:pt x="54" y="710"/>
                    </a:lnTo>
                    <a:lnTo>
                      <a:pt x="56" y="710"/>
                    </a:lnTo>
                    <a:lnTo>
                      <a:pt x="58" y="713"/>
                    </a:lnTo>
                    <a:lnTo>
                      <a:pt x="58" y="716"/>
                    </a:lnTo>
                    <a:lnTo>
                      <a:pt x="61" y="716"/>
                    </a:lnTo>
                    <a:lnTo>
                      <a:pt x="59" y="718"/>
                    </a:lnTo>
                    <a:lnTo>
                      <a:pt x="57" y="718"/>
                    </a:lnTo>
                    <a:lnTo>
                      <a:pt x="56" y="719"/>
                    </a:lnTo>
                    <a:lnTo>
                      <a:pt x="57" y="722"/>
                    </a:lnTo>
                    <a:lnTo>
                      <a:pt x="56" y="726"/>
                    </a:lnTo>
                    <a:lnTo>
                      <a:pt x="56" y="728"/>
                    </a:lnTo>
                    <a:lnTo>
                      <a:pt x="54" y="728"/>
                    </a:lnTo>
                    <a:lnTo>
                      <a:pt x="54" y="730"/>
                    </a:lnTo>
                    <a:lnTo>
                      <a:pt x="53" y="732"/>
                    </a:lnTo>
                    <a:lnTo>
                      <a:pt x="52" y="733"/>
                    </a:lnTo>
                    <a:lnTo>
                      <a:pt x="54" y="734"/>
                    </a:lnTo>
                    <a:lnTo>
                      <a:pt x="54" y="738"/>
                    </a:lnTo>
                    <a:lnTo>
                      <a:pt x="52" y="742"/>
                    </a:lnTo>
                    <a:lnTo>
                      <a:pt x="49" y="744"/>
                    </a:lnTo>
                    <a:lnTo>
                      <a:pt x="48" y="744"/>
                    </a:lnTo>
                    <a:lnTo>
                      <a:pt x="51" y="747"/>
                    </a:lnTo>
                    <a:lnTo>
                      <a:pt x="50" y="748"/>
                    </a:lnTo>
                    <a:lnTo>
                      <a:pt x="51" y="748"/>
                    </a:lnTo>
                    <a:lnTo>
                      <a:pt x="51" y="749"/>
                    </a:lnTo>
                    <a:lnTo>
                      <a:pt x="46" y="751"/>
                    </a:lnTo>
                    <a:lnTo>
                      <a:pt x="45" y="752"/>
                    </a:lnTo>
                    <a:lnTo>
                      <a:pt x="46" y="753"/>
                    </a:lnTo>
                    <a:lnTo>
                      <a:pt x="44" y="754"/>
                    </a:lnTo>
                    <a:lnTo>
                      <a:pt x="43" y="756"/>
                    </a:lnTo>
                    <a:lnTo>
                      <a:pt x="46" y="755"/>
                    </a:lnTo>
                    <a:lnTo>
                      <a:pt x="45" y="757"/>
                    </a:lnTo>
                    <a:lnTo>
                      <a:pt x="48" y="759"/>
                    </a:lnTo>
                    <a:lnTo>
                      <a:pt x="49" y="760"/>
                    </a:lnTo>
                    <a:lnTo>
                      <a:pt x="54" y="761"/>
                    </a:lnTo>
                    <a:lnTo>
                      <a:pt x="55" y="762"/>
                    </a:lnTo>
                    <a:lnTo>
                      <a:pt x="54" y="763"/>
                    </a:lnTo>
                    <a:lnTo>
                      <a:pt x="53" y="765"/>
                    </a:lnTo>
                    <a:lnTo>
                      <a:pt x="48" y="767"/>
                    </a:lnTo>
                    <a:lnTo>
                      <a:pt x="46" y="769"/>
                    </a:lnTo>
                    <a:lnTo>
                      <a:pt x="46" y="771"/>
                    </a:lnTo>
                    <a:lnTo>
                      <a:pt x="50" y="771"/>
                    </a:lnTo>
                    <a:lnTo>
                      <a:pt x="50" y="770"/>
                    </a:lnTo>
                    <a:lnTo>
                      <a:pt x="51" y="769"/>
                    </a:lnTo>
                    <a:lnTo>
                      <a:pt x="53" y="769"/>
                    </a:lnTo>
                    <a:lnTo>
                      <a:pt x="54" y="771"/>
                    </a:lnTo>
                    <a:lnTo>
                      <a:pt x="59" y="771"/>
                    </a:lnTo>
                    <a:lnTo>
                      <a:pt x="56" y="772"/>
                    </a:lnTo>
                    <a:lnTo>
                      <a:pt x="56" y="773"/>
                    </a:lnTo>
                    <a:lnTo>
                      <a:pt x="57" y="775"/>
                    </a:lnTo>
                    <a:lnTo>
                      <a:pt x="59" y="777"/>
                    </a:lnTo>
                    <a:lnTo>
                      <a:pt x="59" y="781"/>
                    </a:lnTo>
                    <a:lnTo>
                      <a:pt x="61" y="780"/>
                    </a:lnTo>
                    <a:lnTo>
                      <a:pt x="62" y="778"/>
                    </a:lnTo>
                    <a:lnTo>
                      <a:pt x="63" y="779"/>
                    </a:lnTo>
                    <a:lnTo>
                      <a:pt x="62" y="782"/>
                    </a:lnTo>
                    <a:lnTo>
                      <a:pt x="63" y="785"/>
                    </a:lnTo>
                    <a:lnTo>
                      <a:pt x="62" y="786"/>
                    </a:lnTo>
                    <a:lnTo>
                      <a:pt x="63" y="787"/>
                    </a:lnTo>
                    <a:lnTo>
                      <a:pt x="62" y="789"/>
                    </a:lnTo>
                    <a:lnTo>
                      <a:pt x="64" y="791"/>
                    </a:lnTo>
                    <a:lnTo>
                      <a:pt x="63" y="791"/>
                    </a:lnTo>
                    <a:lnTo>
                      <a:pt x="65" y="793"/>
                    </a:lnTo>
                    <a:lnTo>
                      <a:pt x="63" y="793"/>
                    </a:lnTo>
                    <a:lnTo>
                      <a:pt x="62" y="795"/>
                    </a:lnTo>
                    <a:lnTo>
                      <a:pt x="63" y="796"/>
                    </a:lnTo>
                    <a:lnTo>
                      <a:pt x="62" y="799"/>
                    </a:lnTo>
                    <a:lnTo>
                      <a:pt x="63" y="801"/>
                    </a:lnTo>
                    <a:lnTo>
                      <a:pt x="62" y="803"/>
                    </a:lnTo>
                    <a:lnTo>
                      <a:pt x="65" y="803"/>
                    </a:lnTo>
                    <a:lnTo>
                      <a:pt x="64" y="806"/>
                    </a:lnTo>
                    <a:lnTo>
                      <a:pt x="64" y="807"/>
                    </a:lnTo>
                    <a:lnTo>
                      <a:pt x="65" y="807"/>
                    </a:lnTo>
                    <a:lnTo>
                      <a:pt x="67" y="805"/>
                    </a:lnTo>
                    <a:lnTo>
                      <a:pt x="68" y="807"/>
                    </a:lnTo>
                    <a:lnTo>
                      <a:pt x="68" y="808"/>
                    </a:lnTo>
                    <a:lnTo>
                      <a:pt x="69" y="803"/>
                    </a:lnTo>
                    <a:lnTo>
                      <a:pt x="70" y="801"/>
                    </a:lnTo>
                    <a:lnTo>
                      <a:pt x="70" y="799"/>
                    </a:lnTo>
                    <a:lnTo>
                      <a:pt x="73" y="795"/>
                    </a:lnTo>
                    <a:lnTo>
                      <a:pt x="74" y="796"/>
                    </a:lnTo>
                    <a:lnTo>
                      <a:pt x="75" y="798"/>
                    </a:lnTo>
                    <a:lnTo>
                      <a:pt x="77" y="799"/>
                    </a:lnTo>
                    <a:lnTo>
                      <a:pt x="77" y="801"/>
                    </a:lnTo>
                    <a:lnTo>
                      <a:pt x="75" y="803"/>
                    </a:lnTo>
                    <a:lnTo>
                      <a:pt x="77" y="803"/>
                    </a:lnTo>
                    <a:lnTo>
                      <a:pt x="78" y="803"/>
                    </a:lnTo>
                    <a:lnTo>
                      <a:pt x="74" y="806"/>
                    </a:lnTo>
                    <a:lnTo>
                      <a:pt x="73" y="808"/>
                    </a:lnTo>
                    <a:lnTo>
                      <a:pt x="74" y="809"/>
                    </a:lnTo>
                    <a:lnTo>
                      <a:pt x="78" y="808"/>
                    </a:lnTo>
                    <a:lnTo>
                      <a:pt x="78" y="809"/>
                    </a:lnTo>
                    <a:lnTo>
                      <a:pt x="78" y="810"/>
                    </a:lnTo>
                    <a:lnTo>
                      <a:pt x="81" y="811"/>
                    </a:lnTo>
                    <a:lnTo>
                      <a:pt x="81" y="814"/>
                    </a:lnTo>
                    <a:lnTo>
                      <a:pt x="79" y="815"/>
                    </a:lnTo>
                    <a:lnTo>
                      <a:pt x="78" y="817"/>
                    </a:lnTo>
                    <a:lnTo>
                      <a:pt x="77" y="817"/>
                    </a:lnTo>
                    <a:lnTo>
                      <a:pt x="79" y="817"/>
                    </a:lnTo>
                    <a:lnTo>
                      <a:pt x="82" y="819"/>
                    </a:lnTo>
                    <a:lnTo>
                      <a:pt x="77" y="820"/>
                    </a:lnTo>
                    <a:lnTo>
                      <a:pt x="81" y="821"/>
                    </a:lnTo>
                    <a:lnTo>
                      <a:pt x="84" y="821"/>
                    </a:lnTo>
                    <a:lnTo>
                      <a:pt x="85" y="821"/>
                    </a:lnTo>
                    <a:lnTo>
                      <a:pt x="84" y="823"/>
                    </a:lnTo>
                    <a:lnTo>
                      <a:pt x="81" y="824"/>
                    </a:lnTo>
                    <a:lnTo>
                      <a:pt x="82" y="825"/>
                    </a:lnTo>
                    <a:lnTo>
                      <a:pt x="85" y="826"/>
                    </a:lnTo>
                    <a:lnTo>
                      <a:pt x="86" y="830"/>
                    </a:lnTo>
                    <a:lnTo>
                      <a:pt x="88" y="831"/>
                    </a:lnTo>
                    <a:lnTo>
                      <a:pt x="88" y="832"/>
                    </a:lnTo>
                    <a:lnTo>
                      <a:pt x="87" y="835"/>
                    </a:lnTo>
                    <a:lnTo>
                      <a:pt x="88" y="835"/>
                    </a:lnTo>
                    <a:lnTo>
                      <a:pt x="88" y="838"/>
                    </a:lnTo>
                    <a:lnTo>
                      <a:pt x="96" y="843"/>
                    </a:lnTo>
                    <a:lnTo>
                      <a:pt x="97" y="846"/>
                    </a:lnTo>
                    <a:lnTo>
                      <a:pt x="96" y="849"/>
                    </a:lnTo>
                    <a:lnTo>
                      <a:pt x="97" y="850"/>
                    </a:lnTo>
                    <a:lnTo>
                      <a:pt x="97" y="853"/>
                    </a:lnTo>
                    <a:lnTo>
                      <a:pt x="98" y="853"/>
                    </a:lnTo>
                    <a:lnTo>
                      <a:pt x="104" y="856"/>
                    </a:lnTo>
                    <a:lnTo>
                      <a:pt x="108" y="856"/>
                    </a:lnTo>
                    <a:lnTo>
                      <a:pt x="109" y="858"/>
                    </a:lnTo>
                    <a:lnTo>
                      <a:pt x="111" y="859"/>
                    </a:lnTo>
                    <a:lnTo>
                      <a:pt x="112" y="860"/>
                    </a:lnTo>
                    <a:lnTo>
                      <a:pt x="114" y="862"/>
                    </a:lnTo>
                    <a:lnTo>
                      <a:pt x="117" y="864"/>
                    </a:lnTo>
                    <a:lnTo>
                      <a:pt x="117" y="867"/>
                    </a:lnTo>
                    <a:lnTo>
                      <a:pt x="117" y="870"/>
                    </a:lnTo>
                    <a:lnTo>
                      <a:pt x="120" y="873"/>
                    </a:lnTo>
                    <a:lnTo>
                      <a:pt x="121" y="874"/>
                    </a:lnTo>
                    <a:lnTo>
                      <a:pt x="122" y="878"/>
                    </a:lnTo>
                    <a:lnTo>
                      <a:pt x="125" y="879"/>
                    </a:lnTo>
                    <a:lnTo>
                      <a:pt x="126" y="882"/>
                    </a:lnTo>
                    <a:lnTo>
                      <a:pt x="131" y="882"/>
                    </a:lnTo>
                    <a:lnTo>
                      <a:pt x="134" y="880"/>
                    </a:lnTo>
                    <a:lnTo>
                      <a:pt x="139" y="882"/>
                    </a:lnTo>
                    <a:lnTo>
                      <a:pt x="140" y="886"/>
                    </a:lnTo>
                    <a:lnTo>
                      <a:pt x="143" y="892"/>
                    </a:lnTo>
                    <a:lnTo>
                      <a:pt x="143" y="895"/>
                    </a:lnTo>
                    <a:lnTo>
                      <a:pt x="142" y="897"/>
                    </a:lnTo>
                    <a:lnTo>
                      <a:pt x="140" y="901"/>
                    </a:lnTo>
                    <a:lnTo>
                      <a:pt x="139" y="902"/>
                    </a:lnTo>
                    <a:lnTo>
                      <a:pt x="135" y="903"/>
                    </a:lnTo>
                    <a:lnTo>
                      <a:pt x="126" y="900"/>
                    </a:lnTo>
                    <a:lnTo>
                      <a:pt x="123" y="901"/>
                    </a:lnTo>
                    <a:lnTo>
                      <a:pt x="119" y="903"/>
                    </a:lnTo>
                    <a:lnTo>
                      <a:pt x="118" y="906"/>
                    </a:lnTo>
                    <a:lnTo>
                      <a:pt x="118" y="908"/>
                    </a:lnTo>
                    <a:lnTo>
                      <a:pt x="127" y="911"/>
                    </a:lnTo>
                    <a:lnTo>
                      <a:pt x="128" y="916"/>
                    </a:lnTo>
                    <a:lnTo>
                      <a:pt x="130" y="919"/>
                    </a:lnTo>
                    <a:lnTo>
                      <a:pt x="135" y="921"/>
                    </a:lnTo>
                    <a:lnTo>
                      <a:pt x="135" y="922"/>
                    </a:lnTo>
                    <a:lnTo>
                      <a:pt x="132" y="926"/>
                    </a:lnTo>
                    <a:lnTo>
                      <a:pt x="127" y="925"/>
                    </a:lnTo>
                    <a:lnTo>
                      <a:pt x="124" y="926"/>
                    </a:lnTo>
                    <a:lnTo>
                      <a:pt x="120" y="922"/>
                    </a:lnTo>
                    <a:lnTo>
                      <a:pt x="105" y="918"/>
                    </a:lnTo>
                    <a:lnTo>
                      <a:pt x="109" y="921"/>
                    </a:lnTo>
                    <a:lnTo>
                      <a:pt x="112" y="925"/>
                    </a:lnTo>
                    <a:lnTo>
                      <a:pt x="114" y="932"/>
                    </a:lnTo>
                    <a:lnTo>
                      <a:pt x="114" y="934"/>
                    </a:lnTo>
                    <a:lnTo>
                      <a:pt x="124" y="945"/>
                    </a:lnTo>
                    <a:lnTo>
                      <a:pt x="125" y="947"/>
                    </a:lnTo>
                    <a:lnTo>
                      <a:pt x="125" y="949"/>
                    </a:lnTo>
                    <a:lnTo>
                      <a:pt x="127" y="952"/>
                    </a:lnTo>
                    <a:lnTo>
                      <a:pt x="128" y="955"/>
                    </a:lnTo>
                    <a:lnTo>
                      <a:pt x="132" y="959"/>
                    </a:lnTo>
                    <a:lnTo>
                      <a:pt x="133" y="963"/>
                    </a:lnTo>
                    <a:lnTo>
                      <a:pt x="135" y="965"/>
                    </a:lnTo>
                    <a:lnTo>
                      <a:pt x="138" y="965"/>
                    </a:lnTo>
                    <a:lnTo>
                      <a:pt x="142" y="969"/>
                    </a:lnTo>
                    <a:lnTo>
                      <a:pt x="143" y="971"/>
                    </a:lnTo>
                    <a:lnTo>
                      <a:pt x="143" y="973"/>
                    </a:lnTo>
                    <a:lnTo>
                      <a:pt x="140" y="976"/>
                    </a:lnTo>
                    <a:lnTo>
                      <a:pt x="142" y="977"/>
                    </a:lnTo>
                    <a:lnTo>
                      <a:pt x="145" y="977"/>
                    </a:lnTo>
                    <a:lnTo>
                      <a:pt x="145" y="979"/>
                    </a:lnTo>
                    <a:lnTo>
                      <a:pt x="148" y="979"/>
                    </a:lnTo>
                    <a:lnTo>
                      <a:pt x="150" y="982"/>
                    </a:lnTo>
                    <a:lnTo>
                      <a:pt x="152" y="984"/>
                    </a:lnTo>
                    <a:lnTo>
                      <a:pt x="150" y="989"/>
                    </a:lnTo>
                    <a:lnTo>
                      <a:pt x="142" y="994"/>
                    </a:lnTo>
                    <a:lnTo>
                      <a:pt x="140" y="996"/>
                    </a:lnTo>
                    <a:lnTo>
                      <a:pt x="141" y="1000"/>
                    </a:lnTo>
                    <a:lnTo>
                      <a:pt x="146" y="1006"/>
                    </a:lnTo>
                    <a:lnTo>
                      <a:pt x="147" y="1008"/>
                    </a:lnTo>
                    <a:lnTo>
                      <a:pt x="146" y="1008"/>
                    </a:lnTo>
                    <a:lnTo>
                      <a:pt x="145" y="1007"/>
                    </a:lnTo>
                    <a:lnTo>
                      <a:pt x="144" y="1008"/>
                    </a:lnTo>
                    <a:lnTo>
                      <a:pt x="144" y="1010"/>
                    </a:lnTo>
                    <a:lnTo>
                      <a:pt x="143" y="1012"/>
                    </a:lnTo>
                    <a:lnTo>
                      <a:pt x="137" y="1009"/>
                    </a:lnTo>
                    <a:lnTo>
                      <a:pt x="135" y="1012"/>
                    </a:lnTo>
                    <a:lnTo>
                      <a:pt x="134" y="1015"/>
                    </a:lnTo>
                    <a:lnTo>
                      <a:pt x="135" y="1015"/>
                    </a:lnTo>
                    <a:lnTo>
                      <a:pt x="139" y="1014"/>
                    </a:lnTo>
                    <a:lnTo>
                      <a:pt x="142" y="1015"/>
                    </a:lnTo>
                    <a:lnTo>
                      <a:pt x="144" y="1013"/>
                    </a:lnTo>
                    <a:lnTo>
                      <a:pt x="153" y="1017"/>
                    </a:lnTo>
                    <a:lnTo>
                      <a:pt x="155" y="1018"/>
                    </a:lnTo>
                    <a:lnTo>
                      <a:pt x="159" y="1017"/>
                    </a:lnTo>
                    <a:lnTo>
                      <a:pt x="168" y="1020"/>
                    </a:lnTo>
                    <a:lnTo>
                      <a:pt x="175" y="1021"/>
                    </a:lnTo>
                    <a:lnTo>
                      <a:pt x="178" y="1020"/>
                    </a:lnTo>
                    <a:lnTo>
                      <a:pt x="186" y="1015"/>
                    </a:lnTo>
                    <a:lnTo>
                      <a:pt x="194" y="1015"/>
                    </a:lnTo>
                    <a:lnTo>
                      <a:pt x="196" y="1013"/>
                    </a:lnTo>
                    <a:lnTo>
                      <a:pt x="198" y="1012"/>
                    </a:lnTo>
                    <a:lnTo>
                      <a:pt x="203" y="1011"/>
                    </a:lnTo>
                    <a:lnTo>
                      <a:pt x="214" y="1011"/>
                    </a:lnTo>
                    <a:lnTo>
                      <a:pt x="217" y="1009"/>
                    </a:lnTo>
                    <a:lnTo>
                      <a:pt x="223" y="1010"/>
                    </a:lnTo>
                    <a:lnTo>
                      <a:pt x="229" y="1014"/>
                    </a:lnTo>
                    <a:lnTo>
                      <a:pt x="236" y="1015"/>
                    </a:lnTo>
                    <a:lnTo>
                      <a:pt x="241" y="1014"/>
                    </a:lnTo>
                    <a:lnTo>
                      <a:pt x="248" y="1006"/>
                    </a:lnTo>
                    <a:lnTo>
                      <a:pt x="252" y="1002"/>
                    </a:lnTo>
                    <a:lnTo>
                      <a:pt x="255" y="998"/>
                    </a:lnTo>
                    <a:lnTo>
                      <a:pt x="252" y="994"/>
                    </a:lnTo>
                    <a:lnTo>
                      <a:pt x="247" y="989"/>
                    </a:lnTo>
                    <a:lnTo>
                      <a:pt x="247" y="984"/>
                    </a:lnTo>
                    <a:lnTo>
                      <a:pt x="243" y="982"/>
                    </a:lnTo>
                    <a:lnTo>
                      <a:pt x="241" y="979"/>
                    </a:lnTo>
                    <a:lnTo>
                      <a:pt x="241" y="977"/>
                    </a:lnTo>
                    <a:lnTo>
                      <a:pt x="241" y="974"/>
                    </a:lnTo>
                    <a:lnTo>
                      <a:pt x="243" y="967"/>
                    </a:lnTo>
                    <a:lnTo>
                      <a:pt x="246" y="961"/>
                    </a:lnTo>
                    <a:lnTo>
                      <a:pt x="251" y="959"/>
                    </a:lnTo>
                    <a:lnTo>
                      <a:pt x="252" y="955"/>
                    </a:lnTo>
                    <a:lnTo>
                      <a:pt x="261" y="949"/>
                    </a:lnTo>
                    <a:lnTo>
                      <a:pt x="263" y="946"/>
                    </a:lnTo>
                    <a:lnTo>
                      <a:pt x="266" y="945"/>
                    </a:lnTo>
                    <a:lnTo>
                      <a:pt x="270" y="943"/>
                    </a:lnTo>
                    <a:lnTo>
                      <a:pt x="271" y="944"/>
                    </a:lnTo>
                    <a:lnTo>
                      <a:pt x="270" y="945"/>
                    </a:lnTo>
                    <a:lnTo>
                      <a:pt x="271" y="945"/>
                    </a:lnTo>
                    <a:lnTo>
                      <a:pt x="273" y="944"/>
                    </a:lnTo>
                    <a:lnTo>
                      <a:pt x="273" y="946"/>
                    </a:lnTo>
                    <a:lnTo>
                      <a:pt x="274" y="947"/>
                    </a:lnTo>
                    <a:lnTo>
                      <a:pt x="274" y="949"/>
                    </a:lnTo>
                    <a:lnTo>
                      <a:pt x="276" y="949"/>
                    </a:lnTo>
                    <a:lnTo>
                      <a:pt x="279" y="949"/>
                    </a:lnTo>
                    <a:lnTo>
                      <a:pt x="280" y="947"/>
                    </a:lnTo>
                    <a:lnTo>
                      <a:pt x="282" y="949"/>
                    </a:lnTo>
                    <a:lnTo>
                      <a:pt x="286" y="946"/>
                    </a:lnTo>
                    <a:lnTo>
                      <a:pt x="285" y="943"/>
                    </a:lnTo>
                    <a:lnTo>
                      <a:pt x="282" y="942"/>
                    </a:lnTo>
                    <a:lnTo>
                      <a:pt x="282" y="939"/>
                    </a:lnTo>
                    <a:lnTo>
                      <a:pt x="279" y="937"/>
                    </a:lnTo>
                    <a:lnTo>
                      <a:pt x="279" y="934"/>
                    </a:lnTo>
                    <a:lnTo>
                      <a:pt x="280" y="933"/>
                    </a:lnTo>
                    <a:lnTo>
                      <a:pt x="288" y="933"/>
                    </a:lnTo>
                    <a:lnTo>
                      <a:pt x="290" y="934"/>
                    </a:lnTo>
                    <a:lnTo>
                      <a:pt x="291" y="935"/>
                    </a:lnTo>
                    <a:lnTo>
                      <a:pt x="292" y="934"/>
                    </a:lnTo>
                    <a:lnTo>
                      <a:pt x="292" y="933"/>
                    </a:lnTo>
                    <a:lnTo>
                      <a:pt x="294" y="932"/>
                    </a:lnTo>
                    <a:lnTo>
                      <a:pt x="296" y="933"/>
                    </a:lnTo>
                    <a:lnTo>
                      <a:pt x="302" y="932"/>
                    </a:lnTo>
                    <a:lnTo>
                      <a:pt x="308" y="933"/>
                    </a:lnTo>
                    <a:lnTo>
                      <a:pt x="307" y="932"/>
                    </a:lnTo>
                    <a:lnTo>
                      <a:pt x="307" y="931"/>
                    </a:lnTo>
                    <a:lnTo>
                      <a:pt x="310" y="930"/>
                    </a:lnTo>
                    <a:lnTo>
                      <a:pt x="310" y="931"/>
                    </a:lnTo>
                    <a:lnTo>
                      <a:pt x="310" y="932"/>
                    </a:lnTo>
                    <a:lnTo>
                      <a:pt x="313" y="933"/>
                    </a:lnTo>
                    <a:lnTo>
                      <a:pt x="316" y="932"/>
                    </a:lnTo>
                    <a:lnTo>
                      <a:pt x="317" y="933"/>
                    </a:lnTo>
                    <a:lnTo>
                      <a:pt x="322" y="933"/>
                    </a:lnTo>
                    <a:lnTo>
                      <a:pt x="324" y="933"/>
                    </a:lnTo>
                    <a:lnTo>
                      <a:pt x="325" y="931"/>
                    </a:lnTo>
                    <a:lnTo>
                      <a:pt x="326" y="931"/>
                    </a:lnTo>
                    <a:lnTo>
                      <a:pt x="327" y="930"/>
                    </a:lnTo>
                    <a:lnTo>
                      <a:pt x="329" y="933"/>
                    </a:lnTo>
                    <a:lnTo>
                      <a:pt x="328" y="934"/>
                    </a:lnTo>
                    <a:lnTo>
                      <a:pt x="327" y="934"/>
                    </a:lnTo>
                    <a:lnTo>
                      <a:pt x="328" y="935"/>
                    </a:lnTo>
                    <a:lnTo>
                      <a:pt x="330" y="934"/>
                    </a:lnTo>
                    <a:lnTo>
                      <a:pt x="331" y="935"/>
                    </a:lnTo>
                    <a:lnTo>
                      <a:pt x="332" y="935"/>
                    </a:lnTo>
                    <a:lnTo>
                      <a:pt x="333" y="934"/>
                    </a:lnTo>
                    <a:lnTo>
                      <a:pt x="335" y="931"/>
                    </a:lnTo>
                    <a:lnTo>
                      <a:pt x="336" y="931"/>
                    </a:lnTo>
                    <a:lnTo>
                      <a:pt x="339" y="931"/>
                    </a:lnTo>
                    <a:lnTo>
                      <a:pt x="341" y="934"/>
                    </a:lnTo>
                    <a:lnTo>
                      <a:pt x="342" y="934"/>
                    </a:lnTo>
                    <a:lnTo>
                      <a:pt x="342" y="931"/>
                    </a:lnTo>
                    <a:lnTo>
                      <a:pt x="343" y="931"/>
                    </a:lnTo>
                    <a:lnTo>
                      <a:pt x="350" y="928"/>
                    </a:lnTo>
                    <a:lnTo>
                      <a:pt x="351" y="928"/>
                    </a:lnTo>
                    <a:lnTo>
                      <a:pt x="350" y="928"/>
                    </a:lnTo>
                    <a:lnTo>
                      <a:pt x="349" y="932"/>
                    </a:lnTo>
                    <a:lnTo>
                      <a:pt x="350" y="933"/>
                    </a:lnTo>
                    <a:lnTo>
                      <a:pt x="352" y="933"/>
                    </a:lnTo>
                    <a:lnTo>
                      <a:pt x="354" y="930"/>
                    </a:lnTo>
                    <a:lnTo>
                      <a:pt x="355" y="929"/>
                    </a:lnTo>
                    <a:lnTo>
                      <a:pt x="356" y="931"/>
                    </a:lnTo>
                    <a:lnTo>
                      <a:pt x="357" y="931"/>
                    </a:lnTo>
                    <a:lnTo>
                      <a:pt x="358" y="932"/>
                    </a:lnTo>
                    <a:lnTo>
                      <a:pt x="360" y="932"/>
                    </a:lnTo>
                    <a:lnTo>
                      <a:pt x="360" y="933"/>
                    </a:lnTo>
                    <a:lnTo>
                      <a:pt x="362" y="933"/>
                    </a:lnTo>
                    <a:lnTo>
                      <a:pt x="364" y="934"/>
                    </a:lnTo>
                    <a:lnTo>
                      <a:pt x="366" y="933"/>
                    </a:lnTo>
                    <a:lnTo>
                      <a:pt x="368" y="933"/>
                    </a:lnTo>
                    <a:lnTo>
                      <a:pt x="368" y="936"/>
                    </a:lnTo>
                    <a:lnTo>
                      <a:pt x="365" y="938"/>
                    </a:lnTo>
                    <a:lnTo>
                      <a:pt x="368" y="939"/>
                    </a:lnTo>
                    <a:lnTo>
                      <a:pt x="370" y="941"/>
                    </a:lnTo>
                    <a:lnTo>
                      <a:pt x="371" y="941"/>
                    </a:lnTo>
                    <a:lnTo>
                      <a:pt x="375" y="934"/>
                    </a:lnTo>
                    <a:lnTo>
                      <a:pt x="379" y="929"/>
                    </a:lnTo>
                    <a:lnTo>
                      <a:pt x="382" y="927"/>
                    </a:lnTo>
                    <a:lnTo>
                      <a:pt x="383" y="925"/>
                    </a:lnTo>
                    <a:lnTo>
                      <a:pt x="386" y="922"/>
                    </a:lnTo>
                    <a:lnTo>
                      <a:pt x="386" y="916"/>
                    </a:lnTo>
                    <a:lnTo>
                      <a:pt x="388" y="912"/>
                    </a:lnTo>
                    <a:lnTo>
                      <a:pt x="388" y="910"/>
                    </a:lnTo>
                    <a:lnTo>
                      <a:pt x="389" y="908"/>
                    </a:lnTo>
                    <a:lnTo>
                      <a:pt x="389" y="905"/>
                    </a:lnTo>
                    <a:lnTo>
                      <a:pt x="390" y="904"/>
                    </a:lnTo>
                    <a:lnTo>
                      <a:pt x="392" y="901"/>
                    </a:lnTo>
                    <a:lnTo>
                      <a:pt x="395" y="897"/>
                    </a:lnTo>
                    <a:lnTo>
                      <a:pt x="396" y="893"/>
                    </a:lnTo>
                    <a:lnTo>
                      <a:pt x="399" y="892"/>
                    </a:lnTo>
                    <a:lnTo>
                      <a:pt x="399" y="885"/>
                    </a:lnTo>
                    <a:lnTo>
                      <a:pt x="404" y="880"/>
                    </a:lnTo>
                    <a:lnTo>
                      <a:pt x="405" y="880"/>
                    </a:lnTo>
                    <a:lnTo>
                      <a:pt x="407" y="881"/>
                    </a:lnTo>
                    <a:lnTo>
                      <a:pt x="412" y="880"/>
                    </a:lnTo>
                    <a:lnTo>
                      <a:pt x="412" y="878"/>
                    </a:lnTo>
                    <a:lnTo>
                      <a:pt x="411" y="874"/>
                    </a:lnTo>
                    <a:lnTo>
                      <a:pt x="412" y="873"/>
                    </a:lnTo>
                    <a:lnTo>
                      <a:pt x="410" y="870"/>
                    </a:lnTo>
                    <a:lnTo>
                      <a:pt x="415" y="868"/>
                    </a:lnTo>
                    <a:lnTo>
                      <a:pt x="418" y="869"/>
                    </a:lnTo>
                    <a:lnTo>
                      <a:pt x="419" y="868"/>
                    </a:lnTo>
                    <a:lnTo>
                      <a:pt x="419" y="866"/>
                    </a:lnTo>
                    <a:lnTo>
                      <a:pt x="415" y="867"/>
                    </a:lnTo>
                    <a:lnTo>
                      <a:pt x="414" y="866"/>
                    </a:lnTo>
                    <a:lnTo>
                      <a:pt x="417" y="858"/>
                    </a:lnTo>
                    <a:lnTo>
                      <a:pt x="416" y="853"/>
                    </a:lnTo>
                    <a:lnTo>
                      <a:pt x="419" y="850"/>
                    </a:lnTo>
                    <a:lnTo>
                      <a:pt x="418" y="849"/>
                    </a:lnTo>
                    <a:lnTo>
                      <a:pt x="417" y="848"/>
                    </a:lnTo>
                    <a:lnTo>
                      <a:pt x="416" y="846"/>
                    </a:lnTo>
                    <a:lnTo>
                      <a:pt x="416" y="842"/>
                    </a:lnTo>
                    <a:lnTo>
                      <a:pt x="419" y="841"/>
                    </a:lnTo>
                    <a:lnTo>
                      <a:pt x="416" y="839"/>
                    </a:lnTo>
                    <a:lnTo>
                      <a:pt x="419" y="839"/>
                    </a:lnTo>
                    <a:lnTo>
                      <a:pt x="421" y="840"/>
                    </a:lnTo>
                    <a:lnTo>
                      <a:pt x="423" y="838"/>
                    </a:lnTo>
                    <a:lnTo>
                      <a:pt x="424" y="838"/>
                    </a:lnTo>
                    <a:lnTo>
                      <a:pt x="424" y="839"/>
                    </a:lnTo>
                    <a:lnTo>
                      <a:pt x="428" y="840"/>
                    </a:lnTo>
                    <a:lnTo>
                      <a:pt x="428" y="839"/>
                    </a:lnTo>
                    <a:lnTo>
                      <a:pt x="425" y="837"/>
                    </a:lnTo>
                    <a:lnTo>
                      <a:pt x="425" y="836"/>
                    </a:lnTo>
                    <a:lnTo>
                      <a:pt x="427" y="834"/>
                    </a:lnTo>
                    <a:lnTo>
                      <a:pt x="424" y="832"/>
                    </a:lnTo>
                    <a:lnTo>
                      <a:pt x="422" y="832"/>
                    </a:lnTo>
                    <a:lnTo>
                      <a:pt x="422" y="830"/>
                    </a:lnTo>
                    <a:lnTo>
                      <a:pt x="418" y="826"/>
                    </a:lnTo>
                    <a:lnTo>
                      <a:pt x="418" y="822"/>
                    </a:lnTo>
                    <a:lnTo>
                      <a:pt x="418" y="821"/>
                    </a:lnTo>
                    <a:lnTo>
                      <a:pt x="418" y="820"/>
                    </a:lnTo>
                    <a:lnTo>
                      <a:pt x="421" y="819"/>
                    </a:lnTo>
                    <a:lnTo>
                      <a:pt x="419" y="817"/>
                    </a:lnTo>
                    <a:lnTo>
                      <a:pt x="418" y="815"/>
                    </a:lnTo>
                    <a:lnTo>
                      <a:pt x="419" y="813"/>
                    </a:lnTo>
                    <a:lnTo>
                      <a:pt x="422" y="811"/>
                    </a:lnTo>
                    <a:lnTo>
                      <a:pt x="426" y="811"/>
                    </a:lnTo>
                    <a:lnTo>
                      <a:pt x="424" y="809"/>
                    </a:lnTo>
                    <a:lnTo>
                      <a:pt x="426" y="809"/>
                    </a:lnTo>
                    <a:lnTo>
                      <a:pt x="424" y="806"/>
                    </a:lnTo>
                    <a:lnTo>
                      <a:pt x="425" y="803"/>
                    </a:lnTo>
                    <a:lnTo>
                      <a:pt x="431" y="805"/>
                    </a:lnTo>
                    <a:lnTo>
                      <a:pt x="431" y="804"/>
                    </a:lnTo>
                    <a:lnTo>
                      <a:pt x="431" y="802"/>
                    </a:lnTo>
                    <a:lnTo>
                      <a:pt x="431" y="801"/>
                    </a:lnTo>
                    <a:lnTo>
                      <a:pt x="435" y="801"/>
                    </a:lnTo>
                    <a:lnTo>
                      <a:pt x="432" y="799"/>
                    </a:lnTo>
                    <a:lnTo>
                      <a:pt x="431" y="798"/>
                    </a:lnTo>
                    <a:lnTo>
                      <a:pt x="432" y="797"/>
                    </a:lnTo>
                    <a:lnTo>
                      <a:pt x="434" y="797"/>
                    </a:lnTo>
                    <a:lnTo>
                      <a:pt x="434" y="795"/>
                    </a:lnTo>
                    <a:lnTo>
                      <a:pt x="434" y="794"/>
                    </a:lnTo>
                    <a:lnTo>
                      <a:pt x="436" y="795"/>
                    </a:lnTo>
                    <a:lnTo>
                      <a:pt x="436" y="794"/>
                    </a:lnTo>
                    <a:lnTo>
                      <a:pt x="435" y="792"/>
                    </a:lnTo>
                    <a:lnTo>
                      <a:pt x="433" y="790"/>
                    </a:lnTo>
                    <a:lnTo>
                      <a:pt x="433" y="788"/>
                    </a:lnTo>
                    <a:lnTo>
                      <a:pt x="432" y="787"/>
                    </a:lnTo>
                    <a:lnTo>
                      <a:pt x="432" y="786"/>
                    </a:lnTo>
                    <a:lnTo>
                      <a:pt x="428" y="785"/>
                    </a:lnTo>
                    <a:lnTo>
                      <a:pt x="427" y="786"/>
                    </a:lnTo>
                    <a:lnTo>
                      <a:pt x="427" y="785"/>
                    </a:lnTo>
                    <a:lnTo>
                      <a:pt x="426" y="784"/>
                    </a:lnTo>
                    <a:lnTo>
                      <a:pt x="424" y="785"/>
                    </a:lnTo>
                    <a:lnTo>
                      <a:pt x="422" y="784"/>
                    </a:lnTo>
                    <a:lnTo>
                      <a:pt x="425" y="783"/>
                    </a:lnTo>
                    <a:lnTo>
                      <a:pt x="423" y="782"/>
                    </a:lnTo>
                    <a:lnTo>
                      <a:pt x="424" y="781"/>
                    </a:lnTo>
                    <a:lnTo>
                      <a:pt x="423" y="778"/>
                    </a:lnTo>
                    <a:lnTo>
                      <a:pt x="424" y="779"/>
                    </a:lnTo>
                    <a:lnTo>
                      <a:pt x="425" y="778"/>
                    </a:lnTo>
                    <a:lnTo>
                      <a:pt x="425" y="781"/>
                    </a:lnTo>
                    <a:lnTo>
                      <a:pt x="426" y="782"/>
                    </a:lnTo>
                    <a:lnTo>
                      <a:pt x="427" y="780"/>
                    </a:lnTo>
                    <a:lnTo>
                      <a:pt x="429" y="780"/>
                    </a:lnTo>
                    <a:lnTo>
                      <a:pt x="431" y="779"/>
                    </a:lnTo>
                    <a:lnTo>
                      <a:pt x="431" y="777"/>
                    </a:lnTo>
                    <a:lnTo>
                      <a:pt x="428" y="775"/>
                    </a:lnTo>
                    <a:lnTo>
                      <a:pt x="430" y="775"/>
                    </a:lnTo>
                    <a:lnTo>
                      <a:pt x="431" y="774"/>
                    </a:lnTo>
                    <a:lnTo>
                      <a:pt x="427" y="770"/>
                    </a:lnTo>
                    <a:lnTo>
                      <a:pt x="433" y="772"/>
                    </a:lnTo>
                    <a:lnTo>
                      <a:pt x="437" y="772"/>
                    </a:lnTo>
                    <a:lnTo>
                      <a:pt x="438" y="771"/>
                    </a:lnTo>
                    <a:lnTo>
                      <a:pt x="436" y="771"/>
                    </a:lnTo>
                    <a:lnTo>
                      <a:pt x="438" y="770"/>
                    </a:lnTo>
                    <a:lnTo>
                      <a:pt x="436" y="768"/>
                    </a:lnTo>
                    <a:lnTo>
                      <a:pt x="433" y="767"/>
                    </a:lnTo>
                    <a:lnTo>
                      <a:pt x="434" y="766"/>
                    </a:lnTo>
                    <a:lnTo>
                      <a:pt x="427" y="762"/>
                    </a:lnTo>
                    <a:lnTo>
                      <a:pt x="426" y="759"/>
                    </a:lnTo>
                    <a:lnTo>
                      <a:pt x="418" y="754"/>
                    </a:lnTo>
                    <a:lnTo>
                      <a:pt x="416" y="753"/>
                    </a:lnTo>
                    <a:lnTo>
                      <a:pt x="415" y="750"/>
                    </a:lnTo>
                    <a:lnTo>
                      <a:pt x="426" y="757"/>
                    </a:lnTo>
                    <a:lnTo>
                      <a:pt x="429" y="760"/>
                    </a:lnTo>
                    <a:lnTo>
                      <a:pt x="430" y="763"/>
                    </a:lnTo>
                    <a:lnTo>
                      <a:pt x="434" y="764"/>
                    </a:lnTo>
                    <a:lnTo>
                      <a:pt x="436" y="766"/>
                    </a:lnTo>
                    <a:lnTo>
                      <a:pt x="437" y="766"/>
                    </a:lnTo>
                    <a:lnTo>
                      <a:pt x="437" y="765"/>
                    </a:lnTo>
                    <a:lnTo>
                      <a:pt x="435" y="763"/>
                    </a:lnTo>
                    <a:lnTo>
                      <a:pt x="418" y="749"/>
                    </a:lnTo>
                    <a:lnTo>
                      <a:pt x="420" y="750"/>
                    </a:lnTo>
                    <a:lnTo>
                      <a:pt x="420" y="748"/>
                    </a:lnTo>
                    <a:lnTo>
                      <a:pt x="426" y="751"/>
                    </a:lnTo>
                    <a:lnTo>
                      <a:pt x="427" y="750"/>
                    </a:lnTo>
                    <a:lnTo>
                      <a:pt x="427" y="747"/>
                    </a:lnTo>
                    <a:lnTo>
                      <a:pt x="428" y="746"/>
                    </a:lnTo>
                    <a:lnTo>
                      <a:pt x="423" y="744"/>
                    </a:lnTo>
                    <a:lnTo>
                      <a:pt x="421" y="742"/>
                    </a:lnTo>
                    <a:lnTo>
                      <a:pt x="421" y="740"/>
                    </a:lnTo>
                    <a:lnTo>
                      <a:pt x="421" y="739"/>
                    </a:lnTo>
                    <a:lnTo>
                      <a:pt x="422" y="738"/>
                    </a:lnTo>
                    <a:lnTo>
                      <a:pt x="423" y="740"/>
                    </a:lnTo>
                    <a:lnTo>
                      <a:pt x="426" y="741"/>
                    </a:lnTo>
                    <a:lnTo>
                      <a:pt x="429" y="744"/>
                    </a:lnTo>
                    <a:lnTo>
                      <a:pt x="432" y="747"/>
                    </a:lnTo>
                    <a:lnTo>
                      <a:pt x="429" y="747"/>
                    </a:lnTo>
                    <a:lnTo>
                      <a:pt x="430" y="748"/>
                    </a:lnTo>
                    <a:lnTo>
                      <a:pt x="430" y="750"/>
                    </a:lnTo>
                    <a:lnTo>
                      <a:pt x="432" y="750"/>
                    </a:lnTo>
                    <a:lnTo>
                      <a:pt x="434" y="751"/>
                    </a:lnTo>
                    <a:lnTo>
                      <a:pt x="435" y="750"/>
                    </a:lnTo>
                    <a:lnTo>
                      <a:pt x="435" y="747"/>
                    </a:lnTo>
                    <a:lnTo>
                      <a:pt x="436" y="747"/>
                    </a:lnTo>
                    <a:lnTo>
                      <a:pt x="437" y="751"/>
                    </a:lnTo>
                    <a:lnTo>
                      <a:pt x="439" y="752"/>
                    </a:lnTo>
                    <a:lnTo>
                      <a:pt x="440" y="752"/>
                    </a:lnTo>
                    <a:lnTo>
                      <a:pt x="442" y="751"/>
                    </a:lnTo>
                    <a:lnTo>
                      <a:pt x="442" y="749"/>
                    </a:lnTo>
                    <a:lnTo>
                      <a:pt x="440" y="748"/>
                    </a:lnTo>
                    <a:lnTo>
                      <a:pt x="439" y="747"/>
                    </a:lnTo>
                    <a:lnTo>
                      <a:pt x="439" y="746"/>
                    </a:lnTo>
                    <a:lnTo>
                      <a:pt x="442" y="748"/>
                    </a:lnTo>
                    <a:lnTo>
                      <a:pt x="443" y="747"/>
                    </a:lnTo>
                    <a:lnTo>
                      <a:pt x="440" y="744"/>
                    </a:lnTo>
                    <a:lnTo>
                      <a:pt x="440" y="743"/>
                    </a:lnTo>
                    <a:lnTo>
                      <a:pt x="439" y="742"/>
                    </a:lnTo>
                    <a:lnTo>
                      <a:pt x="438" y="742"/>
                    </a:lnTo>
                    <a:lnTo>
                      <a:pt x="437" y="743"/>
                    </a:lnTo>
                    <a:lnTo>
                      <a:pt x="435" y="740"/>
                    </a:lnTo>
                    <a:lnTo>
                      <a:pt x="434" y="741"/>
                    </a:lnTo>
                    <a:lnTo>
                      <a:pt x="430" y="740"/>
                    </a:lnTo>
                    <a:lnTo>
                      <a:pt x="434" y="740"/>
                    </a:lnTo>
                    <a:lnTo>
                      <a:pt x="431" y="737"/>
                    </a:lnTo>
                    <a:lnTo>
                      <a:pt x="433" y="735"/>
                    </a:lnTo>
                    <a:lnTo>
                      <a:pt x="433" y="734"/>
                    </a:lnTo>
                    <a:lnTo>
                      <a:pt x="434" y="737"/>
                    </a:lnTo>
                    <a:lnTo>
                      <a:pt x="435" y="738"/>
                    </a:lnTo>
                    <a:lnTo>
                      <a:pt x="437" y="739"/>
                    </a:lnTo>
                    <a:lnTo>
                      <a:pt x="436" y="738"/>
                    </a:lnTo>
                    <a:lnTo>
                      <a:pt x="436" y="737"/>
                    </a:lnTo>
                    <a:lnTo>
                      <a:pt x="439" y="736"/>
                    </a:lnTo>
                    <a:lnTo>
                      <a:pt x="440" y="738"/>
                    </a:lnTo>
                    <a:lnTo>
                      <a:pt x="441" y="736"/>
                    </a:lnTo>
                    <a:lnTo>
                      <a:pt x="441" y="735"/>
                    </a:lnTo>
                    <a:lnTo>
                      <a:pt x="439" y="733"/>
                    </a:lnTo>
                    <a:lnTo>
                      <a:pt x="435" y="733"/>
                    </a:lnTo>
                    <a:lnTo>
                      <a:pt x="438" y="732"/>
                    </a:lnTo>
                    <a:lnTo>
                      <a:pt x="438" y="731"/>
                    </a:lnTo>
                    <a:lnTo>
                      <a:pt x="440" y="730"/>
                    </a:lnTo>
                    <a:lnTo>
                      <a:pt x="440" y="729"/>
                    </a:lnTo>
                    <a:lnTo>
                      <a:pt x="439" y="728"/>
                    </a:lnTo>
                    <a:lnTo>
                      <a:pt x="437" y="728"/>
                    </a:lnTo>
                    <a:lnTo>
                      <a:pt x="434" y="724"/>
                    </a:lnTo>
                    <a:lnTo>
                      <a:pt x="436" y="723"/>
                    </a:lnTo>
                    <a:lnTo>
                      <a:pt x="430" y="718"/>
                    </a:lnTo>
                    <a:lnTo>
                      <a:pt x="431" y="717"/>
                    </a:lnTo>
                    <a:lnTo>
                      <a:pt x="432" y="717"/>
                    </a:lnTo>
                    <a:lnTo>
                      <a:pt x="434" y="720"/>
                    </a:lnTo>
                    <a:lnTo>
                      <a:pt x="441" y="725"/>
                    </a:lnTo>
                    <a:lnTo>
                      <a:pt x="443" y="725"/>
                    </a:lnTo>
                    <a:lnTo>
                      <a:pt x="445" y="724"/>
                    </a:lnTo>
                    <a:lnTo>
                      <a:pt x="445" y="722"/>
                    </a:lnTo>
                    <a:lnTo>
                      <a:pt x="444" y="721"/>
                    </a:lnTo>
                    <a:lnTo>
                      <a:pt x="444" y="720"/>
                    </a:lnTo>
                    <a:lnTo>
                      <a:pt x="447" y="720"/>
                    </a:lnTo>
                    <a:lnTo>
                      <a:pt x="446" y="717"/>
                    </a:lnTo>
                    <a:lnTo>
                      <a:pt x="445" y="716"/>
                    </a:lnTo>
                    <a:lnTo>
                      <a:pt x="446" y="714"/>
                    </a:lnTo>
                    <a:lnTo>
                      <a:pt x="444" y="714"/>
                    </a:lnTo>
                    <a:lnTo>
                      <a:pt x="445" y="713"/>
                    </a:lnTo>
                    <a:lnTo>
                      <a:pt x="442" y="712"/>
                    </a:lnTo>
                    <a:lnTo>
                      <a:pt x="440" y="712"/>
                    </a:lnTo>
                    <a:lnTo>
                      <a:pt x="437" y="710"/>
                    </a:lnTo>
                    <a:lnTo>
                      <a:pt x="441" y="708"/>
                    </a:lnTo>
                    <a:lnTo>
                      <a:pt x="442" y="707"/>
                    </a:lnTo>
                    <a:lnTo>
                      <a:pt x="444" y="706"/>
                    </a:lnTo>
                    <a:lnTo>
                      <a:pt x="445" y="705"/>
                    </a:lnTo>
                    <a:lnTo>
                      <a:pt x="444" y="704"/>
                    </a:lnTo>
                    <a:lnTo>
                      <a:pt x="439" y="705"/>
                    </a:lnTo>
                    <a:lnTo>
                      <a:pt x="439" y="706"/>
                    </a:lnTo>
                    <a:lnTo>
                      <a:pt x="439" y="707"/>
                    </a:lnTo>
                    <a:lnTo>
                      <a:pt x="439" y="708"/>
                    </a:lnTo>
                    <a:lnTo>
                      <a:pt x="437" y="708"/>
                    </a:lnTo>
                    <a:lnTo>
                      <a:pt x="436" y="707"/>
                    </a:lnTo>
                    <a:lnTo>
                      <a:pt x="437" y="704"/>
                    </a:lnTo>
                    <a:lnTo>
                      <a:pt x="431" y="702"/>
                    </a:lnTo>
                    <a:lnTo>
                      <a:pt x="439" y="703"/>
                    </a:lnTo>
                    <a:lnTo>
                      <a:pt x="440" y="702"/>
                    </a:lnTo>
                    <a:lnTo>
                      <a:pt x="442" y="703"/>
                    </a:lnTo>
                    <a:lnTo>
                      <a:pt x="443" y="702"/>
                    </a:lnTo>
                    <a:lnTo>
                      <a:pt x="442" y="700"/>
                    </a:lnTo>
                    <a:lnTo>
                      <a:pt x="438" y="701"/>
                    </a:lnTo>
                    <a:lnTo>
                      <a:pt x="437" y="700"/>
                    </a:lnTo>
                    <a:lnTo>
                      <a:pt x="438" y="698"/>
                    </a:lnTo>
                    <a:lnTo>
                      <a:pt x="438" y="696"/>
                    </a:lnTo>
                    <a:lnTo>
                      <a:pt x="432" y="695"/>
                    </a:lnTo>
                    <a:lnTo>
                      <a:pt x="428" y="692"/>
                    </a:lnTo>
                    <a:lnTo>
                      <a:pt x="425" y="693"/>
                    </a:lnTo>
                    <a:lnTo>
                      <a:pt x="424" y="691"/>
                    </a:lnTo>
                    <a:lnTo>
                      <a:pt x="415" y="688"/>
                    </a:lnTo>
                    <a:lnTo>
                      <a:pt x="419" y="688"/>
                    </a:lnTo>
                    <a:lnTo>
                      <a:pt x="429" y="692"/>
                    </a:lnTo>
                    <a:lnTo>
                      <a:pt x="432" y="692"/>
                    </a:lnTo>
                    <a:lnTo>
                      <a:pt x="441" y="694"/>
                    </a:lnTo>
                    <a:lnTo>
                      <a:pt x="442" y="692"/>
                    </a:lnTo>
                    <a:lnTo>
                      <a:pt x="447" y="692"/>
                    </a:lnTo>
                    <a:lnTo>
                      <a:pt x="449" y="690"/>
                    </a:lnTo>
                    <a:lnTo>
                      <a:pt x="448" y="688"/>
                    </a:lnTo>
                    <a:lnTo>
                      <a:pt x="453" y="688"/>
                    </a:lnTo>
                    <a:lnTo>
                      <a:pt x="456" y="688"/>
                    </a:lnTo>
                    <a:lnTo>
                      <a:pt x="451" y="684"/>
                    </a:lnTo>
                    <a:lnTo>
                      <a:pt x="447" y="683"/>
                    </a:lnTo>
                    <a:lnTo>
                      <a:pt x="448" y="682"/>
                    </a:lnTo>
                    <a:lnTo>
                      <a:pt x="446" y="682"/>
                    </a:lnTo>
                    <a:lnTo>
                      <a:pt x="447" y="680"/>
                    </a:lnTo>
                    <a:lnTo>
                      <a:pt x="444" y="679"/>
                    </a:lnTo>
                    <a:lnTo>
                      <a:pt x="443" y="678"/>
                    </a:lnTo>
                    <a:lnTo>
                      <a:pt x="444" y="675"/>
                    </a:lnTo>
                    <a:lnTo>
                      <a:pt x="440" y="674"/>
                    </a:lnTo>
                    <a:lnTo>
                      <a:pt x="440" y="675"/>
                    </a:lnTo>
                    <a:lnTo>
                      <a:pt x="441" y="676"/>
                    </a:lnTo>
                    <a:lnTo>
                      <a:pt x="438" y="674"/>
                    </a:lnTo>
                    <a:lnTo>
                      <a:pt x="435" y="674"/>
                    </a:lnTo>
                    <a:lnTo>
                      <a:pt x="433" y="673"/>
                    </a:lnTo>
                    <a:lnTo>
                      <a:pt x="426" y="672"/>
                    </a:lnTo>
                    <a:lnTo>
                      <a:pt x="424" y="673"/>
                    </a:lnTo>
                    <a:lnTo>
                      <a:pt x="423" y="673"/>
                    </a:lnTo>
                    <a:lnTo>
                      <a:pt x="416" y="671"/>
                    </a:lnTo>
                    <a:lnTo>
                      <a:pt x="415" y="673"/>
                    </a:lnTo>
                    <a:lnTo>
                      <a:pt x="414" y="675"/>
                    </a:lnTo>
                    <a:lnTo>
                      <a:pt x="412" y="676"/>
                    </a:lnTo>
                    <a:lnTo>
                      <a:pt x="411" y="675"/>
                    </a:lnTo>
                    <a:lnTo>
                      <a:pt x="412" y="673"/>
                    </a:lnTo>
                    <a:lnTo>
                      <a:pt x="409" y="672"/>
                    </a:lnTo>
                    <a:lnTo>
                      <a:pt x="409" y="671"/>
                    </a:lnTo>
                    <a:lnTo>
                      <a:pt x="405" y="673"/>
                    </a:lnTo>
                    <a:lnTo>
                      <a:pt x="399" y="673"/>
                    </a:lnTo>
                    <a:lnTo>
                      <a:pt x="399" y="672"/>
                    </a:lnTo>
                    <a:lnTo>
                      <a:pt x="396" y="673"/>
                    </a:lnTo>
                    <a:lnTo>
                      <a:pt x="396" y="672"/>
                    </a:lnTo>
                    <a:lnTo>
                      <a:pt x="398" y="671"/>
                    </a:lnTo>
                    <a:lnTo>
                      <a:pt x="402" y="672"/>
                    </a:lnTo>
                    <a:lnTo>
                      <a:pt x="402" y="669"/>
                    </a:lnTo>
                    <a:lnTo>
                      <a:pt x="400" y="669"/>
                    </a:lnTo>
                    <a:lnTo>
                      <a:pt x="401" y="668"/>
                    </a:lnTo>
                    <a:lnTo>
                      <a:pt x="418" y="669"/>
                    </a:lnTo>
                    <a:lnTo>
                      <a:pt x="453" y="673"/>
                    </a:lnTo>
                    <a:lnTo>
                      <a:pt x="458" y="672"/>
                    </a:lnTo>
                    <a:lnTo>
                      <a:pt x="463" y="672"/>
                    </a:lnTo>
                    <a:lnTo>
                      <a:pt x="461" y="669"/>
                    </a:lnTo>
                    <a:lnTo>
                      <a:pt x="457" y="668"/>
                    </a:lnTo>
                    <a:lnTo>
                      <a:pt x="457" y="667"/>
                    </a:lnTo>
                    <a:lnTo>
                      <a:pt x="464" y="667"/>
                    </a:lnTo>
                    <a:lnTo>
                      <a:pt x="465" y="669"/>
                    </a:lnTo>
                    <a:lnTo>
                      <a:pt x="466" y="669"/>
                    </a:lnTo>
                    <a:lnTo>
                      <a:pt x="468" y="669"/>
                    </a:lnTo>
                    <a:lnTo>
                      <a:pt x="470" y="667"/>
                    </a:lnTo>
                    <a:lnTo>
                      <a:pt x="471" y="666"/>
                    </a:lnTo>
                    <a:lnTo>
                      <a:pt x="471" y="665"/>
                    </a:lnTo>
                    <a:lnTo>
                      <a:pt x="465" y="664"/>
                    </a:lnTo>
                    <a:lnTo>
                      <a:pt x="467" y="661"/>
                    </a:lnTo>
                    <a:lnTo>
                      <a:pt x="464" y="660"/>
                    </a:lnTo>
                    <a:lnTo>
                      <a:pt x="462" y="660"/>
                    </a:lnTo>
                    <a:lnTo>
                      <a:pt x="463" y="660"/>
                    </a:lnTo>
                    <a:lnTo>
                      <a:pt x="465" y="660"/>
                    </a:lnTo>
                    <a:lnTo>
                      <a:pt x="466" y="659"/>
                    </a:lnTo>
                    <a:lnTo>
                      <a:pt x="466" y="658"/>
                    </a:lnTo>
                    <a:lnTo>
                      <a:pt x="467" y="658"/>
                    </a:lnTo>
                    <a:lnTo>
                      <a:pt x="468" y="658"/>
                    </a:lnTo>
                    <a:lnTo>
                      <a:pt x="470" y="660"/>
                    </a:lnTo>
                    <a:lnTo>
                      <a:pt x="471" y="661"/>
                    </a:lnTo>
                    <a:lnTo>
                      <a:pt x="473" y="661"/>
                    </a:lnTo>
                    <a:lnTo>
                      <a:pt x="480" y="662"/>
                    </a:lnTo>
                    <a:lnTo>
                      <a:pt x="482" y="661"/>
                    </a:lnTo>
                    <a:lnTo>
                      <a:pt x="481" y="660"/>
                    </a:lnTo>
                    <a:lnTo>
                      <a:pt x="482" y="660"/>
                    </a:lnTo>
                    <a:lnTo>
                      <a:pt x="484" y="659"/>
                    </a:lnTo>
                    <a:lnTo>
                      <a:pt x="489" y="660"/>
                    </a:lnTo>
                    <a:lnTo>
                      <a:pt x="489" y="659"/>
                    </a:lnTo>
                    <a:lnTo>
                      <a:pt x="489" y="658"/>
                    </a:lnTo>
                    <a:lnTo>
                      <a:pt x="490" y="657"/>
                    </a:lnTo>
                    <a:lnTo>
                      <a:pt x="488" y="655"/>
                    </a:lnTo>
                    <a:lnTo>
                      <a:pt x="487" y="653"/>
                    </a:lnTo>
                    <a:lnTo>
                      <a:pt x="490" y="655"/>
                    </a:lnTo>
                    <a:lnTo>
                      <a:pt x="495" y="655"/>
                    </a:lnTo>
                    <a:lnTo>
                      <a:pt x="498" y="655"/>
                    </a:lnTo>
                    <a:lnTo>
                      <a:pt x="495" y="652"/>
                    </a:lnTo>
                    <a:lnTo>
                      <a:pt x="496" y="651"/>
                    </a:lnTo>
                    <a:lnTo>
                      <a:pt x="497" y="647"/>
                    </a:lnTo>
                    <a:lnTo>
                      <a:pt x="495" y="644"/>
                    </a:lnTo>
                    <a:lnTo>
                      <a:pt x="498" y="645"/>
                    </a:lnTo>
                    <a:lnTo>
                      <a:pt x="506" y="649"/>
                    </a:lnTo>
                    <a:lnTo>
                      <a:pt x="505" y="648"/>
                    </a:lnTo>
                    <a:lnTo>
                      <a:pt x="506" y="647"/>
                    </a:lnTo>
                    <a:lnTo>
                      <a:pt x="502" y="644"/>
                    </a:lnTo>
                    <a:lnTo>
                      <a:pt x="508" y="644"/>
                    </a:lnTo>
                    <a:lnTo>
                      <a:pt x="509" y="643"/>
                    </a:lnTo>
                    <a:lnTo>
                      <a:pt x="510" y="642"/>
                    </a:lnTo>
                    <a:lnTo>
                      <a:pt x="507" y="641"/>
                    </a:lnTo>
                    <a:lnTo>
                      <a:pt x="508" y="639"/>
                    </a:lnTo>
                    <a:lnTo>
                      <a:pt x="505" y="638"/>
                    </a:lnTo>
                    <a:lnTo>
                      <a:pt x="507" y="637"/>
                    </a:lnTo>
                    <a:lnTo>
                      <a:pt x="508" y="637"/>
                    </a:lnTo>
                    <a:lnTo>
                      <a:pt x="509" y="633"/>
                    </a:lnTo>
                    <a:lnTo>
                      <a:pt x="509" y="632"/>
                    </a:lnTo>
                    <a:lnTo>
                      <a:pt x="508" y="629"/>
                    </a:lnTo>
                    <a:lnTo>
                      <a:pt x="509" y="626"/>
                    </a:lnTo>
                    <a:lnTo>
                      <a:pt x="508" y="623"/>
                    </a:lnTo>
                    <a:lnTo>
                      <a:pt x="511" y="623"/>
                    </a:lnTo>
                    <a:lnTo>
                      <a:pt x="511" y="621"/>
                    </a:lnTo>
                    <a:lnTo>
                      <a:pt x="512" y="621"/>
                    </a:lnTo>
                    <a:lnTo>
                      <a:pt x="512" y="619"/>
                    </a:lnTo>
                    <a:lnTo>
                      <a:pt x="512" y="615"/>
                    </a:lnTo>
                    <a:lnTo>
                      <a:pt x="514" y="619"/>
                    </a:lnTo>
                    <a:lnTo>
                      <a:pt x="512" y="625"/>
                    </a:lnTo>
                    <a:lnTo>
                      <a:pt x="515" y="627"/>
                    </a:lnTo>
                    <a:lnTo>
                      <a:pt x="517" y="627"/>
                    </a:lnTo>
                    <a:lnTo>
                      <a:pt x="518" y="621"/>
                    </a:lnTo>
                    <a:lnTo>
                      <a:pt x="520" y="619"/>
                    </a:lnTo>
                    <a:lnTo>
                      <a:pt x="520" y="621"/>
                    </a:lnTo>
                    <a:lnTo>
                      <a:pt x="520" y="623"/>
                    </a:lnTo>
                    <a:lnTo>
                      <a:pt x="519" y="625"/>
                    </a:lnTo>
                    <a:lnTo>
                      <a:pt x="520" y="626"/>
                    </a:lnTo>
                    <a:lnTo>
                      <a:pt x="519" y="629"/>
                    </a:lnTo>
                    <a:lnTo>
                      <a:pt x="520" y="633"/>
                    </a:lnTo>
                    <a:lnTo>
                      <a:pt x="518" y="634"/>
                    </a:lnTo>
                    <a:lnTo>
                      <a:pt x="519" y="635"/>
                    </a:lnTo>
                    <a:lnTo>
                      <a:pt x="518" y="639"/>
                    </a:lnTo>
                    <a:lnTo>
                      <a:pt x="519" y="641"/>
                    </a:lnTo>
                    <a:lnTo>
                      <a:pt x="521" y="642"/>
                    </a:lnTo>
                    <a:lnTo>
                      <a:pt x="521" y="645"/>
                    </a:lnTo>
                    <a:lnTo>
                      <a:pt x="522" y="646"/>
                    </a:lnTo>
                    <a:lnTo>
                      <a:pt x="523" y="643"/>
                    </a:lnTo>
                    <a:lnTo>
                      <a:pt x="520" y="639"/>
                    </a:lnTo>
                    <a:lnTo>
                      <a:pt x="520" y="637"/>
                    </a:lnTo>
                    <a:lnTo>
                      <a:pt x="521" y="637"/>
                    </a:lnTo>
                    <a:lnTo>
                      <a:pt x="523" y="641"/>
                    </a:lnTo>
                    <a:lnTo>
                      <a:pt x="527" y="641"/>
                    </a:lnTo>
                    <a:lnTo>
                      <a:pt x="528" y="644"/>
                    </a:lnTo>
                    <a:lnTo>
                      <a:pt x="528" y="646"/>
                    </a:lnTo>
                    <a:lnTo>
                      <a:pt x="530" y="648"/>
                    </a:lnTo>
                    <a:lnTo>
                      <a:pt x="531" y="643"/>
                    </a:lnTo>
                    <a:lnTo>
                      <a:pt x="533" y="643"/>
                    </a:lnTo>
                    <a:lnTo>
                      <a:pt x="536" y="640"/>
                    </a:lnTo>
                    <a:lnTo>
                      <a:pt x="535" y="637"/>
                    </a:lnTo>
                    <a:lnTo>
                      <a:pt x="538" y="633"/>
                    </a:lnTo>
                    <a:lnTo>
                      <a:pt x="540" y="631"/>
                    </a:lnTo>
                    <a:lnTo>
                      <a:pt x="539" y="629"/>
                    </a:lnTo>
                    <a:lnTo>
                      <a:pt x="540" y="629"/>
                    </a:lnTo>
                    <a:lnTo>
                      <a:pt x="542" y="629"/>
                    </a:lnTo>
                    <a:lnTo>
                      <a:pt x="542" y="628"/>
                    </a:lnTo>
                    <a:lnTo>
                      <a:pt x="542" y="627"/>
                    </a:lnTo>
                    <a:lnTo>
                      <a:pt x="547" y="627"/>
                    </a:lnTo>
                    <a:lnTo>
                      <a:pt x="549" y="624"/>
                    </a:lnTo>
                    <a:lnTo>
                      <a:pt x="554" y="623"/>
                    </a:lnTo>
                    <a:lnTo>
                      <a:pt x="556" y="621"/>
                    </a:lnTo>
                    <a:lnTo>
                      <a:pt x="558" y="621"/>
                    </a:lnTo>
                    <a:lnTo>
                      <a:pt x="557" y="622"/>
                    </a:lnTo>
                    <a:lnTo>
                      <a:pt x="558" y="623"/>
                    </a:lnTo>
                    <a:lnTo>
                      <a:pt x="554" y="625"/>
                    </a:lnTo>
                    <a:lnTo>
                      <a:pt x="555" y="625"/>
                    </a:lnTo>
                    <a:lnTo>
                      <a:pt x="557" y="623"/>
                    </a:lnTo>
                    <a:lnTo>
                      <a:pt x="564" y="622"/>
                    </a:lnTo>
                    <a:lnTo>
                      <a:pt x="563" y="621"/>
                    </a:lnTo>
                    <a:lnTo>
                      <a:pt x="561" y="621"/>
                    </a:lnTo>
                    <a:lnTo>
                      <a:pt x="561" y="619"/>
                    </a:lnTo>
                    <a:lnTo>
                      <a:pt x="566" y="619"/>
                    </a:lnTo>
                    <a:lnTo>
                      <a:pt x="568" y="618"/>
                    </a:lnTo>
                    <a:lnTo>
                      <a:pt x="572" y="618"/>
                    </a:lnTo>
                    <a:lnTo>
                      <a:pt x="573" y="617"/>
                    </a:lnTo>
                    <a:lnTo>
                      <a:pt x="572" y="615"/>
                    </a:lnTo>
                    <a:lnTo>
                      <a:pt x="569" y="615"/>
                    </a:lnTo>
                    <a:lnTo>
                      <a:pt x="570" y="614"/>
                    </a:lnTo>
                    <a:lnTo>
                      <a:pt x="568" y="614"/>
                    </a:lnTo>
                    <a:lnTo>
                      <a:pt x="568" y="612"/>
                    </a:lnTo>
                    <a:lnTo>
                      <a:pt x="567" y="611"/>
                    </a:lnTo>
                    <a:lnTo>
                      <a:pt x="563" y="610"/>
                    </a:lnTo>
                    <a:lnTo>
                      <a:pt x="563" y="609"/>
                    </a:lnTo>
                    <a:lnTo>
                      <a:pt x="565" y="609"/>
                    </a:lnTo>
                    <a:lnTo>
                      <a:pt x="572" y="613"/>
                    </a:lnTo>
                    <a:lnTo>
                      <a:pt x="572" y="611"/>
                    </a:lnTo>
                    <a:lnTo>
                      <a:pt x="569" y="609"/>
                    </a:lnTo>
                    <a:lnTo>
                      <a:pt x="560" y="605"/>
                    </a:lnTo>
                    <a:lnTo>
                      <a:pt x="559" y="605"/>
                    </a:lnTo>
                    <a:lnTo>
                      <a:pt x="560" y="604"/>
                    </a:lnTo>
                    <a:lnTo>
                      <a:pt x="563" y="604"/>
                    </a:lnTo>
                    <a:lnTo>
                      <a:pt x="562" y="601"/>
                    </a:lnTo>
                    <a:lnTo>
                      <a:pt x="560" y="600"/>
                    </a:lnTo>
                    <a:lnTo>
                      <a:pt x="563" y="598"/>
                    </a:lnTo>
                    <a:lnTo>
                      <a:pt x="566" y="598"/>
                    </a:lnTo>
                    <a:lnTo>
                      <a:pt x="565" y="600"/>
                    </a:lnTo>
                    <a:lnTo>
                      <a:pt x="569" y="601"/>
                    </a:lnTo>
                    <a:lnTo>
                      <a:pt x="573" y="600"/>
                    </a:lnTo>
                    <a:lnTo>
                      <a:pt x="579" y="602"/>
                    </a:lnTo>
                    <a:lnTo>
                      <a:pt x="589" y="600"/>
                    </a:lnTo>
                    <a:lnTo>
                      <a:pt x="589" y="598"/>
                    </a:lnTo>
                    <a:lnTo>
                      <a:pt x="588" y="597"/>
                    </a:lnTo>
                    <a:lnTo>
                      <a:pt x="581" y="594"/>
                    </a:lnTo>
                    <a:lnTo>
                      <a:pt x="586" y="595"/>
                    </a:lnTo>
                    <a:lnTo>
                      <a:pt x="586" y="594"/>
                    </a:lnTo>
                    <a:lnTo>
                      <a:pt x="585" y="593"/>
                    </a:lnTo>
                    <a:lnTo>
                      <a:pt x="584" y="593"/>
                    </a:lnTo>
                    <a:lnTo>
                      <a:pt x="583" y="592"/>
                    </a:lnTo>
                    <a:lnTo>
                      <a:pt x="581" y="591"/>
                    </a:lnTo>
                    <a:lnTo>
                      <a:pt x="580" y="589"/>
                    </a:lnTo>
                    <a:lnTo>
                      <a:pt x="576" y="587"/>
                    </a:lnTo>
                    <a:lnTo>
                      <a:pt x="572" y="587"/>
                    </a:lnTo>
                    <a:lnTo>
                      <a:pt x="573" y="589"/>
                    </a:lnTo>
                    <a:lnTo>
                      <a:pt x="577" y="591"/>
                    </a:lnTo>
                    <a:lnTo>
                      <a:pt x="577" y="592"/>
                    </a:lnTo>
                    <a:lnTo>
                      <a:pt x="574" y="591"/>
                    </a:lnTo>
                    <a:lnTo>
                      <a:pt x="574" y="592"/>
                    </a:lnTo>
                    <a:lnTo>
                      <a:pt x="576" y="597"/>
                    </a:lnTo>
                    <a:lnTo>
                      <a:pt x="575" y="598"/>
                    </a:lnTo>
                    <a:lnTo>
                      <a:pt x="572" y="597"/>
                    </a:lnTo>
                    <a:lnTo>
                      <a:pt x="573" y="597"/>
                    </a:lnTo>
                    <a:lnTo>
                      <a:pt x="573" y="595"/>
                    </a:lnTo>
                    <a:lnTo>
                      <a:pt x="566" y="594"/>
                    </a:lnTo>
                    <a:lnTo>
                      <a:pt x="564" y="594"/>
                    </a:lnTo>
                    <a:lnTo>
                      <a:pt x="560" y="594"/>
                    </a:lnTo>
                    <a:lnTo>
                      <a:pt x="558" y="596"/>
                    </a:lnTo>
                    <a:lnTo>
                      <a:pt x="556" y="600"/>
                    </a:lnTo>
                    <a:lnTo>
                      <a:pt x="554" y="598"/>
                    </a:lnTo>
                    <a:lnTo>
                      <a:pt x="550" y="599"/>
                    </a:lnTo>
                    <a:lnTo>
                      <a:pt x="547" y="599"/>
                    </a:lnTo>
                    <a:lnTo>
                      <a:pt x="542" y="600"/>
                    </a:lnTo>
                    <a:lnTo>
                      <a:pt x="538" y="598"/>
                    </a:lnTo>
                    <a:lnTo>
                      <a:pt x="536" y="598"/>
                    </a:lnTo>
                    <a:lnTo>
                      <a:pt x="530" y="603"/>
                    </a:lnTo>
                    <a:lnTo>
                      <a:pt x="529" y="605"/>
                    </a:lnTo>
                    <a:lnTo>
                      <a:pt x="530" y="608"/>
                    </a:lnTo>
                    <a:lnTo>
                      <a:pt x="529" y="609"/>
                    </a:lnTo>
                    <a:lnTo>
                      <a:pt x="528" y="609"/>
                    </a:lnTo>
                    <a:lnTo>
                      <a:pt x="528" y="606"/>
                    </a:lnTo>
                    <a:lnTo>
                      <a:pt x="526" y="605"/>
                    </a:lnTo>
                    <a:lnTo>
                      <a:pt x="518" y="605"/>
                    </a:lnTo>
                    <a:lnTo>
                      <a:pt x="519" y="605"/>
                    </a:lnTo>
                    <a:lnTo>
                      <a:pt x="520" y="606"/>
                    </a:lnTo>
                    <a:lnTo>
                      <a:pt x="522" y="607"/>
                    </a:lnTo>
                    <a:lnTo>
                      <a:pt x="518" y="608"/>
                    </a:lnTo>
                    <a:lnTo>
                      <a:pt x="516" y="608"/>
                    </a:lnTo>
                    <a:lnTo>
                      <a:pt x="518" y="606"/>
                    </a:lnTo>
                    <a:lnTo>
                      <a:pt x="515" y="606"/>
                    </a:lnTo>
                    <a:lnTo>
                      <a:pt x="515" y="605"/>
                    </a:lnTo>
                    <a:lnTo>
                      <a:pt x="509" y="603"/>
                    </a:lnTo>
                    <a:lnTo>
                      <a:pt x="506" y="604"/>
                    </a:lnTo>
                    <a:lnTo>
                      <a:pt x="507" y="605"/>
                    </a:lnTo>
                    <a:lnTo>
                      <a:pt x="507" y="607"/>
                    </a:lnTo>
                    <a:lnTo>
                      <a:pt x="507" y="609"/>
                    </a:lnTo>
                    <a:lnTo>
                      <a:pt x="506" y="609"/>
                    </a:lnTo>
                    <a:lnTo>
                      <a:pt x="505" y="606"/>
                    </a:lnTo>
                    <a:lnTo>
                      <a:pt x="502" y="604"/>
                    </a:lnTo>
                    <a:lnTo>
                      <a:pt x="497" y="602"/>
                    </a:lnTo>
                    <a:lnTo>
                      <a:pt x="488" y="598"/>
                    </a:lnTo>
                    <a:lnTo>
                      <a:pt x="489" y="604"/>
                    </a:lnTo>
                    <a:lnTo>
                      <a:pt x="491" y="606"/>
                    </a:lnTo>
                    <a:lnTo>
                      <a:pt x="481" y="605"/>
                    </a:lnTo>
                    <a:lnTo>
                      <a:pt x="477" y="606"/>
                    </a:lnTo>
                    <a:lnTo>
                      <a:pt x="482" y="604"/>
                    </a:lnTo>
                    <a:lnTo>
                      <a:pt x="482" y="603"/>
                    </a:lnTo>
                    <a:lnTo>
                      <a:pt x="481" y="603"/>
                    </a:lnTo>
                    <a:lnTo>
                      <a:pt x="479" y="600"/>
                    </a:lnTo>
                    <a:lnTo>
                      <a:pt x="485" y="598"/>
                    </a:lnTo>
                    <a:lnTo>
                      <a:pt x="485" y="597"/>
                    </a:lnTo>
                    <a:lnTo>
                      <a:pt x="484" y="596"/>
                    </a:lnTo>
                    <a:lnTo>
                      <a:pt x="481" y="595"/>
                    </a:lnTo>
                    <a:lnTo>
                      <a:pt x="477" y="595"/>
                    </a:lnTo>
                    <a:lnTo>
                      <a:pt x="474" y="594"/>
                    </a:lnTo>
                    <a:lnTo>
                      <a:pt x="468" y="593"/>
                    </a:lnTo>
                    <a:lnTo>
                      <a:pt x="464" y="595"/>
                    </a:lnTo>
                    <a:lnTo>
                      <a:pt x="462" y="592"/>
                    </a:lnTo>
                    <a:lnTo>
                      <a:pt x="457" y="590"/>
                    </a:lnTo>
                    <a:lnTo>
                      <a:pt x="457" y="588"/>
                    </a:lnTo>
                    <a:lnTo>
                      <a:pt x="454" y="585"/>
                    </a:lnTo>
                    <a:lnTo>
                      <a:pt x="448" y="581"/>
                    </a:lnTo>
                    <a:lnTo>
                      <a:pt x="446" y="581"/>
                    </a:lnTo>
                    <a:lnTo>
                      <a:pt x="446" y="582"/>
                    </a:lnTo>
                    <a:lnTo>
                      <a:pt x="446" y="583"/>
                    </a:lnTo>
                    <a:lnTo>
                      <a:pt x="445" y="583"/>
                    </a:lnTo>
                    <a:lnTo>
                      <a:pt x="438" y="582"/>
                    </a:lnTo>
                    <a:lnTo>
                      <a:pt x="436" y="583"/>
                    </a:lnTo>
                    <a:lnTo>
                      <a:pt x="445" y="588"/>
                    </a:lnTo>
                    <a:lnTo>
                      <a:pt x="452" y="591"/>
                    </a:lnTo>
                    <a:lnTo>
                      <a:pt x="452" y="592"/>
                    </a:lnTo>
                    <a:lnTo>
                      <a:pt x="450" y="592"/>
                    </a:lnTo>
                    <a:lnTo>
                      <a:pt x="446" y="592"/>
                    </a:lnTo>
                    <a:lnTo>
                      <a:pt x="444" y="590"/>
                    </a:lnTo>
                    <a:lnTo>
                      <a:pt x="442" y="589"/>
                    </a:lnTo>
                    <a:lnTo>
                      <a:pt x="436" y="584"/>
                    </a:lnTo>
                    <a:lnTo>
                      <a:pt x="434" y="583"/>
                    </a:lnTo>
                    <a:lnTo>
                      <a:pt x="428" y="586"/>
                    </a:lnTo>
                    <a:lnTo>
                      <a:pt x="424" y="585"/>
                    </a:lnTo>
                    <a:lnTo>
                      <a:pt x="421" y="586"/>
                    </a:lnTo>
                    <a:lnTo>
                      <a:pt x="418" y="585"/>
                    </a:lnTo>
                    <a:lnTo>
                      <a:pt x="413" y="585"/>
                    </a:lnTo>
                    <a:lnTo>
                      <a:pt x="412" y="586"/>
                    </a:lnTo>
                    <a:lnTo>
                      <a:pt x="409" y="585"/>
                    </a:lnTo>
                    <a:lnTo>
                      <a:pt x="404" y="586"/>
                    </a:lnTo>
                    <a:lnTo>
                      <a:pt x="395" y="586"/>
                    </a:lnTo>
                    <a:lnTo>
                      <a:pt x="389" y="585"/>
                    </a:lnTo>
                    <a:lnTo>
                      <a:pt x="385" y="583"/>
                    </a:lnTo>
                    <a:lnTo>
                      <a:pt x="384" y="580"/>
                    </a:lnTo>
                    <a:lnTo>
                      <a:pt x="389" y="583"/>
                    </a:lnTo>
                    <a:lnTo>
                      <a:pt x="393" y="583"/>
                    </a:lnTo>
                    <a:lnTo>
                      <a:pt x="396" y="584"/>
                    </a:lnTo>
                    <a:lnTo>
                      <a:pt x="400" y="582"/>
                    </a:lnTo>
                    <a:lnTo>
                      <a:pt x="401" y="582"/>
                    </a:lnTo>
                    <a:lnTo>
                      <a:pt x="399" y="582"/>
                    </a:lnTo>
                    <a:lnTo>
                      <a:pt x="402" y="580"/>
                    </a:lnTo>
                    <a:lnTo>
                      <a:pt x="403" y="580"/>
                    </a:lnTo>
                    <a:lnTo>
                      <a:pt x="404" y="583"/>
                    </a:lnTo>
                    <a:lnTo>
                      <a:pt x="405" y="585"/>
                    </a:lnTo>
                    <a:lnTo>
                      <a:pt x="408" y="585"/>
                    </a:lnTo>
                    <a:lnTo>
                      <a:pt x="407" y="582"/>
                    </a:lnTo>
                    <a:lnTo>
                      <a:pt x="410" y="582"/>
                    </a:lnTo>
                    <a:lnTo>
                      <a:pt x="412" y="579"/>
                    </a:lnTo>
                    <a:lnTo>
                      <a:pt x="414" y="579"/>
                    </a:lnTo>
                    <a:lnTo>
                      <a:pt x="415" y="580"/>
                    </a:lnTo>
                    <a:lnTo>
                      <a:pt x="416" y="581"/>
                    </a:lnTo>
                    <a:lnTo>
                      <a:pt x="420" y="580"/>
                    </a:lnTo>
                    <a:lnTo>
                      <a:pt x="420" y="579"/>
                    </a:lnTo>
                    <a:lnTo>
                      <a:pt x="417" y="578"/>
                    </a:lnTo>
                    <a:lnTo>
                      <a:pt x="419" y="577"/>
                    </a:lnTo>
                    <a:lnTo>
                      <a:pt x="423" y="577"/>
                    </a:lnTo>
                    <a:lnTo>
                      <a:pt x="424" y="576"/>
                    </a:lnTo>
                    <a:lnTo>
                      <a:pt x="425" y="574"/>
                    </a:lnTo>
                    <a:lnTo>
                      <a:pt x="421" y="570"/>
                    </a:lnTo>
                    <a:lnTo>
                      <a:pt x="424" y="568"/>
                    </a:lnTo>
                    <a:lnTo>
                      <a:pt x="426" y="568"/>
                    </a:lnTo>
                    <a:lnTo>
                      <a:pt x="428" y="570"/>
                    </a:lnTo>
                    <a:lnTo>
                      <a:pt x="431" y="572"/>
                    </a:lnTo>
                    <a:lnTo>
                      <a:pt x="434" y="575"/>
                    </a:lnTo>
                    <a:lnTo>
                      <a:pt x="434" y="576"/>
                    </a:lnTo>
                    <a:lnTo>
                      <a:pt x="439" y="578"/>
                    </a:lnTo>
                    <a:lnTo>
                      <a:pt x="441" y="577"/>
                    </a:lnTo>
                    <a:lnTo>
                      <a:pt x="441" y="576"/>
                    </a:lnTo>
                    <a:lnTo>
                      <a:pt x="443" y="574"/>
                    </a:lnTo>
                    <a:lnTo>
                      <a:pt x="445" y="570"/>
                    </a:lnTo>
                    <a:lnTo>
                      <a:pt x="449" y="572"/>
                    </a:lnTo>
                    <a:lnTo>
                      <a:pt x="453" y="571"/>
                    </a:lnTo>
                    <a:lnTo>
                      <a:pt x="456" y="575"/>
                    </a:lnTo>
                    <a:lnTo>
                      <a:pt x="459" y="575"/>
                    </a:lnTo>
                    <a:lnTo>
                      <a:pt x="462" y="576"/>
                    </a:lnTo>
                    <a:lnTo>
                      <a:pt x="465" y="576"/>
                    </a:lnTo>
                    <a:lnTo>
                      <a:pt x="465" y="575"/>
                    </a:lnTo>
                    <a:lnTo>
                      <a:pt x="461" y="571"/>
                    </a:lnTo>
                    <a:lnTo>
                      <a:pt x="465" y="569"/>
                    </a:lnTo>
                    <a:lnTo>
                      <a:pt x="465" y="571"/>
                    </a:lnTo>
                    <a:lnTo>
                      <a:pt x="470" y="575"/>
                    </a:lnTo>
                    <a:lnTo>
                      <a:pt x="475" y="576"/>
                    </a:lnTo>
                    <a:lnTo>
                      <a:pt x="477" y="575"/>
                    </a:lnTo>
                    <a:lnTo>
                      <a:pt x="477" y="577"/>
                    </a:lnTo>
                    <a:lnTo>
                      <a:pt x="480" y="579"/>
                    </a:lnTo>
                    <a:lnTo>
                      <a:pt x="486" y="581"/>
                    </a:lnTo>
                    <a:lnTo>
                      <a:pt x="488" y="584"/>
                    </a:lnTo>
                    <a:lnTo>
                      <a:pt x="489" y="583"/>
                    </a:lnTo>
                    <a:lnTo>
                      <a:pt x="488" y="582"/>
                    </a:lnTo>
                    <a:lnTo>
                      <a:pt x="488" y="580"/>
                    </a:lnTo>
                    <a:lnTo>
                      <a:pt x="490" y="581"/>
                    </a:lnTo>
                    <a:lnTo>
                      <a:pt x="491" y="583"/>
                    </a:lnTo>
                    <a:lnTo>
                      <a:pt x="492" y="583"/>
                    </a:lnTo>
                    <a:lnTo>
                      <a:pt x="493" y="582"/>
                    </a:lnTo>
                    <a:lnTo>
                      <a:pt x="491" y="578"/>
                    </a:lnTo>
                    <a:lnTo>
                      <a:pt x="492" y="576"/>
                    </a:lnTo>
                    <a:lnTo>
                      <a:pt x="492" y="575"/>
                    </a:lnTo>
                    <a:lnTo>
                      <a:pt x="489" y="573"/>
                    </a:lnTo>
                    <a:lnTo>
                      <a:pt x="489" y="570"/>
                    </a:lnTo>
                    <a:lnTo>
                      <a:pt x="487" y="568"/>
                    </a:lnTo>
                    <a:lnTo>
                      <a:pt x="486" y="567"/>
                    </a:lnTo>
                    <a:lnTo>
                      <a:pt x="488" y="567"/>
                    </a:lnTo>
                    <a:lnTo>
                      <a:pt x="490" y="564"/>
                    </a:lnTo>
                    <a:lnTo>
                      <a:pt x="489" y="568"/>
                    </a:lnTo>
                    <a:lnTo>
                      <a:pt x="492" y="570"/>
                    </a:lnTo>
                    <a:lnTo>
                      <a:pt x="492" y="572"/>
                    </a:lnTo>
                    <a:lnTo>
                      <a:pt x="494" y="574"/>
                    </a:lnTo>
                    <a:lnTo>
                      <a:pt x="499" y="576"/>
                    </a:lnTo>
                    <a:lnTo>
                      <a:pt x="501" y="576"/>
                    </a:lnTo>
                    <a:lnTo>
                      <a:pt x="502" y="574"/>
                    </a:lnTo>
                    <a:lnTo>
                      <a:pt x="503" y="574"/>
                    </a:lnTo>
                    <a:lnTo>
                      <a:pt x="503" y="577"/>
                    </a:lnTo>
                    <a:lnTo>
                      <a:pt x="501" y="579"/>
                    </a:lnTo>
                    <a:lnTo>
                      <a:pt x="501" y="580"/>
                    </a:lnTo>
                    <a:lnTo>
                      <a:pt x="503" y="581"/>
                    </a:lnTo>
                    <a:lnTo>
                      <a:pt x="506" y="579"/>
                    </a:lnTo>
                    <a:lnTo>
                      <a:pt x="509" y="581"/>
                    </a:lnTo>
                    <a:lnTo>
                      <a:pt x="512" y="581"/>
                    </a:lnTo>
                    <a:lnTo>
                      <a:pt x="514" y="582"/>
                    </a:lnTo>
                    <a:lnTo>
                      <a:pt x="514" y="585"/>
                    </a:lnTo>
                    <a:lnTo>
                      <a:pt x="518" y="586"/>
                    </a:lnTo>
                    <a:lnTo>
                      <a:pt x="518" y="585"/>
                    </a:lnTo>
                    <a:lnTo>
                      <a:pt x="517" y="583"/>
                    </a:lnTo>
                    <a:lnTo>
                      <a:pt x="519" y="582"/>
                    </a:lnTo>
                    <a:lnTo>
                      <a:pt x="519" y="579"/>
                    </a:lnTo>
                    <a:lnTo>
                      <a:pt x="520" y="578"/>
                    </a:lnTo>
                    <a:lnTo>
                      <a:pt x="522" y="576"/>
                    </a:lnTo>
                    <a:lnTo>
                      <a:pt x="520" y="571"/>
                    </a:lnTo>
                    <a:lnTo>
                      <a:pt x="517" y="570"/>
                    </a:lnTo>
                    <a:lnTo>
                      <a:pt x="515" y="569"/>
                    </a:lnTo>
                    <a:lnTo>
                      <a:pt x="510" y="567"/>
                    </a:lnTo>
                    <a:lnTo>
                      <a:pt x="506" y="565"/>
                    </a:lnTo>
                    <a:lnTo>
                      <a:pt x="504" y="564"/>
                    </a:lnTo>
                    <a:lnTo>
                      <a:pt x="504" y="562"/>
                    </a:lnTo>
                    <a:lnTo>
                      <a:pt x="505" y="562"/>
                    </a:lnTo>
                    <a:lnTo>
                      <a:pt x="508" y="560"/>
                    </a:lnTo>
                    <a:lnTo>
                      <a:pt x="508" y="558"/>
                    </a:lnTo>
                    <a:lnTo>
                      <a:pt x="509" y="556"/>
                    </a:lnTo>
                    <a:lnTo>
                      <a:pt x="507" y="555"/>
                    </a:lnTo>
                    <a:lnTo>
                      <a:pt x="502" y="556"/>
                    </a:lnTo>
                    <a:lnTo>
                      <a:pt x="504" y="556"/>
                    </a:lnTo>
                    <a:lnTo>
                      <a:pt x="503" y="557"/>
                    </a:lnTo>
                    <a:lnTo>
                      <a:pt x="500" y="558"/>
                    </a:lnTo>
                    <a:lnTo>
                      <a:pt x="500" y="564"/>
                    </a:lnTo>
                    <a:lnTo>
                      <a:pt x="500" y="565"/>
                    </a:lnTo>
                    <a:lnTo>
                      <a:pt x="501" y="566"/>
                    </a:lnTo>
                    <a:lnTo>
                      <a:pt x="501" y="568"/>
                    </a:lnTo>
                    <a:lnTo>
                      <a:pt x="503" y="572"/>
                    </a:lnTo>
                    <a:lnTo>
                      <a:pt x="502" y="572"/>
                    </a:lnTo>
                    <a:lnTo>
                      <a:pt x="500" y="570"/>
                    </a:lnTo>
                    <a:lnTo>
                      <a:pt x="499" y="566"/>
                    </a:lnTo>
                    <a:lnTo>
                      <a:pt x="498" y="565"/>
                    </a:lnTo>
                    <a:lnTo>
                      <a:pt x="498" y="564"/>
                    </a:lnTo>
                    <a:lnTo>
                      <a:pt x="495" y="562"/>
                    </a:lnTo>
                    <a:lnTo>
                      <a:pt x="495" y="560"/>
                    </a:lnTo>
                    <a:lnTo>
                      <a:pt x="497" y="560"/>
                    </a:lnTo>
                    <a:lnTo>
                      <a:pt x="498" y="557"/>
                    </a:lnTo>
                    <a:lnTo>
                      <a:pt x="499" y="556"/>
                    </a:lnTo>
                    <a:lnTo>
                      <a:pt x="499" y="555"/>
                    </a:lnTo>
                    <a:lnTo>
                      <a:pt x="490" y="555"/>
                    </a:lnTo>
                    <a:lnTo>
                      <a:pt x="489" y="554"/>
                    </a:lnTo>
                    <a:lnTo>
                      <a:pt x="503" y="554"/>
                    </a:lnTo>
                    <a:lnTo>
                      <a:pt x="506" y="551"/>
                    </a:lnTo>
                    <a:lnTo>
                      <a:pt x="506" y="548"/>
                    </a:lnTo>
                    <a:lnTo>
                      <a:pt x="507" y="548"/>
                    </a:lnTo>
                    <a:lnTo>
                      <a:pt x="509" y="550"/>
                    </a:lnTo>
                    <a:lnTo>
                      <a:pt x="509" y="552"/>
                    </a:lnTo>
                    <a:lnTo>
                      <a:pt x="510" y="553"/>
                    </a:lnTo>
                    <a:lnTo>
                      <a:pt x="510" y="554"/>
                    </a:lnTo>
                    <a:lnTo>
                      <a:pt x="513" y="555"/>
                    </a:lnTo>
                    <a:lnTo>
                      <a:pt x="514" y="556"/>
                    </a:lnTo>
                    <a:lnTo>
                      <a:pt x="511" y="557"/>
                    </a:lnTo>
                    <a:lnTo>
                      <a:pt x="511" y="562"/>
                    </a:lnTo>
                    <a:lnTo>
                      <a:pt x="507" y="564"/>
                    </a:lnTo>
                    <a:lnTo>
                      <a:pt x="517" y="568"/>
                    </a:lnTo>
                    <a:lnTo>
                      <a:pt x="517" y="564"/>
                    </a:lnTo>
                    <a:lnTo>
                      <a:pt x="515" y="561"/>
                    </a:lnTo>
                    <a:lnTo>
                      <a:pt x="517" y="559"/>
                    </a:lnTo>
                    <a:lnTo>
                      <a:pt x="518" y="562"/>
                    </a:lnTo>
                    <a:lnTo>
                      <a:pt x="520" y="565"/>
                    </a:lnTo>
                    <a:lnTo>
                      <a:pt x="519" y="568"/>
                    </a:lnTo>
                    <a:lnTo>
                      <a:pt x="522" y="570"/>
                    </a:lnTo>
                    <a:lnTo>
                      <a:pt x="524" y="570"/>
                    </a:lnTo>
                    <a:lnTo>
                      <a:pt x="525" y="572"/>
                    </a:lnTo>
                    <a:lnTo>
                      <a:pt x="523" y="574"/>
                    </a:lnTo>
                    <a:lnTo>
                      <a:pt x="526" y="576"/>
                    </a:lnTo>
                    <a:lnTo>
                      <a:pt x="522" y="580"/>
                    </a:lnTo>
                    <a:lnTo>
                      <a:pt x="521" y="582"/>
                    </a:lnTo>
                    <a:lnTo>
                      <a:pt x="521" y="585"/>
                    </a:lnTo>
                    <a:lnTo>
                      <a:pt x="520" y="588"/>
                    </a:lnTo>
                    <a:lnTo>
                      <a:pt x="520" y="591"/>
                    </a:lnTo>
                    <a:lnTo>
                      <a:pt x="523" y="593"/>
                    </a:lnTo>
                    <a:lnTo>
                      <a:pt x="533" y="597"/>
                    </a:lnTo>
                    <a:lnTo>
                      <a:pt x="535" y="597"/>
                    </a:lnTo>
                    <a:lnTo>
                      <a:pt x="537" y="596"/>
                    </a:lnTo>
                    <a:lnTo>
                      <a:pt x="543" y="597"/>
                    </a:lnTo>
                    <a:lnTo>
                      <a:pt x="550" y="598"/>
                    </a:lnTo>
                    <a:lnTo>
                      <a:pt x="539" y="590"/>
                    </a:lnTo>
                    <a:lnTo>
                      <a:pt x="543" y="592"/>
                    </a:lnTo>
                    <a:lnTo>
                      <a:pt x="545" y="591"/>
                    </a:lnTo>
                    <a:lnTo>
                      <a:pt x="546" y="590"/>
                    </a:lnTo>
                    <a:lnTo>
                      <a:pt x="545" y="588"/>
                    </a:lnTo>
                    <a:lnTo>
                      <a:pt x="545" y="586"/>
                    </a:lnTo>
                    <a:lnTo>
                      <a:pt x="548" y="585"/>
                    </a:lnTo>
                    <a:lnTo>
                      <a:pt x="549" y="586"/>
                    </a:lnTo>
                    <a:lnTo>
                      <a:pt x="550" y="586"/>
                    </a:lnTo>
                    <a:lnTo>
                      <a:pt x="554" y="585"/>
                    </a:lnTo>
                    <a:lnTo>
                      <a:pt x="554" y="588"/>
                    </a:lnTo>
                    <a:lnTo>
                      <a:pt x="555" y="588"/>
                    </a:lnTo>
                    <a:lnTo>
                      <a:pt x="552" y="588"/>
                    </a:lnTo>
                    <a:lnTo>
                      <a:pt x="551" y="589"/>
                    </a:lnTo>
                    <a:lnTo>
                      <a:pt x="551" y="590"/>
                    </a:lnTo>
                    <a:lnTo>
                      <a:pt x="564" y="592"/>
                    </a:lnTo>
                    <a:lnTo>
                      <a:pt x="565" y="591"/>
                    </a:lnTo>
                    <a:lnTo>
                      <a:pt x="561" y="590"/>
                    </a:lnTo>
                    <a:lnTo>
                      <a:pt x="560" y="589"/>
                    </a:lnTo>
                    <a:lnTo>
                      <a:pt x="560" y="587"/>
                    </a:lnTo>
                    <a:lnTo>
                      <a:pt x="558" y="586"/>
                    </a:lnTo>
                    <a:lnTo>
                      <a:pt x="559" y="585"/>
                    </a:lnTo>
                    <a:lnTo>
                      <a:pt x="562" y="586"/>
                    </a:lnTo>
                    <a:lnTo>
                      <a:pt x="562" y="585"/>
                    </a:lnTo>
                    <a:lnTo>
                      <a:pt x="560" y="584"/>
                    </a:lnTo>
                    <a:lnTo>
                      <a:pt x="560" y="583"/>
                    </a:lnTo>
                    <a:lnTo>
                      <a:pt x="568" y="584"/>
                    </a:lnTo>
                    <a:lnTo>
                      <a:pt x="576" y="577"/>
                    </a:lnTo>
                    <a:lnTo>
                      <a:pt x="581" y="575"/>
                    </a:lnTo>
                    <a:lnTo>
                      <a:pt x="584" y="573"/>
                    </a:lnTo>
                    <a:lnTo>
                      <a:pt x="589" y="572"/>
                    </a:lnTo>
                    <a:lnTo>
                      <a:pt x="592" y="569"/>
                    </a:lnTo>
                    <a:lnTo>
                      <a:pt x="589" y="566"/>
                    </a:lnTo>
                    <a:lnTo>
                      <a:pt x="593" y="568"/>
                    </a:lnTo>
                    <a:lnTo>
                      <a:pt x="596" y="566"/>
                    </a:lnTo>
                    <a:lnTo>
                      <a:pt x="596" y="565"/>
                    </a:lnTo>
                    <a:lnTo>
                      <a:pt x="596" y="564"/>
                    </a:lnTo>
                    <a:lnTo>
                      <a:pt x="592" y="565"/>
                    </a:lnTo>
                    <a:lnTo>
                      <a:pt x="594" y="562"/>
                    </a:lnTo>
                    <a:lnTo>
                      <a:pt x="597" y="562"/>
                    </a:lnTo>
                    <a:lnTo>
                      <a:pt x="596" y="560"/>
                    </a:lnTo>
                    <a:lnTo>
                      <a:pt x="602" y="559"/>
                    </a:lnTo>
                    <a:lnTo>
                      <a:pt x="605" y="558"/>
                    </a:lnTo>
                    <a:lnTo>
                      <a:pt x="607" y="558"/>
                    </a:lnTo>
                    <a:lnTo>
                      <a:pt x="609" y="556"/>
                    </a:lnTo>
                    <a:lnTo>
                      <a:pt x="610" y="554"/>
                    </a:lnTo>
                    <a:lnTo>
                      <a:pt x="611" y="555"/>
                    </a:lnTo>
                    <a:lnTo>
                      <a:pt x="611" y="556"/>
                    </a:lnTo>
                    <a:lnTo>
                      <a:pt x="613" y="557"/>
                    </a:lnTo>
                    <a:lnTo>
                      <a:pt x="619" y="557"/>
                    </a:lnTo>
                    <a:lnTo>
                      <a:pt x="622" y="555"/>
                    </a:lnTo>
                    <a:lnTo>
                      <a:pt x="623" y="552"/>
                    </a:lnTo>
                    <a:lnTo>
                      <a:pt x="621" y="551"/>
                    </a:lnTo>
                    <a:lnTo>
                      <a:pt x="611" y="550"/>
                    </a:lnTo>
                    <a:lnTo>
                      <a:pt x="601" y="551"/>
                    </a:lnTo>
                    <a:lnTo>
                      <a:pt x="596" y="553"/>
                    </a:lnTo>
                    <a:lnTo>
                      <a:pt x="595" y="552"/>
                    </a:lnTo>
                    <a:lnTo>
                      <a:pt x="596" y="550"/>
                    </a:lnTo>
                    <a:lnTo>
                      <a:pt x="606" y="549"/>
                    </a:lnTo>
                    <a:lnTo>
                      <a:pt x="611" y="542"/>
                    </a:lnTo>
                    <a:lnTo>
                      <a:pt x="611" y="540"/>
                    </a:lnTo>
                    <a:lnTo>
                      <a:pt x="609" y="537"/>
                    </a:lnTo>
                    <a:lnTo>
                      <a:pt x="607" y="536"/>
                    </a:lnTo>
                    <a:lnTo>
                      <a:pt x="607" y="535"/>
                    </a:lnTo>
                    <a:lnTo>
                      <a:pt x="611" y="537"/>
                    </a:lnTo>
                    <a:lnTo>
                      <a:pt x="613" y="540"/>
                    </a:lnTo>
                    <a:lnTo>
                      <a:pt x="620" y="546"/>
                    </a:lnTo>
                    <a:lnTo>
                      <a:pt x="621" y="546"/>
                    </a:lnTo>
                    <a:lnTo>
                      <a:pt x="622" y="545"/>
                    </a:lnTo>
                    <a:lnTo>
                      <a:pt x="622" y="542"/>
                    </a:lnTo>
                    <a:lnTo>
                      <a:pt x="622" y="539"/>
                    </a:lnTo>
                    <a:lnTo>
                      <a:pt x="620" y="537"/>
                    </a:lnTo>
                    <a:lnTo>
                      <a:pt x="620" y="540"/>
                    </a:lnTo>
                    <a:lnTo>
                      <a:pt x="619" y="540"/>
                    </a:lnTo>
                    <a:lnTo>
                      <a:pt x="617" y="538"/>
                    </a:lnTo>
                    <a:lnTo>
                      <a:pt x="617" y="537"/>
                    </a:lnTo>
                    <a:lnTo>
                      <a:pt x="612" y="536"/>
                    </a:lnTo>
                    <a:lnTo>
                      <a:pt x="609" y="534"/>
                    </a:lnTo>
                    <a:lnTo>
                      <a:pt x="603" y="521"/>
                    </a:lnTo>
                    <a:lnTo>
                      <a:pt x="602" y="518"/>
                    </a:lnTo>
                    <a:lnTo>
                      <a:pt x="603" y="516"/>
                    </a:lnTo>
                    <a:lnTo>
                      <a:pt x="601" y="515"/>
                    </a:lnTo>
                    <a:lnTo>
                      <a:pt x="598" y="516"/>
                    </a:lnTo>
                    <a:lnTo>
                      <a:pt x="597" y="518"/>
                    </a:lnTo>
                    <a:lnTo>
                      <a:pt x="598" y="524"/>
                    </a:lnTo>
                    <a:lnTo>
                      <a:pt x="600" y="525"/>
                    </a:lnTo>
                    <a:lnTo>
                      <a:pt x="596" y="522"/>
                    </a:lnTo>
                    <a:lnTo>
                      <a:pt x="595" y="516"/>
                    </a:lnTo>
                    <a:lnTo>
                      <a:pt x="596" y="515"/>
                    </a:lnTo>
                    <a:lnTo>
                      <a:pt x="595" y="514"/>
                    </a:lnTo>
                    <a:lnTo>
                      <a:pt x="594" y="514"/>
                    </a:lnTo>
                    <a:lnTo>
                      <a:pt x="592" y="514"/>
                    </a:lnTo>
                    <a:lnTo>
                      <a:pt x="590" y="513"/>
                    </a:lnTo>
                    <a:lnTo>
                      <a:pt x="589" y="512"/>
                    </a:lnTo>
                    <a:lnTo>
                      <a:pt x="584" y="512"/>
                    </a:lnTo>
                    <a:lnTo>
                      <a:pt x="584" y="513"/>
                    </a:lnTo>
                    <a:lnTo>
                      <a:pt x="584" y="516"/>
                    </a:lnTo>
                    <a:lnTo>
                      <a:pt x="584" y="520"/>
                    </a:lnTo>
                    <a:lnTo>
                      <a:pt x="581" y="515"/>
                    </a:lnTo>
                    <a:lnTo>
                      <a:pt x="581" y="513"/>
                    </a:lnTo>
                    <a:lnTo>
                      <a:pt x="581" y="511"/>
                    </a:lnTo>
                    <a:lnTo>
                      <a:pt x="581" y="510"/>
                    </a:lnTo>
                    <a:lnTo>
                      <a:pt x="581" y="508"/>
                    </a:lnTo>
                    <a:lnTo>
                      <a:pt x="581" y="510"/>
                    </a:lnTo>
                    <a:lnTo>
                      <a:pt x="581" y="511"/>
                    </a:lnTo>
                    <a:lnTo>
                      <a:pt x="578" y="511"/>
                    </a:lnTo>
                    <a:lnTo>
                      <a:pt x="577" y="511"/>
                    </a:lnTo>
                    <a:lnTo>
                      <a:pt x="577" y="510"/>
                    </a:lnTo>
                    <a:lnTo>
                      <a:pt x="571" y="507"/>
                    </a:lnTo>
                    <a:lnTo>
                      <a:pt x="569" y="505"/>
                    </a:lnTo>
                    <a:lnTo>
                      <a:pt x="569" y="504"/>
                    </a:lnTo>
                    <a:lnTo>
                      <a:pt x="572" y="505"/>
                    </a:lnTo>
                    <a:lnTo>
                      <a:pt x="574" y="505"/>
                    </a:lnTo>
                    <a:lnTo>
                      <a:pt x="573" y="505"/>
                    </a:lnTo>
                    <a:lnTo>
                      <a:pt x="572" y="504"/>
                    </a:lnTo>
                    <a:lnTo>
                      <a:pt x="570" y="501"/>
                    </a:lnTo>
                    <a:lnTo>
                      <a:pt x="567" y="501"/>
                    </a:lnTo>
                    <a:lnTo>
                      <a:pt x="563" y="495"/>
                    </a:lnTo>
                    <a:lnTo>
                      <a:pt x="563" y="494"/>
                    </a:lnTo>
                    <a:lnTo>
                      <a:pt x="564" y="495"/>
                    </a:lnTo>
                    <a:lnTo>
                      <a:pt x="567" y="498"/>
                    </a:lnTo>
                    <a:lnTo>
                      <a:pt x="573" y="502"/>
                    </a:lnTo>
                    <a:lnTo>
                      <a:pt x="575" y="503"/>
                    </a:lnTo>
                    <a:lnTo>
                      <a:pt x="584" y="504"/>
                    </a:lnTo>
                    <a:lnTo>
                      <a:pt x="585" y="504"/>
                    </a:lnTo>
                    <a:lnTo>
                      <a:pt x="586" y="502"/>
                    </a:lnTo>
                    <a:lnTo>
                      <a:pt x="577" y="498"/>
                    </a:lnTo>
                    <a:lnTo>
                      <a:pt x="572" y="498"/>
                    </a:lnTo>
                    <a:lnTo>
                      <a:pt x="574" y="498"/>
                    </a:lnTo>
                    <a:lnTo>
                      <a:pt x="576" y="497"/>
                    </a:lnTo>
                    <a:lnTo>
                      <a:pt x="573" y="494"/>
                    </a:lnTo>
                    <a:lnTo>
                      <a:pt x="573" y="493"/>
                    </a:lnTo>
                    <a:lnTo>
                      <a:pt x="572" y="492"/>
                    </a:lnTo>
                    <a:lnTo>
                      <a:pt x="566" y="491"/>
                    </a:lnTo>
                    <a:lnTo>
                      <a:pt x="563" y="489"/>
                    </a:lnTo>
                    <a:lnTo>
                      <a:pt x="560" y="491"/>
                    </a:lnTo>
                    <a:lnTo>
                      <a:pt x="558" y="493"/>
                    </a:lnTo>
                    <a:lnTo>
                      <a:pt x="557" y="493"/>
                    </a:lnTo>
                    <a:lnTo>
                      <a:pt x="555" y="490"/>
                    </a:lnTo>
                    <a:lnTo>
                      <a:pt x="556" y="489"/>
                    </a:lnTo>
                    <a:lnTo>
                      <a:pt x="559" y="487"/>
                    </a:lnTo>
                    <a:lnTo>
                      <a:pt x="554" y="486"/>
                    </a:lnTo>
                    <a:lnTo>
                      <a:pt x="552" y="486"/>
                    </a:lnTo>
                    <a:lnTo>
                      <a:pt x="551" y="485"/>
                    </a:lnTo>
                    <a:lnTo>
                      <a:pt x="548" y="483"/>
                    </a:lnTo>
                    <a:lnTo>
                      <a:pt x="546" y="479"/>
                    </a:lnTo>
                    <a:lnTo>
                      <a:pt x="544" y="479"/>
                    </a:lnTo>
                    <a:lnTo>
                      <a:pt x="544" y="478"/>
                    </a:lnTo>
                    <a:lnTo>
                      <a:pt x="543" y="477"/>
                    </a:lnTo>
                    <a:lnTo>
                      <a:pt x="538" y="474"/>
                    </a:lnTo>
                    <a:lnTo>
                      <a:pt x="536" y="474"/>
                    </a:lnTo>
                    <a:lnTo>
                      <a:pt x="536" y="473"/>
                    </a:lnTo>
                    <a:lnTo>
                      <a:pt x="538" y="471"/>
                    </a:lnTo>
                    <a:lnTo>
                      <a:pt x="538" y="469"/>
                    </a:lnTo>
                    <a:lnTo>
                      <a:pt x="536" y="467"/>
                    </a:lnTo>
                    <a:lnTo>
                      <a:pt x="536" y="465"/>
                    </a:lnTo>
                    <a:lnTo>
                      <a:pt x="534" y="465"/>
                    </a:lnTo>
                    <a:lnTo>
                      <a:pt x="529" y="465"/>
                    </a:lnTo>
                    <a:lnTo>
                      <a:pt x="520" y="467"/>
                    </a:lnTo>
                    <a:lnTo>
                      <a:pt x="518" y="469"/>
                    </a:lnTo>
                    <a:lnTo>
                      <a:pt x="517" y="471"/>
                    </a:lnTo>
                    <a:lnTo>
                      <a:pt x="518" y="475"/>
                    </a:lnTo>
                    <a:lnTo>
                      <a:pt x="512" y="474"/>
                    </a:lnTo>
                    <a:lnTo>
                      <a:pt x="510" y="472"/>
                    </a:lnTo>
                    <a:lnTo>
                      <a:pt x="508" y="469"/>
                    </a:lnTo>
                    <a:lnTo>
                      <a:pt x="507" y="466"/>
                    </a:lnTo>
                    <a:lnTo>
                      <a:pt x="512" y="464"/>
                    </a:lnTo>
                    <a:lnTo>
                      <a:pt x="508" y="461"/>
                    </a:lnTo>
                    <a:lnTo>
                      <a:pt x="501" y="459"/>
                    </a:lnTo>
                    <a:lnTo>
                      <a:pt x="496" y="461"/>
                    </a:lnTo>
                    <a:lnTo>
                      <a:pt x="492" y="461"/>
                    </a:lnTo>
                    <a:lnTo>
                      <a:pt x="490" y="462"/>
                    </a:lnTo>
                    <a:lnTo>
                      <a:pt x="488" y="461"/>
                    </a:lnTo>
                    <a:lnTo>
                      <a:pt x="487" y="463"/>
                    </a:lnTo>
                    <a:lnTo>
                      <a:pt x="485" y="461"/>
                    </a:lnTo>
                    <a:lnTo>
                      <a:pt x="488" y="460"/>
                    </a:lnTo>
                    <a:lnTo>
                      <a:pt x="489" y="459"/>
                    </a:lnTo>
                    <a:lnTo>
                      <a:pt x="488" y="459"/>
                    </a:lnTo>
                    <a:lnTo>
                      <a:pt x="485" y="458"/>
                    </a:lnTo>
                    <a:lnTo>
                      <a:pt x="484" y="456"/>
                    </a:lnTo>
                    <a:lnTo>
                      <a:pt x="482" y="456"/>
                    </a:lnTo>
                    <a:lnTo>
                      <a:pt x="481" y="454"/>
                    </a:lnTo>
                    <a:lnTo>
                      <a:pt x="477" y="455"/>
                    </a:lnTo>
                    <a:lnTo>
                      <a:pt x="475" y="455"/>
                    </a:lnTo>
                    <a:lnTo>
                      <a:pt x="475" y="454"/>
                    </a:lnTo>
                    <a:lnTo>
                      <a:pt x="484" y="450"/>
                    </a:lnTo>
                    <a:lnTo>
                      <a:pt x="486" y="448"/>
                    </a:lnTo>
                    <a:lnTo>
                      <a:pt x="487" y="447"/>
                    </a:lnTo>
                    <a:lnTo>
                      <a:pt x="482" y="446"/>
                    </a:lnTo>
                    <a:lnTo>
                      <a:pt x="483" y="443"/>
                    </a:lnTo>
                    <a:lnTo>
                      <a:pt x="481" y="442"/>
                    </a:lnTo>
                    <a:lnTo>
                      <a:pt x="480" y="441"/>
                    </a:lnTo>
                    <a:lnTo>
                      <a:pt x="480" y="440"/>
                    </a:lnTo>
                    <a:lnTo>
                      <a:pt x="482" y="438"/>
                    </a:lnTo>
                    <a:lnTo>
                      <a:pt x="479" y="433"/>
                    </a:lnTo>
                    <a:lnTo>
                      <a:pt x="477" y="433"/>
                    </a:lnTo>
                    <a:lnTo>
                      <a:pt x="476" y="430"/>
                    </a:lnTo>
                    <a:lnTo>
                      <a:pt x="476" y="429"/>
                    </a:lnTo>
                    <a:lnTo>
                      <a:pt x="474" y="429"/>
                    </a:lnTo>
                    <a:lnTo>
                      <a:pt x="472" y="428"/>
                    </a:lnTo>
                    <a:lnTo>
                      <a:pt x="473" y="423"/>
                    </a:lnTo>
                    <a:lnTo>
                      <a:pt x="479" y="421"/>
                    </a:lnTo>
                    <a:lnTo>
                      <a:pt x="480" y="420"/>
                    </a:lnTo>
                    <a:lnTo>
                      <a:pt x="473" y="420"/>
                    </a:lnTo>
                    <a:lnTo>
                      <a:pt x="475" y="419"/>
                    </a:lnTo>
                    <a:lnTo>
                      <a:pt x="475" y="418"/>
                    </a:lnTo>
                    <a:lnTo>
                      <a:pt x="473" y="418"/>
                    </a:lnTo>
                    <a:lnTo>
                      <a:pt x="473" y="417"/>
                    </a:lnTo>
                    <a:lnTo>
                      <a:pt x="474" y="414"/>
                    </a:lnTo>
                    <a:lnTo>
                      <a:pt x="474" y="413"/>
                    </a:lnTo>
                    <a:lnTo>
                      <a:pt x="476" y="412"/>
                    </a:lnTo>
                    <a:lnTo>
                      <a:pt x="471" y="411"/>
                    </a:lnTo>
                    <a:lnTo>
                      <a:pt x="474" y="410"/>
                    </a:lnTo>
                    <a:lnTo>
                      <a:pt x="475" y="408"/>
                    </a:lnTo>
                    <a:lnTo>
                      <a:pt x="473" y="406"/>
                    </a:lnTo>
                    <a:lnTo>
                      <a:pt x="474" y="405"/>
                    </a:lnTo>
                    <a:lnTo>
                      <a:pt x="474" y="402"/>
                    </a:lnTo>
                    <a:lnTo>
                      <a:pt x="472" y="400"/>
                    </a:lnTo>
                    <a:lnTo>
                      <a:pt x="476" y="398"/>
                    </a:lnTo>
                    <a:lnTo>
                      <a:pt x="477" y="398"/>
                    </a:lnTo>
                    <a:lnTo>
                      <a:pt x="476" y="395"/>
                    </a:lnTo>
                    <a:lnTo>
                      <a:pt x="473" y="394"/>
                    </a:lnTo>
                    <a:lnTo>
                      <a:pt x="473" y="392"/>
                    </a:lnTo>
                    <a:lnTo>
                      <a:pt x="468" y="389"/>
                    </a:lnTo>
                    <a:lnTo>
                      <a:pt x="470" y="388"/>
                    </a:lnTo>
                    <a:lnTo>
                      <a:pt x="476" y="392"/>
                    </a:lnTo>
                    <a:lnTo>
                      <a:pt x="480" y="392"/>
                    </a:lnTo>
                    <a:lnTo>
                      <a:pt x="473" y="390"/>
                    </a:lnTo>
                    <a:lnTo>
                      <a:pt x="472" y="388"/>
                    </a:lnTo>
                    <a:lnTo>
                      <a:pt x="479" y="390"/>
                    </a:lnTo>
                    <a:lnTo>
                      <a:pt x="482" y="389"/>
                    </a:lnTo>
                    <a:lnTo>
                      <a:pt x="481" y="389"/>
                    </a:lnTo>
                    <a:lnTo>
                      <a:pt x="482" y="388"/>
                    </a:lnTo>
                    <a:lnTo>
                      <a:pt x="476" y="387"/>
                    </a:lnTo>
                    <a:lnTo>
                      <a:pt x="476" y="386"/>
                    </a:lnTo>
                    <a:lnTo>
                      <a:pt x="471" y="384"/>
                    </a:lnTo>
                    <a:lnTo>
                      <a:pt x="470" y="382"/>
                    </a:lnTo>
                    <a:lnTo>
                      <a:pt x="468" y="380"/>
                    </a:lnTo>
                    <a:lnTo>
                      <a:pt x="471" y="376"/>
                    </a:lnTo>
                    <a:lnTo>
                      <a:pt x="472" y="376"/>
                    </a:lnTo>
                    <a:lnTo>
                      <a:pt x="473" y="378"/>
                    </a:lnTo>
                    <a:lnTo>
                      <a:pt x="474" y="377"/>
                    </a:lnTo>
                    <a:lnTo>
                      <a:pt x="477" y="377"/>
                    </a:lnTo>
                    <a:lnTo>
                      <a:pt x="477" y="376"/>
                    </a:lnTo>
                    <a:lnTo>
                      <a:pt x="476" y="375"/>
                    </a:lnTo>
                    <a:lnTo>
                      <a:pt x="475" y="376"/>
                    </a:lnTo>
                    <a:lnTo>
                      <a:pt x="473" y="375"/>
                    </a:lnTo>
                    <a:lnTo>
                      <a:pt x="473" y="372"/>
                    </a:lnTo>
                    <a:lnTo>
                      <a:pt x="474" y="370"/>
                    </a:lnTo>
                    <a:lnTo>
                      <a:pt x="470" y="368"/>
                    </a:lnTo>
                    <a:lnTo>
                      <a:pt x="473" y="368"/>
                    </a:lnTo>
                    <a:lnTo>
                      <a:pt x="472" y="366"/>
                    </a:lnTo>
                    <a:lnTo>
                      <a:pt x="470" y="366"/>
                    </a:lnTo>
                    <a:lnTo>
                      <a:pt x="466" y="363"/>
                    </a:lnTo>
                    <a:lnTo>
                      <a:pt x="475" y="363"/>
                    </a:lnTo>
                    <a:lnTo>
                      <a:pt x="465" y="361"/>
                    </a:lnTo>
                    <a:lnTo>
                      <a:pt x="469" y="361"/>
                    </a:lnTo>
                    <a:lnTo>
                      <a:pt x="471" y="360"/>
                    </a:lnTo>
                    <a:lnTo>
                      <a:pt x="471" y="359"/>
                    </a:lnTo>
                    <a:lnTo>
                      <a:pt x="467" y="358"/>
                    </a:lnTo>
                    <a:lnTo>
                      <a:pt x="468" y="357"/>
                    </a:lnTo>
                    <a:lnTo>
                      <a:pt x="473" y="357"/>
                    </a:lnTo>
                    <a:lnTo>
                      <a:pt x="476" y="359"/>
                    </a:lnTo>
                    <a:lnTo>
                      <a:pt x="479" y="358"/>
                    </a:lnTo>
                    <a:lnTo>
                      <a:pt x="479" y="357"/>
                    </a:lnTo>
                    <a:lnTo>
                      <a:pt x="470" y="356"/>
                    </a:lnTo>
                    <a:lnTo>
                      <a:pt x="468" y="355"/>
                    </a:lnTo>
                    <a:lnTo>
                      <a:pt x="470" y="354"/>
                    </a:lnTo>
                    <a:lnTo>
                      <a:pt x="473" y="356"/>
                    </a:lnTo>
                    <a:lnTo>
                      <a:pt x="474" y="355"/>
                    </a:lnTo>
                    <a:lnTo>
                      <a:pt x="475" y="354"/>
                    </a:lnTo>
                    <a:lnTo>
                      <a:pt x="473" y="354"/>
                    </a:lnTo>
                    <a:lnTo>
                      <a:pt x="479" y="351"/>
                    </a:lnTo>
                    <a:lnTo>
                      <a:pt x="481" y="351"/>
                    </a:lnTo>
                    <a:lnTo>
                      <a:pt x="481" y="350"/>
                    </a:lnTo>
                    <a:lnTo>
                      <a:pt x="479" y="349"/>
                    </a:lnTo>
                    <a:lnTo>
                      <a:pt x="477" y="348"/>
                    </a:lnTo>
                    <a:lnTo>
                      <a:pt x="473" y="348"/>
                    </a:lnTo>
                    <a:lnTo>
                      <a:pt x="471" y="347"/>
                    </a:lnTo>
                    <a:lnTo>
                      <a:pt x="471" y="346"/>
                    </a:lnTo>
                    <a:lnTo>
                      <a:pt x="472" y="345"/>
                    </a:lnTo>
                    <a:lnTo>
                      <a:pt x="480" y="346"/>
                    </a:lnTo>
                    <a:lnTo>
                      <a:pt x="484" y="348"/>
                    </a:lnTo>
                    <a:lnTo>
                      <a:pt x="483" y="350"/>
                    </a:lnTo>
                    <a:lnTo>
                      <a:pt x="487" y="351"/>
                    </a:lnTo>
                    <a:lnTo>
                      <a:pt x="488" y="351"/>
                    </a:lnTo>
                    <a:lnTo>
                      <a:pt x="488" y="350"/>
                    </a:lnTo>
                    <a:lnTo>
                      <a:pt x="486" y="348"/>
                    </a:lnTo>
                    <a:lnTo>
                      <a:pt x="486" y="347"/>
                    </a:lnTo>
                    <a:lnTo>
                      <a:pt x="487" y="347"/>
                    </a:lnTo>
                    <a:lnTo>
                      <a:pt x="490" y="349"/>
                    </a:lnTo>
                    <a:lnTo>
                      <a:pt x="491" y="351"/>
                    </a:lnTo>
                    <a:lnTo>
                      <a:pt x="494" y="356"/>
                    </a:lnTo>
                    <a:lnTo>
                      <a:pt x="498" y="356"/>
                    </a:lnTo>
                    <a:lnTo>
                      <a:pt x="499" y="354"/>
                    </a:lnTo>
                    <a:lnTo>
                      <a:pt x="501" y="348"/>
                    </a:lnTo>
                    <a:lnTo>
                      <a:pt x="498" y="345"/>
                    </a:lnTo>
                    <a:lnTo>
                      <a:pt x="491" y="346"/>
                    </a:lnTo>
                    <a:lnTo>
                      <a:pt x="491" y="345"/>
                    </a:lnTo>
                    <a:lnTo>
                      <a:pt x="490" y="343"/>
                    </a:lnTo>
                    <a:lnTo>
                      <a:pt x="491" y="340"/>
                    </a:lnTo>
                    <a:lnTo>
                      <a:pt x="489" y="338"/>
                    </a:lnTo>
                    <a:lnTo>
                      <a:pt x="492" y="336"/>
                    </a:lnTo>
                    <a:lnTo>
                      <a:pt x="488" y="336"/>
                    </a:lnTo>
                    <a:lnTo>
                      <a:pt x="486" y="336"/>
                    </a:lnTo>
                    <a:lnTo>
                      <a:pt x="488" y="333"/>
                    </a:lnTo>
                    <a:lnTo>
                      <a:pt x="486" y="331"/>
                    </a:lnTo>
                    <a:lnTo>
                      <a:pt x="489" y="330"/>
                    </a:lnTo>
                    <a:lnTo>
                      <a:pt x="489" y="329"/>
                    </a:lnTo>
                    <a:lnTo>
                      <a:pt x="487" y="327"/>
                    </a:lnTo>
                    <a:lnTo>
                      <a:pt x="487" y="322"/>
                    </a:lnTo>
                    <a:lnTo>
                      <a:pt x="488" y="321"/>
                    </a:lnTo>
                    <a:lnTo>
                      <a:pt x="490" y="321"/>
                    </a:lnTo>
                    <a:lnTo>
                      <a:pt x="491" y="318"/>
                    </a:lnTo>
                    <a:lnTo>
                      <a:pt x="494" y="318"/>
                    </a:lnTo>
                    <a:lnTo>
                      <a:pt x="496" y="316"/>
                    </a:lnTo>
                    <a:lnTo>
                      <a:pt x="496" y="315"/>
                    </a:lnTo>
                    <a:lnTo>
                      <a:pt x="493" y="314"/>
                    </a:lnTo>
                    <a:lnTo>
                      <a:pt x="493" y="313"/>
                    </a:lnTo>
                    <a:lnTo>
                      <a:pt x="494" y="313"/>
                    </a:lnTo>
                    <a:lnTo>
                      <a:pt x="497" y="312"/>
                    </a:lnTo>
                    <a:lnTo>
                      <a:pt x="497" y="310"/>
                    </a:lnTo>
                    <a:lnTo>
                      <a:pt x="495" y="310"/>
                    </a:lnTo>
                    <a:lnTo>
                      <a:pt x="495" y="309"/>
                    </a:lnTo>
                    <a:lnTo>
                      <a:pt x="497" y="308"/>
                    </a:lnTo>
                    <a:lnTo>
                      <a:pt x="498" y="304"/>
                    </a:lnTo>
                    <a:lnTo>
                      <a:pt x="498" y="301"/>
                    </a:lnTo>
                    <a:lnTo>
                      <a:pt x="500" y="300"/>
                    </a:lnTo>
                    <a:lnTo>
                      <a:pt x="500" y="297"/>
                    </a:lnTo>
                    <a:lnTo>
                      <a:pt x="500" y="296"/>
                    </a:lnTo>
                    <a:lnTo>
                      <a:pt x="500" y="294"/>
                    </a:lnTo>
                    <a:lnTo>
                      <a:pt x="500" y="293"/>
                    </a:lnTo>
                    <a:lnTo>
                      <a:pt x="504" y="292"/>
                    </a:lnTo>
                    <a:lnTo>
                      <a:pt x="504" y="293"/>
                    </a:lnTo>
                    <a:lnTo>
                      <a:pt x="502" y="295"/>
                    </a:lnTo>
                    <a:lnTo>
                      <a:pt x="503" y="295"/>
                    </a:lnTo>
                    <a:lnTo>
                      <a:pt x="504" y="296"/>
                    </a:lnTo>
                    <a:lnTo>
                      <a:pt x="508" y="294"/>
                    </a:lnTo>
                    <a:lnTo>
                      <a:pt x="512" y="292"/>
                    </a:lnTo>
                    <a:lnTo>
                      <a:pt x="504" y="290"/>
                    </a:lnTo>
                    <a:lnTo>
                      <a:pt x="503" y="291"/>
                    </a:lnTo>
                    <a:lnTo>
                      <a:pt x="501" y="289"/>
                    </a:lnTo>
                    <a:lnTo>
                      <a:pt x="497" y="288"/>
                    </a:lnTo>
                    <a:lnTo>
                      <a:pt x="497" y="287"/>
                    </a:lnTo>
                    <a:lnTo>
                      <a:pt x="498" y="287"/>
                    </a:lnTo>
                    <a:lnTo>
                      <a:pt x="497" y="285"/>
                    </a:lnTo>
                    <a:lnTo>
                      <a:pt x="497" y="284"/>
                    </a:lnTo>
                    <a:lnTo>
                      <a:pt x="496" y="282"/>
                    </a:lnTo>
                    <a:lnTo>
                      <a:pt x="493" y="281"/>
                    </a:lnTo>
                    <a:lnTo>
                      <a:pt x="491" y="282"/>
                    </a:lnTo>
                    <a:lnTo>
                      <a:pt x="490" y="282"/>
                    </a:lnTo>
                    <a:lnTo>
                      <a:pt x="488" y="279"/>
                    </a:lnTo>
                    <a:lnTo>
                      <a:pt x="489" y="276"/>
                    </a:lnTo>
                    <a:lnTo>
                      <a:pt x="487" y="275"/>
                    </a:lnTo>
                    <a:lnTo>
                      <a:pt x="489" y="274"/>
                    </a:lnTo>
                    <a:lnTo>
                      <a:pt x="490" y="271"/>
                    </a:lnTo>
                    <a:lnTo>
                      <a:pt x="489" y="270"/>
                    </a:lnTo>
                    <a:lnTo>
                      <a:pt x="486" y="267"/>
                    </a:lnTo>
                    <a:lnTo>
                      <a:pt x="486" y="266"/>
                    </a:lnTo>
                    <a:lnTo>
                      <a:pt x="486" y="265"/>
                    </a:lnTo>
                    <a:lnTo>
                      <a:pt x="487" y="264"/>
                    </a:lnTo>
                    <a:lnTo>
                      <a:pt x="490" y="264"/>
                    </a:lnTo>
                    <a:lnTo>
                      <a:pt x="491" y="263"/>
                    </a:lnTo>
                    <a:lnTo>
                      <a:pt x="492" y="260"/>
                    </a:lnTo>
                    <a:lnTo>
                      <a:pt x="493" y="260"/>
                    </a:lnTo>
                    <a:lnTo>
                      <a:pt x="500" y="265"/>
                    </a:lnTo>
                    <a:lnTo>
                      <a:pt x="503" y="269"/>
                    </a:lnTo>
                    <a:lnTo>
                      <a:pt x="508" y="270"/>
                    </a:lnTo>
                    <a:lnTo>
                      <a:pt x="512" y="270"/>
                    </a:lnTo>
                    <a:lnTo>
                      <a:pt x="515" y="270"/>
                    </a:lnTo>
                    <a:lnTo>
                      <a:pt x="512" y="268"/>
                    </a:lnTo>
                    <a:lnTo>
                      <a:pt x="511" y="267"/>
                    </a:lnTo>
                    <a:lnTo>
                      <a:pt x="512" y="267"/>
                    </a:lnTo>
                    <a:lnTo>
                      <a:pt x="515" y="264"/>
                    </a:lnTo>
                    <a:lnTo>
                      <a:pt x="520" y="263"/>
                    </a:lnTo>
                    <a:lnTo>
                      <a:pt x="522" y="264"/>
                    </a:lnTo>
                    <a:lnTo>
                      <a:pt x="523" y="265"/>
                    </a:lnTo>
                    <a:lnTo>
                      <a:pt x="526" y="265"/>
                    </a:lnTo>
                    <a:lnTo>
                      <a:pt x="529" y="262"/>
                    </a:lnTo>
                    <a:lnTo>
                      <a:pt x="529" y="259"/>
                    </a:lnTo>
                    <a:lnTo>
                      <a:pt x="531" y="259"/>
                    </a:lnTo>
                    <a:lnTo>
                      <a:pt x="533" y="252"/>
                    </a:lnTo>
                    <a:lnTo>
                      <a:pt x="535" y="252"/>
                    </a:lnTo>
                    <a:lnTo>
                      <a:pt x="534" y="257"/>
                    </a:lnTo>
                    <a:lnTo>
                      <a:pt x="536" y="258"/>
                    </a:lnTo>
                    <a:lnTo>
                      <a:pt x="539" y="255"/>
                    </a:lnTo>
                    <a:lnTo>
                      <a:pt x="543" y="254"/>
                    </a:lnTo>
                    <a:lnTo>
                      <a:pt x="542" y="252"/>
                    </a:lnTo>
                    <a:lnTo>
                      <a:pt x="542" y="250"/>
                    </a:lnTo>
                    <a:lnTo>
                      <a:pt x="536" y="250"/>
                    </a:lnTo>
                    <a:lnTo>
                      <a:pt x="534" y="248"/>
                    </a:lnTo>
                    <a:lnTo>
                      <a:pt x="529" y="247"/>
                    </a:lnTo>
                    <a:lnTo>
                      <a:pt x="529" y="246"/>
                    </a:lnTo>
                    <a:lnTo>
                      <a:pt x="534" y="246"/>
                    </a:lnTo>
                    <a:lnTo>
                      <a:pt x="537" y="248"/>
                    </a:lnTo>
                    <a:lnTo>
                      <a:pt x="538" y="248"/>
                    </a:lnTo>
                    <a:lnTo>
                      <a:pt x="538" y="246"/>
                    </a:lnTo>
                    <a:lnTo>
                      <a:pt x="537" y="245"/>
                    </a:lnTo>
                    <a:lnTo>
                      <a:pt x="539" y="243"/>
                    </a:lnTo>
                    <a:lnTo>
                      <a:pt x="538" y="239"/>
                    </a:lnTo>
                    <a:lnTo>
                      <a:pt x="536" y="238"/>
                    </a:lnTo>
                    <a:lnTo>
                      <a:pt x="535" y="236"/>
                    </a:lnTo>
                    <a:lnTo>
                      <a:pt x="535" y="234"/>
                    </a:lnTo>
                    <a:lnTo>
                      <a:pt x="529" y="231"/>
                    </a:lnTo>
                    <a:lnTo>
                      <a:pt x="531" y="229"/>
                    </a:lnTo>
                    <a:lnTo>
                      <a:pt x="531" y="227"/>
                    </a:lnTo>
                    <a:lnTo>
                      <a:pt x="529" y="225"/>
                    </a:lnTo>
                    <a:lnTo>
                      <a:pt x="529" y="223"/>
                    </a:lnTo>
                    <a:lnTo>
                      <a:pt x="528" y="222"/>
                    </a:lnTo>
                    <a:lnTo>
                      <a:pt x="526" y="218"/>
                    </a:lnTo>
                    <a:lnTo>
                      <a:pt x="519" y="215"/>
                    </a:lnTo>
                    <a:lnTo>
                      <a:pt x="515" y="212"/>
                    </a:lnTo>
                    <a:lnTo>
                      <a:pt x="520" y="214"/>
                    </a:lnTo>
                    <a:lnTo>
                      <a:pt x="521" y="214"/>
                    </a:lnTo>
                    <a:lnTo>
                      <a:pt x="522" y="212"/>
                    </a:lnTo>
                    <a:lnTo>
                      <a:pt x="525" y="212"/>
                    </a:lnTo>
                    <a:lnTo>
                      <a:pt x="523" y="214"/>
                    </a:lnTo>
                    <a:lnTo>
                      <a:pt x="526" y="215"/>
                    </a:lnTo>
                    <a:lnTo>
                      <a:pt x="528" y="220"/>
                    </a:lnTo>
                    <a:lnTo>
                      <a:pt x="529" y="221"/>
                    </a:lnTo>
                    <a:lnTo>
                      <a:pt x="532" y="220"/>
                    </a:lnTo>
                    <a:lnTo>
                      <a:pt x="532" y="221"/>
                    </a:lnTo>
                    <a:lnTo>
                      <a:pt x="532" y="224"/>
                    </a:lnTo>
                    <a:lnTo>
                      <a:pt x="533" y="228"/>
                    </a:lnTo>
                    <a:lnTo>
                      <a:pt x="532" y="230"/>
                    </a:lnTo>
                    <a:lnTo>
                      <a:pt x="535" y="232"/>
                    </a:lnTo>
                    <a:lnTo>
                      <a:pt x="536" y="232"/>
                    </a:lnTo>
                    <a:lnTo>
                      <a:pt x="536" y="231"/>
                    </a:lnTo>
                    <a:lnTo>
                      <a:pt x="537" y="230"/>
                    </a:lnTo>
                    <a:lnTo>
                      <a:pt x="544" y="226"/>
                    </a:lnTo>
                    <a:lnTo>
                      <a:pt x="544" y="228"/>
                    </a:lnTo>
                    <a:lnTo>
                      <a:pt x="549" y="230"/>
                    </a:lnTo>
                    <a:lnTo>
                      <a:pt x="550" y="231"/>
                    </a:lnTo>
                    <a:lnTo>
                      <a:pt x="548" y="232"/>
                    </a:lnTo>
                    <a:lnTo>
                      <a:pt x="540" y="232"/>
                    </a:lnTo>
                    <a:lnTo>
                      <a:pt x="539" y="233"/>
                    </a:lnTo>
                    <a:lnTo>
                      <a:pt x="544" y="233"/>
                    </a:lnTo>
                    <a:lnTo>
                      <a:pt x="545" y="234"/>
                    </a:lnTo>
                    <a:lnTo>
                      <a:pt x="545" y="235"/>
                    </a:lnTo>
                    <a:lnTo>
                      <a:pt x="548" y="236"/>
                    </a:lnTo>
                    <a:lnTo>
                      <a:pt x="550" y="235"/>
                    </a:lnTo>
                    <a:lnTo>
                      <a:pt x="552" y="231"/>
                    </a:lnTo>
                    <a:lnTo>
                      <a:pt x="554" y="231"/>
                    </a:lnTo>
                    <a:lnTo>
                      <a:pt x="553" y="234"/>
                    </a:lnTo>
                    <a:lnTo>
                      <a:pt x="554" y="234"/>
                    </a:lnTo>
                    <a:lnTo>
                      <a:pt x="559" y="231"/>
                    </a:lnTo>
                    <a:lnTo>
                      <a:pt x="560" y="228"/>
                    </a:lnTo>
                    <a:lnTo>
                      <a:pt x="558" y="228"/>
                    </a:lnTo>
                    <a:lnTo>
                      <a:pt x="557" y="230"/>
                    </a:lnTo>
                    <a:lnTo>
                      <a:pt x="555" y="230"/>
                    </a:lnTo>
                    <a:lnTo>
                      <a:pt x="556" y="226"/>
                    </a:lnTo>
                    <a:lnTo>
                      <a:pt x="554" y="225"/>
                    </a:lnTo>
                    <a:lnTo>
                      <a:pt x="558" y="225"/>
                    </a:lnTo>
                    <a:lnTo>
                      <a:pt x="558" y="224"/>
                    </a:lnTo>
                    <a:lnTo>
                      <a:pt x="560" y="223"/>
                    </a:lnTo>
                    <a:lnTo>
                      <a:pt x="561" y="226"/>
                    </a:lnTo>
                    <a:lnTo>
                      <a:pt x="563" y="226"/>
                    </a:lnTo>
                    <a:lnTo>
                      <a:pt x="563" y="227"/>
                    </a:lnTo>
                    <a:lnTo>
                      <a:pt x="568" y="228"/>
                    </a:lnTo>
                    <a:lnTo>
                      <a:pt x="571" y="226"/>
                    </a:lnTo>
                    <a:lnTo>
                      <a:pt x="576" y="226"/>
                    </a:lnTo>
                    <a:lnTo>
                      <a:pt x="576" y="224"/>
                    </a:lnTo>
                    <a:lnTo>
                      <a:pt x="570" y="222"/>
                    </a:lnTo>
                    <a:lnTo>
                      <a:pt x="570" y="221"/>
                    </a:lnTo>
                    <a:lnTo>
                      <a:pt x="577" y="222"/>
                    </a:lnTo>
                    <a:lnTo>
                      <a:pt x="580" y="219"/>
                    </a:lnTo>
                    <a:lnTo>
                      <a:pt x="578" y="218"/>
                    </a:lnTo>
                    <a:lnTo>
                      <a:pt x="574" y="220"/>
                    </a:lnTo>
                    <a:lnTo>
                      <a:pt x="570" y="218"/>
                    </a:lnTo>
                    <a:lnTo>
                      <a:pt x="569" y="216"/>
                    </a:lnTo>
                    <a:lnTo>
                      <a:pt x="570" y="214"/>
                    </a:lnTo>
                    <a:lnTo>
                      <a:pt x="572" y="214"/>
                    </a:lnTo>
                    <a:lnTo>
                      <a:pt x="573" y="216"/>
                    </a:lnTo>
                    <a:lnTo>
                      <a:pt x="579" y="216"/>
                    </a:lnTo>
                    <a:lnTo>
                      <a:pt x="581" y="216"/>
                    </a:lnTo>
                    <a:lnTo>
                      <a:pt x="581" y="214"/>
                    </a:lnTo>
                    <a:lnTo>
                      <a:pt x="583" y="216"/>
                    </a:lnTo>
                    <a:lnTo>
                      <a:pt x="584" y="216"/>
                    </a:lnTo>
                    <a:lnTo>
                      <a:pt x="583" y="214"/>
                    </a:lnTo>
                    <a:lnTo>
                      <a:pt x="581" y="212"/>
                    </a:lnTo>
                    <a:lnTo>
                      <a:pt x="569" y="212"/>
                    </a:lnTo>
                    <a:lnTo>
                      <a:pt x="564" y="213"/>
                    </a:lnTo>
                    <a:lnTo>
                      <a:pt x="557" y="212"/>
                    </a:lnTo>
                    <a:lnTo>
                      <a:pt x="561" y="211"/>
                    </a:lnTo>
                    <a:lnTo>
                      <a:pt x="563" y="210"/>
                    </a:lnTo>
                    <a:lnTo>
                      <a:pt x="565" y="210"/>
                    </a:lnTo>
                    <a:lnTo>
                      <a:pt x="565" y="208"/>
                    </a:lnTo>
                    <a:lnTo>
                      <a:pt x="568" y="210"/>
                    </a:lnTo>
                    <a:lnTo>
                      <a:pt x="572" y="210"/>
                    </a:lnTo>
                    <a:lnTo>
                      <a:pt x="570" y="208"/>
                    </a:lnTo>
                    <a:lnTo>
                      <a:pt x="568" y="207"/>
                    </a:lnTo>
                    <a:lnTo>
                      <a:pt x="568" y="206"/>
                    </a:lnTo>
                    <a:lnTo>
                      <a:pt x="572" y="206"/>
                    </a:lnTo>
                    <a:lnTo>
                      <a:pt x="574" y="207"/>
                    </a:lnTo>
                    <a:lnTo>
                      <a:pt x="575" y="209"/>
                    </a:lnTo>
                    <a:lnTo>
                      <a:pt x="576" y="209"/>
                    </a:lnTo>
                    <a:lnTo>
                      <a:pt x="577" y="206"/>
                    </a:lnTo>
                    <a:lnTo>
                      <a:pt x="581" y="204"/>
                    </a:lnTo>
                    <a:lnTo>
                      <a:pt x="580" y="204"/>
                    </a:lnTo>
                    <a:lnTo>
                      <a:pt x="581" y="202"/>
                    </a:lnTo>
                    <a:lnTo>
                      <a:pt x="581" y="200"/>
                    </a:lnTo>
                    <a:lnTo>
                      <a:pt x="582" y="199"/>
                    </a:lnTo>
                    <a:lnTo>
                      <a:pt x="586" y="198"/>
                    </a:lnTo>
                    <a:lnTo>
                      <a:pt x="589" y="200"/>
                    </a:lnTo>
                    <a:lnTo>
                      <a:pt x="589" y="199"/>
                    </a:lnTo>
                    <a:lnTo>
                      <a:pt x="590" y="198"/>
                    </a:lnTo>
                    <a:lnTo>
                      <a:pt x="589" y="198"/>
                    </a:lnTo>
                    <a:lnTo>
                      <a:pt x="589" y="196"/>
                    </a:lnTo>
                    <a:lnTo>
                      <a:pt x="586" y="194"/>
                    </a:lnTo>
                    <a:lnTo>
                      <a:pt x="583" y="193"/>
                    </a:lnTo>
                    <a:lnTo>
                      <a:pt x="596" y="195"/>
                    </a:lnTo>
                    <a:lnTo>
                      <a:pt x="597" y="195"/>
                    </a:lnTo>
                    <a:lnTo>
                      <a:pt x="595" y="191"/>
                    </a:lnTo>
                    <a:lnTo>
                      <a:pt x="595" y="189"/>
                    </a:lnTo>
                    <a:lnTo>
                      <a:pt x="593" y="188"/>
                    </a:lnTo>
                    <a:lnTo>
                      <a:pt x="594" y="187"/>
                    </a:lnTo>
                    <a:lnTo>
                      <a:pt x="603" y="189"/>
                    </a:lnTo>
                    <a:lnTo>
                      <a:pt x="601" y="189"/>
                    </a:lnTo>
                    <a:lnTo>
                      <a:pt x="598" y="189"/>
                    </a:lnTo>
                    <a:lnTo>
                      <a:pt x="597" y="189"/>
                    </a:lnTo>
                    <a:lnTo>
                      <a:pt x="597" y="192"/>
                    </a:lnTo>
                    <a:lnTo>
                      <a:pt x="599" y="194"/>
                    </a:lnTo>
                    <a:lnTo>
                      <a:pt x="601" y="192"/>
                    </a:lnTo>
                    <a:lnTo>
                      <a:pt x="600" y="192"/>
                    </a:lnTo>
                    <a:lnTo>
                      <a:pt x="608" y="191"/>
                    </a:lnTo>
                    <a:lnTo>
                      <a:pt x="610" y="189"/>
                    </a:lnTo>
                    <a:lnTo>
                      <a:pt x="609" y="189"/>
                    </a:lnTo>
                    <a:lnTo>
                      <a:pt x="596" y="186"/>
                    </a:lnTo>
                    <a:lnTo>
                      <a:pt x="596" y="185"/>
                    </a:lnTo>
                    <a:lnTo>
                      <a:pt x="596" y="184"/>
                    </a:lnTo>
                    <a:lnTo>
                      <a:pt x="603" y="183"/>
                    </a:lnTo>
                    <a:lnTo>
                      <a:pt x="606" y="185"/>
                    </a:lnTo>
                    <a:lnTo>
                      <a:pt x="607" y="182"/>
                    </a:lnTo>
                    <a:lnTo>
                      <a:pt x="609" y="182"/>
                    </a:lnTo>
                    <a:lnTo>
                      <a:pt x="611" y="184"/>
                    </a:lnTo>
                    <a:lnTo>
                      <a:pt x="613" y="185"/>
                    </a:lnTo>
                    <a:lnTo>
                      <a:pt x="614" y="189"/>
                    </a:lnTo>
                    <a:lnTo>
                      <a:pt x="618" y="191"/>
                    </a:lnTo>
                    <a:lnTo>
                      <a:pt x="619" y="192"/>
                    </a:lnTo>
                    <a:lnTo>
                      <a:pt x="621" y="192"/>
                    </a:lnTo>
                    <a:lnTo>
                      <a:pt x="622" y="192"/>
                    </a:lnTo>
                    <a:lnTo>
                      <a:pt x="622" y="190"/>
                    </a:lnTo>
                    <a:lnTo>
                      <a:pt x="625" y="189"/>
                    </a:lnTo>
                    <a:lnTo>
                      <a:pt x="620" y="188"/>
                    </a:lnTo>
                    <a:lnTo>
                      <a:pt x="620" y="186"/>
                    </a:lnTo>
                    <a:lnTo>
                      <a:pt x="620" y="185"/>
                    </a:lnTo>
                    <a:lnTo>
                      <a:pt x="622" y="184"/>
                    </a:lnTo>
                    <a:lnTo>
                      <a:pt x="623" y="186"/>
                    </a:lnTo>
                    <a:lnTo>
                      <a:pt x="626" y="186"/>
                    </a:lnTo>
                    <a:lnTo>
                      <a:pt x="627" y="185"/>
                    </a:lnTo>
                    <a:lnTo>
                      <a:pt x="626" y="184"/>
                    </a:lnTo>
                    <a:lnTo>
                      <a:pt x="626" y="183"/>
                    </a:lnTo>
                    <a:lnTo>
                      <a:pt x="628" y="180"/>
                    </a:lnTo>
                    <a:lnTo>
                      <a:pt x="627" y="179"/>
                    </a:lnTo>
                    <a:lnTo>
                      <a:pt x="628" y="178"/>
                    </a:lnTo>
                    <a:lnTo>
                      <a:pt x="633" y="177"/>
                    </a:lnTo>
                    <a:lnTo>
                      <a:pt x="634" y="176"/>
                    </a:lnTo>
                    <a:lnTo>
                      <a:pt x="636" y="177"/>
                    </a:lnTo>
                    <a:lnTo>
                      <a:pt x="637" y="177"/>
                    </a:lnTo>
                    <a:lnTo>
                      <a:pt x="638" y="176"/>
                    </a:lnTo>
                    <a:lnTo>
                      <a:pt x="637" y="173"/>
                    </a:lnTo>
                    <a:lnTo>
                      <a:pt x="639" y="169"/>
                    </a:lnTo>
                    <a:lnTo>
                      <a:pt x="638" y="164"/>
                    </a:lnTo>
                    <a:lnTo>
                      <a:pt x="639" y="162"/>
                    </a:lnTo>
                    <a:lnTo>
                      <a:pt x="641" y="162"/>
                    </a:lnTo>
                    <a:lnTo>
                      <a:pt x="641" y="163"/>
                    </a:lnTo>
                    <a:lnTo>
                      <a:pt x="644" y="165"/>
                    </a:lnTo>
                    <a:lnTo>
                      <a:pt x="645" y="165"/>
                    </a:lnTo>
                    <a:lnTo>
                      <a:pt x="645" y="164"/>
                    </a:lnTo>
                    <a:lnTo>
                      <a:pt x="644" y="163"/>
                    </a:lnTo>
                    <a:lnTo>
                      <a:pt x="644" y="161"/>
                    </a:lnTo>
                    <a:lnTo>
                      <a:pt x="643" y="161"/>
                    </a:lnTo>
                    <a:lnTo>
                      <a:pt x="643" y="160"/>
                    </a:lnTo>
                    <a:lnTo>
                      <a:pt x="644" y="159"/>
                    </a:lnTo>
                    <a:lnTo>
                      <a:pt x="645" y="161"/>
                    </a:lnTo>
                    <a:lnTo>
                      <a:pt x="646" y="162"/>
                    </a:lnTo>
                    <a:lnTo>
                      <a:pt x="651" y="164"/>
                    </a:lnTo>
                    <a:lnTo>
                      <a:pt x="652" y="167"/>
                    </a:lnTo>
                    <a:lnTo>
                      <a:pt x="657" y="168"/>
                    </a:lnTo>
                    <a:lnTo>
                      <a:pt x="657" y="166"/>
                    </a:lnTo>
                    <a:lnTo>
                      <a:pt x="655" y="164"/>
                    </a:lnTo>
                    <a:lnTo>
                      <a:pt x="652" y="163"/>
                    </a:lnTo>
                    <a:lnTo>
                      <a:pt x="652" y="162"/>
                    </a:lnTo>
                    <a:lnTo>
                      <a:pt x="655" y="161"/>
                    </a:lnTo>
                    <a:lnTo>
                      <a:pt x="657" y="160"/>
                    </a:lnTo>
                    <a:lnTo>
                      <a:pt x="653" y="159"/>
                    </a:lnTo>
                    <a:lnTo>
                      <a:pt x="651" y="157"/>
                    </a:lnTo>
                    <a:lnTo>
                      <a:pt x="653" y="156"/>
                    </a:lnTo>
                    <a:lnTo>
                      <a:pt x="653" y="155"/>
                    </a:lnTo>
                    <a:lnTo>
                      <a:pt x="649" y="154"/>
                    </a:lnTo>
                    <a:lnTo>
                      <a:pt x="650" y="153"/>
                    </a:lnTo>
                    <a:lnTo>
                      <a:pt x="652" y="152"/>
                    </a:lnTo>
                    <a:lnTo>
                      <a:pt x="654" y="152"/>
                    </a:lnTo>
                    <a:lnTo>
                      <a:pt x="656" y="153"/>
                    </a:lnTo>
                    <a:lnTo>
                      <a:pt x="657" y="155"/>
                    </a:lnTo>
                    <a:lnTo>
                      <a:pt x="662" y="156"/>
                    </a:lnTo>
                    <a:lnTo>
                      <a:pt x="662" y="158"/>
                    </a:lnTo>
                    <a:lnTo>
                      <a:pt x="665" y="159"/>
                    </a:lnTo>
                    <a:lnTo>
                      <a:pt x="664" y="160"/>
                    </a:lnTo>
                    <a:lnTo>
                      <a:pt x="666" y="161"/>
                    </a:lnTo>
                    <a:lnTo>
                      <a:pt x="666" y="164"/>
                    </a:lnTo>
                    <a:lnTo>
                      <a:pt x="669" y="165"/>
                    </a:lnTo>
                    <a:lnTo>
                      <a:pt x="671" y="165"/>
                    </a:lnTo>
                    <a:lnTo>
                      <a:pt x="674" y="163"/>
                    </a:lnTo>
                    <a:lnTo>
                      <a:pt x="676" y="163"/>
                    </a:lnTo>
                    <a:lnTo>
                      <a:pt x="677" y="162"/>
                    </a:lnTo>
                    <a:lnTo>
                      <a:pt x="676" y="159"/>
                    </a:lnTo>
                    <a:lnTo>
                      <a:pt x="675" y="157"/>
                    </a:lnTo>
                    <a:lnTo>
                      <a:pt x="680" y="153"/>
                    </a:lnTo>
                    <a:lnTo>
                      <a:pt x="682" y="153"/>
                    </a:lnTo>
                    <a:lnTo>
                      <a:pt x="683" y="151"/>
                    </a:lnTo>
                    <a:lnTo>
                      <a:pt x="685" y="150"/>
                    </a:lnTo>
                    <a:lnTo>
                      <a:pt x="685" y="148"/>
                    </a:lnTo>
                    <a:lnTo>
                      <a:pt x="686" y="147"/>
                    </a:lnTo>
                    <a:lnTo>
                      <a:pt x="687" y="147"/>
                    </a:lnTo>
                    <a:lnTo>
                      <a:pt x="688" y="148"/>
                    </a:lnTo>
                    <a:lnTo>
                      <a:pt x="690" y="146"/>
                    </a:lnTo>
                    <a:lnTo>
                      <a:pt x="691" y="146"/>
                    </a:lnTo>
                    <a:lnTo>
                      <a:pt x="695" y="147"/>
                    </a:lnTo>
                    <a:lnTo>
                      <a:pt x="697" y="147"/>
                    </a:lnTo>
                    <a:lnTo>
                      <a:pt x="696" y="145"/>
                    </a:lnTo>
                    <a:lnTo>
                      <a:pt x="696" y="144"/>
                    </a:lnTo>
                    <a:lnTo>
                      <a:pt x="697" y="142"/>
                    </a:lnTo>
                    <a:lnTo>
                      <a:pt x="699" y="141"/>
                    </a:lnTo>
                    <a:lnTo>
                      <a:pt x="702" y="141"/>
                    </a:lnTo>
                    <a:lnTo>
                      <a:pt x="703" y="143"/>
                    </a:lnTo>
                    <a:lnTo>
                      <a:pt x="705" y="143"/>
                    </a:lnTo>
                    <a:lnTo>
                      <a:pt x="709" y="142"/>
                    </a:lnTo>
                    <a:lnTo>
                      <a:pt x="713" y="143"/>
                    </a:lnTo>
                    <a:lnTo>
                      <a:pt x="713" y="141"/>
                    </a:lnTo>
                    <a:lnTo>
                      <a:pt x="714" y="139"/>
                    </a:lnTo>
                    <a:lnTo>
                      <a:pt x="715" y="136"/>
                    </a:lnTo>
                    <a:lnTo>
                      <a:pt x="717" y="134"/>
                    </a:lnTo>
                    <a:lnTo>
                      <a:pt x="717" y="135"/>
                    </a:lnTo>
                    <a:lnTo>
                      <a:pt x="716" y="138"/>
                    </a:lnTo>
                    <a:lnTo>
                      <a:pt x="715" y="141"/>
                    </a:lnTo>
                    <a:lnTo>
                      <a:pt x="718" y="143"/>
                    </a:lnTo>
                    <a:lnTo>
                      <a:pt x="719" y="141"/>
                    </a:lnTo>
                    <a:lnTo>
                      <a:pt x="719" y="139"/>
                    </a:lnTo>
                    <a:lnTo>
                      <a:pt x="720" y="137"/>
                    </a:lnTo>
                    <a:lnTo>
                      <a:pt x="719" y="135"/>
                    </a:lnTo>
                    <a:lnTo>
                      <a:pt x="720" y="132"/>
                    </a:lnTo>
                    <a:lnTo>
                      <a:pt x="721" y="132"/>
                    </a:lnTo>
                    <a:lnTo>
                      <a:pt x="723" y="135"/>
                    </a:lnTo>
                    <a:lnTo>
                      <a:pt x="723" y="136"/>
                    </a:lnTo>
                    <a:lnTo>
                      <a:pt x="721" y="138"/>
                    </a:lnTo>
                    <a:lnTo>
                      <a:pt x="723" y="140"/>
                    </a:lnTo>
                    <a:lnTo>
                      <a:pt x="725" y="140"/>
                    </a:lnTo>
                    <a:lnTo>
                      <a:pt x="727" y="137"/>
                    </a:lnTo>
                    <a:lnTo>
                      <a:pt x="727" y="135"/>
                    </a:lnTo>
                    <a:lnTo>
                      <a:pt x="727" y="134"/>
                    </a:lnTo>
                    <a:lnTo>
                      <a:pt x="727" y="132"/>
                    </a:lnTo>
                    <a:lnTo>
                      <a:pt x="727" y="131"/>
                    </a:lnTo>
                    <a:lnTo>
                      <a:pt x="728" y="131"/>
                    </a:lnTo>
                    <a:lnTo>
                      <a:pt x="730" y="131"/>
                    </a:lnTo>
                    <a:lnTo>
                      <a:pt x="734" y="124"/>
                    </a:lnTo>
                    <a:lnTo>
                      <a:pt x="737" y="128"/>
                    </a:lnTo>
                    <a:lnTo>
                      <a:pt x="736" y="129"/>
                    </a:lnTo>
                    <a:lnTo>
                      <a:pt x="737" y="130"/>
                    </a:lnTo>
                    <a:lnTo>
                      <a:pt x="738" y="129"/>
                    </a:lnTo>
                    <a:lnTo>
                      <a:pt x="739" y="127"/>
                    </a:lnTo>
                    <a:lnTo>
                      <a:pt x="741" y="127"/>
                    </a:lnTo>
                    <a:lnTo>
                      <a:pt x="743" y="125"/>
                    </a:lnTo>
                    <a:lnTo>
                      <a:pt x="745" y="125"/>
                    </a:lnTo>
                    <a:lnTo>
                      <a:pt x="746" y="127"/>
                    </a:lnTo>
                    <a:lnTo>
                      <a:pt x="748" y="128"/>
                    </a:lnTo>
                    <a:lnTo>
                      <a:pt x="750" y="125"/>
                    </a:lnTo>
                    <a:lnTo>
                      <a:pt x="748" y="125"/>
                    </a:lnTo>
                    <a:lnTo>
                      <a:pt x="747" y="124"/>
                    </a:lnTo>
                    <a:lnTo>
                      <a:pt x="748" y="123"/>
                    </a:lnTo>
                    <a:lnTo>
                      <a:pt x="749" y="121"/>
                    </a:lnTo>
                    <a:lnTo>
                      <a:pt x="752" y="121"/>
                    </a:lnTo>
                    <a:lnTo>
                      <a:pt x="755" y="120"/>
                    </a:lnTo>
                    <a:lnTo>
                      <a:pt x="757" y="117"/>
                    </a:lnTo>
                    <a:lnTo>
                      <a:pt x="758" y="111"/>
                    </a:lnTo>
                    <a:lnTo>
                      <a:pt x="760" y="111"/>
                    </a:lnTo>
                    <a:lnTo>
                      <a:pt x="763" y="109"/>
                    </a:lnTo>
                    <a:lnTo>
                      <a:pt x="762" y="108"/>
                    </a:lnTo>
                    <a:lnTo>
                      <a:pt x="765" y="107"/>
                    </a:lnTo>
                    <a:lnTo>
                      <a:pt x="764" y="105"/>
                    </a:lnTo>
                    <a:lnTo>
                      <a:pt x="766" y="103"/>
                    </a:lnTo>
                    <a:lnTo>
                      <a:pt x="765" y="102"/>
                    </a:lnTo>
                    <a:lnTo>
                      <a:pt x="765" y="101"/>
                    </a:lnTo>
                    <a:lnTo>
                      <a:pt x="769" y="95"/>
                    </a:lnTo>
                    <a:lnTo>
                      <a:pt x="770" y="94"/>
                    </a:lnTo>
                    <a:lnTo>
                      <a:pt x="769" y="92"/>
                    </a:lnTo>
                    <a:lnTo>
                      <a:pt x="769" y="90"/>
                    </a:lnTo>
                    <a:lnTo>
                      <a:pt x="774" y="87"/>
                    </a:lnTo>
                    <a:lnTo>
                      <a:pt x="778" y="82"/>
                    </a:lnTo>
                    <a:lnTo>
                      <a:pt x="780" y="83"/>
                    </a:lnTo>
                    <a:lnTo>
                      <a:pt x="782" y="82"/>
                    </a:lnTo>
                    <a:lnTo>
                      <a:pt x="785" y="79"/>
                    </a:lnTo>
                    <a:lnTo>
                      <a:pt x="789" y="77"/>
                    </a:lnTo>
                    <a:lnTo>
                      <a:pt x="789" y="76"/>
                    </a:lnTo>
                    <a:lnTo>
                      <a:pt x="792" y="72"/>
                    </a:lnTo>
                    <a:lnTo>
                      <a:pt x="793" y="73"/>
                    </a:lnTo>
                    <a:lnTo>
                      <a:pt x="794" y="74"/>
                    </a:lnTo>
                    <a:lnTo>
                      <a:pt x="798" y="73"/>
                    </a:lnTo>
                    <a:lnTo>
                      <a:pt x="799" y="72"/>
                    </a:lnTo>
                    <a:lnTo>
                      <a:pt x="798" y="71"/>
                    </a:lnTo>
                    <a:lnTo>
                      <a:pt x="798" y="67"/>
                    </a:lnTo>
                    <a:lnTo>
                      <a:pt x="799" y="68"/>
                    </a:lnTo>
                    <a:lnTo>
                      <a:pt x="800" y="70"/>
                    </a:lnTo>
                    <a:lnTo>
                      <a:pt x="803" y="70"/>
                    </a:lnTo>
                    <a:lnTo>
                      <a:pt x="805" y="68"/>
                    </a:lnTo>
                    <a:lnTo>
                      <a:pt x="809" y="67"/>
                    </a:lnTo>
                    <a:lnTo>
                      <a:pt x="810" y="66"/>
                    </a:lnTo>
                    <a:lnTo>
                      <a:pt x="813" y="61"/>
                    </a:lnTo>
                    <a:lnTo>
                      <a:pt x="820" y="59"/>
                    </a:lnTo>
                    <a:lnTo>
                      <a:pt x="820" y="56"/>
                    </a:lnTo>
                    <a:lnTo>
                      <a:pt x="818" y="55"/>
                    </a:lnTo>
                    <a:close/>
                    <a:moveTo>
                      <a:pt x="763" y="136"/>
                    </a:moveTo>
                    <a:lnTo>
                      <a:pt x="763" y="135"/>
                    </a:lnTo>
                    <a:lnTo>
                      <a:pt x="765" y="133"/>
                    </a:lnTo>
                    <a:lnTo>
                      <a:pt x="768" y="131"/>
                    </a:lnTo>
                    <a:lnTo>
                      <a:pt x="768" y="133"/>
                    </a:lnTo>
                    <a:lnTo>
                      <a:pt x="768" y="135"/>
                    </a:lnTo>
                    <a:lnTo>
                      <a:pt x="768" y="137"/>
                    </a:lnTo>
                    <a:lnTo>
                      <a:pt x="767" y="138"/>
                    </a:lnTo>
                    <a:lnTo>
                      <a:pt x="765" y="137"/>
                    </a:lnTo>
                    <a:lnTo>
                      <a:pt x="763" y="138"/>
                    </a:lnTo>
                    <a:lnTo>
                      <a:pt x="763" y="136"/>
                    </a:lnTo>
                    <a:close/>
                    <a:moveTo>
                      <a:pt x="763" y="131"/>
                    </a:moveTo>
                    <a:lnTo>
                      <a:pt x="763" y="130"/>
                    </a:lnTo>
                    <a:lnTo>
                      <a:pt x="760" y="131"/>
                    </a:lnTo>
                    <a:lnTo>
                      <a:pt x="760" y="130"/>
                    </a:lnTo>
                    <a:lnTo>
                      <a:pt x="761" y="128"/>
                    </a:lnTo>
                    <a:lnTo>
                      <a:pt x="762" y="127"/>
                    </a:lnTo>
                    <a:lnTo>
                      <a:pt x="766" y="127"/>
                    </a:lnTo>
                    <a:lnTo>
                      <a:pt x="768" y="129"/>
                    </a:lnTo>
                    <a:lnTo>
                      <a:pt x="764" y="132"/>
                    </a:lnTo>
                    <a:lnTo>
                      <a:pt x="763" y="132"/>
                    </a:lnTo>
                    <a:lnTo>
                      <a:pt x="763" y="131"/>
                    </a:lnTo>
                    <a:close/>
                    <a:moveTo>
                      <a:pt x="550" y="240"/>
                    </a:moveTo>
                    <a:lnTo>
                      <a:pt x="550" y="241"/>
                    </a:lnTo>
                    <a:lnTo>
                      <a:pt x="548" y="243"/>
                    </a:lnTo>
                    <a:lnTo>
                      <a:pt x="547" y="244"/>
                    </a:lnTo>
                    <a:lnTo>
                      <a:pt x="543" y="246"/>
                    </a:lnTo>
                    <a:lnTo>
                      <a:pt x="542" y="246"/>
                    </a:lnTo>
                    <a:lnTo>
                      <a:pt x="540" y="243"/>
                    </a:lnTo>
                    <a:lnTo>
                      <a:pt x="541" y="239"/>
                    </a:lnTo>
                    <a:lnTo>
                      <a:pt x="543" y="238"/>
                    </a:lnTo>
                    <a:lnTo>
                      <a:pt x="545" y="238"/>
                    </a:lnTo>
                    <a:lnTo>
                      <a:pt x="546" y="239"/>
                    </a:lnTo>
                    <a:lnTo>
                      <a:pt x="549" y="238"/>
                    </a:lnTo>
                    <a:lnTo>
                      <a:pt x="550" y="240"/>
                    </a:lnTo>
                    <a:close/>
                    <a:moveTo>
                      <a:pt x="497" y="269"/>
                    </a:moveTo>
                    <a:lnTo>
                      <a:pt x="499" y="271"/>
                    </a:lnTo>
                    <a:lnTo>
                      <a:pt x="500" y="273"/>
                    </a:lnTo>
                    <a:lnTo>
                      <a:pt x="501" y="276"/>
                    </a:lnTo>
                    <a:lnTo>
                      <a:pt x="503" y="278"/>
                    </a:lnTo>
                    <a:lnTo>
                      <a:pt x="496" y="278"/>
                    </a:lnTo>
                    <a:lnTo>
                      <a:pt x="493" y="277"/>
                    </a:lnTo>
                    <a:lnTo>
                      <a:pt x="492" y="276"/>
                    </a:lnTo>
                    <a:lnTo>
                      <a:pt x="492" y="270"/>
                    </a:lnTo>
                    <a:lnTo>
                      <a:pt x="489" y="267"/>
                    </a:lnTo>
                    <a:lnTo>
                      <a:pt x="496" y="268"/>
                    </a:lnTo>
                    <a:lnTo>
                      <a:pt x="497" y="269"/>
                    </a:lnTo>
                    <a:close/>
                    <a:moveTo>
                      <a:pt x="462" y="579"/>
                    </a:moveTo>
                    <a:lnTo>
                      <a:pt x="468" y="582"/>
                    </a:lnTo>
                    <a:lnTo>
                      <a:pt x="466" y="583"/>
                    </a:lnTo>
                    <a:lnTo>
                      <a:pt x="462" y="583"/>
                    </a:lnTo>
                    <a:lnTo>
                      <a:pt x="462" y="584"/>
                    </a:lnTo>
                    <a:lnTo>
                      <a:pt x="464" y="585"/>
                    </a:lnTo>
                    <a:lnTo>
                      <a:pt x="462" y="587"/>
                    </a:lnTo>
                    <a:lnTo>
                      <a:pt x="465" y="591"/>
                    </a:lnTo>
                    <a:lnTo>
                      <a:pt x="465" y="592"/>
                    </a:lnTo>
                    <a:lnTo>
                      <a:pt x="462" y="591"/>
                    </a:lnTo>
                    <a:lnTo>
                      <a:pt x="456" y="584"/>
                    </a:lnTo>
                    <a:lnTo>
                      <a:pt x="456" y="583"/>
                    </a:lnTo>
                    <a:lnTo>
                      <a:pt x="459" y="583"/>
                    </a:lnTo>
                    <a:lnTo>
                      <a:pt x="459" y="582"/>
                    </a:lnTo>
                    <a:lnTo>
                      <a:pt x="457" y="580"/>
                    </a:lnTo>
                    <a:lnTo>
                      <a:pt x="460" y="581"/>
                    </a:lnTo>
                    <a:lnTo>
                      <a:pt x="460" y="580"/>
                    </a:lnTo>
                    <a:lnTo>
                      <a:pt x="458" y="579"/>
                    </a:lnTo>
                    <a:lnTo>
                      <a:pt x="460" y="579"/>
                    </a:lnTo>
                    <a:lnTo>
                      <a:pt x="460" y="578"/>
                    </a:lnTo>
                    <a:lnTo>
                      <a:pt x="462" y="579"/>
                    </a:lnTo>
                    <a:close/>
                    <a:moveTo>
                      <a:pt x="479" y="586"/>
                    </a:moveTo>
                    <a:lnTo>
                      <a:pt x="482" y="587"/>
                    </a:lnTo>
                    <a:lnTo>
                      <a:pt x="482" y="588"/>
                    </a:lnTo>
                    <a:lnTo>
                      <a:pt x="484" y="588"/>
                    </a:lnTo>
                    <a:lnTo>
                      <a:pt x="485" y="591"/>
                    </a:lnTo>
                    <a:lnTo>
                      <a:pt x="484" y="591"/>
                    </a:lnTo>
                    <a:lnTo>
                      <a:pt x="480" y="594"/>
                    </a:lnTo>
                    <a:lnTo>
                      <a:pt x="472" y="592"/>
                    </a:lnTo>
                    <a:lnTo>
                      <a:pt x="470" y="588"/>
                    </a:lnTo>
                    <a:lnTo>
                      <a:pt x="468" y="586"/>
                    </a:lnTo>
                    <a:lnTo>
                      <a:pt x="465" y="585"/>
                    </a:lnTo>
                    <a:lnTo>
                      <a:pt x="469" y="585"/>
                    </a:lnTo>
                    <a:lnTo>
                      <a:pt x="470" y="586"/>
                    </a:lnTo>
                    <a:lnTo>
                      <a:pt x="472" y="585"/>
                    </a:lnTo>
                    <a:lnTo>
                      <a:pt x="475" y="586"/>
                    </a:lnTo>
                    <a:lnTo>
                      <a:pt x="478" y="588"/>
                    </a:lnTo>
                    <a:lnTo>
                      <a:pt x="479" y="587"/>
                    </a:lnTo>
                    <a:lnTo>
                      <a:pt x="478" y="586"/>
                    </a:lnTo>
                    <a:lnTo>
                      <a:pt x="479" y="586"/>
                    </a:lnTo>
                    <a:close/>
                    <a:moveTo>
                      <a:pt x="505" y="588"/>
                    </a:moveTo>
                    <a:lnTo>
                      <a:pt x="506" y="591"/>
                    </a:lnTo>
                    <a:lnTo>
                      <a:pt x="509" y="593"/>
                    </a:lnTo>
                    <a:lnTo>
                      <a:pt x="510" y="594"/>
                    </a:lnTo>
                    <a:lnTo>
                      <a:pt x="510" y="599"/>
                    </a:lnTo>
                    <a:lnTo>
                      <a:pt x="513" y="599"/>
                    </a:lnTo>
                    <a:lnTo>
                      <a:pt x="520" y="602"/>
                    </a:lnTo>
                    <a:lnTo>
                      <a:pt x="523" y="602"/>
                    </a:lnTo>
                    <a:lnTo>
                      <a:pt x="526" y="603"/>
                    </a:lnTo>
                    <a:lnTo>
                      <a:pt x="524" y="604"/>
                    </a:lnTo>
                    <a:lnTo>
                      <a:pt x="520" y="603"/>
                    </a:lnTo>
                    <a:lnTo>
                      <a:pt x="512" y="602"/>
                    </a:lnTo>
                    <a:lnTo>
                      <a:pt x="509" y="600"/>
                    </a:lnTo>
                    <a:lnTo>
                      <a:pt x="508" y="599"/>
                    </a:lnTo>
                    <a:lnTo>
                      <a:pt x="508" y="598"/>
                    </a:lnTo>
                    <a:lnTo>
                      <a:pt x="508" y="595"/>
                    </a:lnTo>
                    <a:lnTo>
                      <a:pt x="501" y="590"/>
                    </a:lnTo>
                    <a:lnTo>
                      <a:pt x="501" y="588"/>
                    </a:lnTo>
                    <a:lnTo>
                      <a:pt x="505" y="588"/>
                    </a:lnTo>
                    <a:close/>
                    <a:moveTo>
                      <a:pt x="525" y="595"/>
                    </a:moveTo>
                    <a:lnTo>
                      <a:pt x="528" y="597"/>
                    </a:lnTo>
                    <a:lnTo>
                      <a:pt x="528" y="599"/>
                    </a:lnTo>
                    <a:lnTo>
                      <a:pt x="527" y="600"/>
                    </a:lnTo>
                    <a:lnTo>
                      <a:pt x="524" y="600"/>
                    </a:lnTo>
                    <a:lnTo>
                      <a:pt x="525" y="600"/>
                    </a:lnTo>
                    <a:lnTo>
                      <a:pt x="523" y="598"/>
                    </a:lnTo>
                    <a:lnTo>
                      <a:pt x="523" y="597"/>
                    </a:lnTo>
                    <a:lnTo>
                      <a:pt x="523" y="596"/>
                    </a:lnTo>
                    <a:lnTo>
                      <a:pt x="525" y="595"/>
                    </a:lnTo>
                    <a:close/>
                    <a:moveTo>
                      <a:pt x="519" y="592"/>
                    </a:moveTo>
                    <a:lnTo>
                      <a:pt x="521" y="594"/>
                    </a:lnTo>
                    <a:lnTo>
                      <a:pt x="520" y="597"/>
                    </a:lnTo>
                    <a:lnTo>
                      <a:pt x="522" y="600"/>
                    </a:lnTo>
                    <a:lnTo>
                      <a:pt x="521" y="600"/>
                    </a:lnTo>
                    <a:lnTo>
                      <a:pt x="518" y="600"/>
                    </a:lnTo>
                    <a:lnTo>
                      <a:pt x="512" y="597"/>
                    </a:lnTo>
                    <a:lnTo>
                      <a:pt x="508" y="589"/>
                    </a:lnTo>
                    <a:lnTo>
                      <a:pt x="509" y="588"/>
                    </a:lnTo>
                    <a:lnTo>
                      <a:pt x="512" y="588"/>
                    </a:lnTo>
                    <a:lnTo>
                      <a:pt x="515" y="588"/>
                    </a:lnTo>
                    <a:lnTo>
                      <a:pt x="513" y="590"/>
                    </a:lnTo>
                    <a:lnTo>
                      <a:pt x="515" y="592"/>
                    </a:lnTo>
                    <a:lnTo>
                      <a:pt x="515" y="594"/>
                    </a:lnTo>
                    <a:lnTo>
                      <a:pt x="517" y="596"/>
                    </a:lnTo>
                    <a:lnTo>
                      <a:pt x="518" y="596"/>
                    </a:lnTo>
                    <a:lnTo>
                      <a:pt x="517" y="593"/>
                    </a:lnTo>
                    <a:lnTo>
                      <a:pt x="517" y="592"/>
                    </a:lnTo>
                    <a:lnTo>
                      <a:pt x="518" y="591"/>
                    </a:lnTo>
                    <a:lnTo>
                      <a:pt x="519" y="592"/>
                    </a:lnTo>
                    <a:close/>
                    <a:moveTo>
                      <a:pt x="595" y="576"/>
                    </a:moveTo>
                    <a:lnTo>
                      <a:pt x="592" y="576"/>
                    </a:lnTo>
                    <a:lnTo>
                      <a:pt x="588" y="580"/>
                    </a:lnTo>
                    <a:lnTo>
                      <a:pt x="584" y="580"/>
                    </a:lnTo>
                    <a:lnTo>
                      <a:pt x="584" y="581"/>
                    </a:lnTo>
                    <a:lnTo>
                      <a:pt x="586" y="584"/>
                    </a:lnTo>
                    <a:lnTo>
                      <a:pt x="585" y="585"/>
                    </a:lnTo>
                    <a:lnTo>
                      <a:pt x="584" y="582"/>
                    </a:lnTo>
                    <a:lnTo>
                      <a:pt x="584" y="585"/>
                    </a:lnTo>
                    <a:lnTo>
                      <a:pt x="581" y="586"/>
                    </a:lnTo>
                    <a:lnTo>
                      <a:pt x="581" y="585"/>
                    </a:lnTo>
                    <a:lnTo>
                      <a:pt x="579" y="583"/>
                    </a:lnTo>
                    <a:lnTo>
                      <a:pt x="579" y="580"/>
                    </a:lnTo>
                    <a:lnTo>
                      <a:pt x="582" y="581"/>
                    </a:lnTo>
                    <a:lnTo>
                      <a:pt x="583" y="580"/>
                    </a:lnTo>
                    <a:lnTo>
                      <a:pt x="583" y="578"/>
                    </a:lnTo>
                    <a:lnTo>
                      <a:pt x="588" y="574"/>
                    </a:lnTo>
                    <a:lnTo>
                      <a:pt x="591" y="576"/>
                    </a:lnTo>
                    <a:lnTo>
                      <a:pt x="596" y="575"/>
                    </a:lnTo>
                    <a:lnTo>
                      <a:pt x="597" y="575"/>
                    </a:lnTo>
                    <a:lnTo>
                      <a:pt x="595" y="576"/>
                    </a:lnTo>
                    <a:close/>
                    <a:moveTo>
                      <a:pt x="609" y="564"/>
                    </a:moveTo>
                    <a:lnTo>
                      <a:pt x="606" y="566"/>
                    </a:lnTo>
                    <a:lnTo>
                      <a:pt x="603" y="569"/>
                    </a:lnTo>
                    <a:lnTo>
                      <a:pt x="597" y="572"/>
                    </a:lnTo>
                    <a:lnTo>
                      <a:pt x="602" y="569"/>
                    </a:lnTo>
                    <a:lnTo>
                      <a:pt x="604" y="566"/>
                    </a:lnTo>
                    <a:lnTo>
                      <a:pt x="611" y="562"/>
                    </a:lnTo>
                    <a:lnTo>
                      <a:pt x="609" y="564"/>
                    </a:lnTo>
                    <a:close/>
                    <a:moveTo>
                      <a:pt x="615" y="566"/>
                    </a:moveTo>
                    <a:lnTo>
                      <a:pt x="610" y="566"/>
                    </a:lnTo>
                    <a:lnTo>
                      <a:pt x="609" y="568"/>
                    </a:lnTo>
                    <a:lnTo>
                      <a:pt x="609" y="570"/>
                    </a:lnTo>
                    <a:lnTo>
                      <a:pt x="607" y="570"/>
                    </a:lnTo>
                    <a:lnTo>
                      <a:pt x="606" y="570"/>
                    </a:lnTo>
                    <a:lnTo>
                      <a:pt x="608" y="567"/>
                    </a:lnTo>
                    <a:lnTo>
                      <a:pt x="612" y="564"/>
                    </a:lnTo>
                    <a:lnTo>
                      <a:pt x="614" y="564"/>
                    </a:lnTo>
                    <a:lnTo>
                      <a:pt x="615" y="565"/>
                    </a:lnTo>
                    <a:lnTo>
                      <a:pt x="615" y="566"/>
                    </a:lnTo>
                    <a:close/>
                    <a:moveTo>
                      <a:pt x="595" y="594"/>
                    </a:moveTo>
                    <a:lnTo>
                      <a:pt x="595" y="595"/>
                    </a:lnTo>
                    <a:lnTo>
                      <a:pt x="594" y="598"/>
                    </a:lnTo>
                    <a:lnTo>
                      <a:pt x="594" y="599"/>
                    </a:lnTo>
                    <a:lnTo>
                      <a:pt x="590" y="600"/>
                    </a:lnTo>
                    <a:lnTo>
                      <a:pt x="593" y="598"/>
                    </a:lnTo>
                    <a:lnTo>
                      <a:pt x="593" y="597"/>
                    </a:lnTo>
                    <a:lnTo>
                      <a:pt x="591" y="597"/>
                    </a:lnTo>
                    <a:lnTo>
                      <a:pt x="589" y="593"/>
                    </a:lnTo>
                    <a:lnTo>
                      <a:pt x="591" y="592"/>
                    </a:lnTo>
                    <a:lnTo>
                      <a:pt x="592" y="594"/>
                    </a:lnTo>
                    <a:lnTo>
                      <a:pt x="594" y="593"/>
                    </a:lnTo>
                    <a:lnTo>
                      <a:pt x="595" y="594"/>
                    </a:lnTo>
                    <a:close/>
                    <a:moveTo>
                      <a:pt x="576" y="621"/>
                    </a:moveTo>
                    <a:lnTo>
                      <a:pt x="576" y="621"/>
                    </a:lnTo>
                    <a:lnTo>
                      <a:pt x="577" y="623"/>
                    </a:lnTo>
                    <a:lnTo>
                      <a:pt x="575" y="624"/>
                    </a:lnTo>
                    <a:lnTo>
                      <a:pt x="574" y="625"/>
                    </a:lnTo>
                    <a:lnTo>
                      <a:pt x="573" y="625"/>
                    </a:lnTo>
                    <a:lnTo>
                      <a:pt x="572" y="629"/>
                    </a:lnTo>
                    <a:lnTo>
                      <a:pt x="570" y="631"/>
                    </a:lnTo>
                    <a:lnTo>
                      <a:pt x="568" y="631"/>
                    </a:lnTo>
                    <a:lnTo>
                      <a:pt x="567" y="631"/>
                    </a:lnTo>
                    <a:lnTo>
                      <a:pt x="566" y="629"/>
                    </a:lnTo>
                    <a:lnTo>
                      <a:pt x="568" y="628"/>
                    </a:lnTo>
                    <a:lnTo>
                      <a:pt x="567" y="627"/>
                    </a:lnTo>
                    <a:lnTo>
                      <a:pt x="568" y="626"/>
                    </a:lnTo>
                    <a:lnTo>
                      <a:pt x="570" y="623"/>
                    </a:lnTo>
                    <a:lnTo>
                      <a:pt x="573" y="621"/>
                    </a:lnTo>
                    <a:lnTo>
                      <a:pt x="576" y="620"/>
                    </a:lnTo>
                    <a:lnTo>
                      <a:pt x="576" y="621"/>
                    </a:lnTo>
                    <a:close/>
                    <a:moveTo>
                      <a:pt x="526" y="643"/>
                    </a:moveTo>
                    <a:lnTo>
                      <a:pt x="526" y="647"/>
                    </a:lnTo>
                    <a:lnTo>
                      <a:pt x="528" y="649"/>
                    </a:lnTo>
                    <a:lnTo>
                      <a:pt x="528" y="651"/>
                    </a:lnTo>
                    <a:lnTo>
                      <a:pt x="526" y="653"/>
                    </a:lnTo>
                    <a:lnTo>
                      <a:pt x="522" y="653"/>
                    </a:lnTo>
                    <a:lnTo>
                      <a:pt x="524" y="649"/>
                    </a:lnTo>
                    <a:lnTo>
                      <a:pt x="523" y="645"/>
                    </a:lnTo>
                    <a:lnTo>
                      <a:pt x="525" y="643"/>
                    </a:lnTo>
                    <a:lnTo>
                      <a:pt x="526" y="643"/>
                    </a:lnTo>
                    <a:close/>
                    <a:moveTo>
                      <a:pt x="514" y="628"/>
                    </a:moveTo>
                    <a:lnTo>
                      <a:pt x="517" y="632"/>
                    </a:lnTo>
                    <a:lnTo>
                      <a:pt x="515" y="635"/>
                    </a:lnTo>
                    <a:lnTo>
                      <a:pt x="514" y="638"/>
                    </a:lnTo>
                    <a:lnTo>
                      <a:pt x="514" y="641"/>
                    </a:lnTo>
                    <a:lnTo>
                      <a:pt x="515" y="643"/>
                    </a:lnTo>
                    <a:lnTo>
                      <a:pt x="513" y="642"/>
                    </a:lnTo>
                    <a:lnTo>
                      <a:pt x="512" y="639"/>
                    </a:lnTo>
                    <a:lnTo>
                      <a:pt x="512" y="637"/>
                    </a:lnTo>
                    <a:lnTo>
                      <a:pt x="510" y="637"/>
                    </a:lnTo>
                    <a:lnTo>
                      <a:pt x="510" y="636"/>
                    </a:lnTo>
                    <a:lnTo>
                      <a:pt x="512" y="627"/>
                    </a:lnTo>
                    <a:lnTo>
                      <a:pt x="514" y="628"/>
                    </a:lnTo>
                    <a:close/>
                    <a:moveTo>
                      <a:pt x="570" y="475"/>
                    </a:moveTo>
                    <a:lnTo>
                      <a:pt x="572" y="476"/>
                    </a:lnTo>
                    <a:lnTo>
                      <a:pt x="572" y="479"/>
                    </a:lnTo>
                    <a:lnTo>
                      <a:pt x="576" y="482"/>
                    </a:lnTo>
                    <a:lnTo>
                      <a:pt x="575" y="483"/>
                    </a:lnTo>
                    <a:lnTo>
                      <a:pt x="572" y="481"/>
                    </a:lnTo>
                    <a:lnTo>
                      <a:pt x="571" y="482"/>
                    </a:lnTo>
                    <a:lnTo>
                      <a:pt x="573" y="483"/>
                    </a:lnTo>
                    <a:lnTo>
                      <a:pt x="576" y="489"/>
                    </a:lnTo>
                    <a:lnTo>
                      <a:pt x="578" y="491"/>
                    </a:lnTo>
                    <a:lnTo>
                      <a:pt x="580" y="489"/>
                    </a:lnTo>
                    <a:lnTo>
                      <a:pt x="580" y="492"/>
                    </a:lnTo>
                    <a:lnTo>
                      <a:pt x="583" y="494"/>
                    </a:lnTo>
                    <a:lnTo>
                      <a:pt x="583" y="495"/>
                    </a:lnTo>
                    <a:lnTo>
                      <a:pt x="581" y="495"/>
                    </a:lnTo>
                    <a:lnTo>
                      <a:pt x="579" y="494"/>
                    </a:lnTo>
                    <a:lnTo>
                      <a:pt x="577" y="492"/>
                    </a:lnTo>
                    <a:lnTo>
                      <a:pt x="570" y="489"/>
                    </a:lnTo>
                    <a:lnTo>
                      <a:pt x="568" y="483"/>
                    </a:lnTo>
                    <a:lnTo>
                      <a:pt x="569" y="481"/>
                    </a:lnTo>
                    <a:lnTo>
                      <a:pt x="568" y="480"/>
                    </a:lnTo>
                    <a:lnTo>
                      <a:pt x="569" y="477"/>
                    </a:lnTo>
                    <a:lnTo>
                      <a:pt x="568" y="475"/>
                    </a:lnTo>
                    <a:lnTo>
                      <a:pt x="569" y="474"/>
                    </a:lnTo>
                    <a:lnTo>
                      <a:pt x="570" y="475"/>
                    </a:lnTo>
                    <a:close/>
                    <a:moveTo>
                      <a:pt x="577" y="603"/>
                    </a:moveTo>
                    <a:lnTo>
                      <a:pt x="586" y="606"/>
                    </a:lnTo>
                    <a:lnTo>
                      <a:pt x="581" y="606"/>
                    </a:lnTo>
                    <a:lnTo>
                      <a:pt x="580" y="605"/>
                    </a:lnTo>
                    <a:lnTo>
                      <a:pt x="578" y="605"/>
                    </a:lnTo>
                    <a:lnTo>
                      <a:pt x="578" y="608"/>
                    </a:lnTo>
                    <a:lnTo>
                      <a:pt x="584" y="608"/>
                    </a:lnTo>
                    <a:lnTo>
                      <a:pt x="583" y="609"/>
                    </a:lnTo>
                    <a:lnTo>
                      <a:pt x="578" y="609"/>
                    </a:lnTo>
                    <a:lnTo>
                      <a:pt x="576" y="607"/>
                    </a:lnTo>
                    <a:lnTo>
                      <a:pt x="572" y="606"/>
                    </a:lnTo>
                    <a:lnTo>
                      <a:pt x="570" y="603"/>
                    </a:lnTo>
                    <a:lnTo>
                      <a:pt x="566" y="602"/>
                    </a:lnTo>
                    <a:lnTo>
                      <a:pt x="577" y="603"/>
                    </a:lnTo>
                    <a:close/>
                    <a:moveTo>
                      <a:pt x="549" y="591"/>
                    </a:moveTo>
                    <a:lnTo>
                      <a:pt x="551" y="592"/>
                    </a:lnTo>
                    <a:lnTo>
                      <a:pt x="557" y="592"/>
                    </a:lnTo>
                    <a:lnTo>
                      <a:pt x="558" y="592"/>
                    </a:lnTo>
                    <a:lnTo>
                      <a:pt x="555" y="594"/>
                    </a:lnTo>
                    <a:lnTo>
                      <a:pt x="555" y="596"/>
                    </a:lnTo>
                    <a:lnTo>
                      <a:pt x="552" y="597"/>
                    </a:lnTo>
                    <a:lnTo>
                      <a:pt x="547" y="592"/>
                    </a:lnTo>
                    <a:lnTo>
                      <a:pt x="549" y="591"/>
                    </a:lnTo>
                    <a:close/>
                    <a:moveTo>
                      <a:pt x="597" y="506"/>
                    </a:moveTo>
                    <a:lnTo>
                      <a:pt x="599" y="507"/>
                    </a:lnTo>
                    <a:lnTo>
                      <a:pt x="598" y="509"/>
                    </a:lnTo>
                    <a:lnTo>
                      <a:pt x="599" y="510"/>
                    </a:lnTo>
                    <a:lnTo>
                      <a:pt x="598" y="510"/>
                    </a:lnTo>
                    <a:lnTo>
                      <a:pt x="598" y="511"/>
                    </a:lnTo>
                    <a:lnTo>
                      <a:pt x="595" y="511"/>
                    </a:lnTo>
                    <a:lnTo>
                      <a:pt x="594" y="510"/>
                    </a:lnTo>
                    <a:lnTo>
                      <a:pt x="594" y="505"/>
                    </a:lnTo>
                    <a:lnTo>
                      <a:pt x="597" y="506"/>
                    </a:lnTo>
                    <a:close/>
                    <a:moveTo>
                      <a:pt x="498" y="589"/>
                    </a:moveTo>
                    <a:lnTo>
                      <a:pt x="502" y="593"/>
                    </a:lnTo>
                    <a:lnTo>
                      <a:pt x="501" y="597"/>
                    </a:lnTo>
                    <a:lnTo>
                      <a:pt x="499" y="597"/>
                    </a:lnTo>
                    <a:lnTo>
                      <a:pt x="498" y="593"/>
                    </a:lnTo>
                    <a:lnTo>
                      <a:pt x="495" y="590"/>
                    </a:lnTo>
                    <a:lnTo>
                      <a:pt x="496" y="589"/>
                    </a:lnTo>
                    <a:lnTo>
                      <a:pt x="498" y="589"/>
                    </a:lnTo>
                    <a:close/>
                    <a:moveTo>
                      <a:pt x="614" y="543"/>
                    </a:moveTo>
                    <a:lnTo>
                      <a:pt x="617" y="546"/>
                    </a:lnTo>
                    <a:lnTo>
                      <a:pt x="615" y="548"/>
                    </a:lnTo>
                    <a:lnTo>
                      <a:pt x="608" y="549"/>
                    </a:lnTo>
                    <a:lnTo>
                      <a:pt x="612" y="543"/>
                    </a:lnTo>
                    <a:lnTo>
                      <a:pt x="614" y="543"/>
                    </a:lnTo>
                    <a:close/>
                    <a:moveTo>
                      <a:pt x="610" y="586"/>
                    </a:moveTo>
                    <a:lnTo>
                      <a:pt x="609" y="588"/>
                    </a:lnTo>
                    <a:lnTo>
                      <a:pt x="608" y="588"/>
                    </a:lnTo>
                    <a:lnTo>
                      <a:pt x="606" y="587"/>
                    </a:lnTo>
                    <a:lnTo>
                      <a:pt x="605" y="586"/>
                    </a:lnTo>
                    <a:lnTo>
                      <a:pt x="610" y="585"/>
                    </a:lnTo>
                    <a:lnTo>
                      <a:pt x="610" y="586"/>
                    </a:lnTo>
                    <a:close/>
                    <a:moveTo>
                      <a:pt x="601" y="603"/>
                    </a:moveTo>
                    <a:lnTo>
                      <a:pt x="599" y="604"/>
                    </a:lnTo>
                    <a:lnTo>
                      <a:pt x="598" y="605"/>
                    </a:lnTo>
                    <a:lnTo>
                      <a:pt x="596" y="603"/>
                    </a:lnTo>
                    <a:lnTo>
                      <a:pt x="598" y="600"/>
                    </a:lnTo>
                    <a:lnTo>
                      <a:pt x="601" y="601"/>
                    </a:lnTo>
                    <a:lnTo>
                      <a:pt x="601" y="603"/>
                    </a:lnTo>
                    <a:close/>
                    <a:moveTo>
                      <a:pt x="591" y="603"/>
                    </a:moveTo>
                    <a:lnTo>
                      <a:pt x="588" y="606"/>
                    </a:lnTo>
                    <a:lnTo>
                      <a:pt x="581" y="603"/>
                    </a:lnTo>
                    <a:lnTo>
                      <a:pt x="587" y="603"/>
                    </a:lnTo>
                    <a:lnTo>
                      <a:pt x="592" y="601"/>
                    </a:lnTo>
                    <a:lnTo>
                      <a:pt x="591" y="603"/>
                    </a:lnTo>
                    <a:close/>
                    <a:moveTo>
                      <a:pt x="596" y="611"/>
                    </a:moveTo>
                    <a:lnTo>
                      <a:pt x="593" y="613"/>
                    </a:lnTo>
                    <a:lnTo>
                      <a:pt x="589" y="613"/>
                    </a:lnTo>
                    <a:lnTo>
                      <a:pt x="592" y="610"/>
                    </a:lnTo>
                    <a:lnTo>
                      <a:pt x="596" y="609"/>
                    </a:lnTo>
                    <a:lnTo>
                      <a:pt x="597" y="610"/>
                    </a:lnTo>
                    <a:lnTo>
                      <a:pt x="596" y="611"/>
                    </a:lnTo>
                    <a:close/>
                    <a:moveTo>
                      <a:pt x="549" y="631"/>
                    </a:moveTo>
                    <a:lnTo>
                      <a:pt x="550" y="635"/>
                    </a:lnTo>
                    <a:lnTo>
                      <a:pt x="546" y="635"/>
                    </a:lnTo>
                    <a:lnTo>
                      <a:pt x="544" y="636"/>
                    </a:lnTo>
                    <a:lnTo>
                      <a:pt x="543" y="636"/>
                    </a:lnTo>
                    <a:lnTo>
                      <a:pt x="546" y="633"/>
                    </a:lnTo>
                    <a:lnTo>
                      <a:pt x="547" y="631"/>
                    </a:lnTo>
                    <a:lnTo>
                      <a:pt x="549" y="631"/>
                    </a:lnTo>
                    <a:close/>
                    <a:moveTo>
                      <a:pt x="566" y="636"/>
                    </a:moveTo>
                    <a:lnTo>
                      <a:pt x="562" y="638"/>
                    </a:lnTo>
                    <a:lnTo>
                      <a:pt x="561" y="639"/>
                    </a:lnTo>
                    <a:lnTo>
                      <a:pt x="562" y="639"/>
                    </a:lnTo>
                    <a:lnTo>
                      <a:pt x="564" y="639"/>
                    </a:lnTo>
                    <a:lnTo>
                      <a:pt x="564" y="640"/>
                    </a:lnTo>
                    <a:lnTo>
                      <a:pt x="558" y="641"/>
                    </a:lnTo>
                    <a:lnTo>
                      <a:pt x="557" y="639"/>
                    </a:lnTo>
                    <a:lnTo>
                      <a:pt x="567" y="634"/>
                    </a:lnTo>
                    <a:lnTo>
                      <a:pt x="568" y="634"/>
                    </a:lnTo>
                    <a:lnTo>
                      <a:pt x="566" y="636"/>
                    </a:lnTo>
                    <a:close/>
                    <a:moveTo>
                      <a:pt x="28" y="713"/>
                    </a:moveTo>
                    <a:lnTo>
                      <a:pt x="27" y="714"/>
                    </a:lnTo>
                    <a:lnTo>
                      <a:pt x="26" y="717"/>
                    </a:lnTo>
                    <a:lnTo>
                      <a:pt x="24" y="717"/>
                    </a:lnTo>
                    <a:lnTo>
                      <a:pt x="23" y="718"/>
                    </a:lnTo>
                    <a:lnTo>
                      <a:pt x="23" y="716"/>
                    </a:lnTo>
                    <a:lnTo>
                      <a:pt x="22" y="716"/>
                    </a:lnTo>
                    <a:lnTo>
                      <a:pt x="23" y="714"/>
                    </a:lnTo>
                    <a:lnTo>
                      <a:pt x="27" y="712"/>
                    </a:lnTo>
                    <a:lnTo>
                      <a:pt x="28" y="713"/>
                    </a:lnTo>
                    <a:close/>
                    <a:moveTo>
                      <a:pt x="49" y="733"/>
                    </a:moveTo>
                    <a:lnTo>
                      <a:pt x="50" y="736"/>
                    </a:lnTo>
                    <a:lnTo>
                      <a:pt x="48" y="739"/>
                    </a:lnTo>
                    <a:lnTo>
                      <a:pt x="47" y="740"/>
                    </a:lnTo>
                    <a:lnTo>
                      <a:pt x="46" y="737"/>
                    </a:lnTo>
                    <a:lnTo>
                      <a:pt x="44" y="738"/>
                    </a:lnTo>
                    <a:lnTo>
                      <a:pt x="43" y="743"/>
                    </a:lnTo>
                    <a:lnTo>
                      <a:pt x="41" y="744"/>
                    </a:lnTo>
                    <a:lnTo>
                      <a:pt x="40" y="744"/>
                    </a:lnTo>
                    <a:lnTo>
                      <a:pt x="39" y="745"/>
                    </a:lnTo>
                    <a:lnTo>
                      <a:pt x="37" y="746"/>
                    </a:lnTo>
                    <a:lnTo>
                      <a:pt x="36" y="745"/>
                    </a:lnTo>
                    <a:lnTo>
                      <a:pt x="35" y="744"/>
                    </a:lnTo>
                    <a:lnTo>
                      <a:pt x="32" y="744"/>
                    </a:lnTo>
                    <a:lnTo>
                      <a:pt x="32" y="741"/>
                    </a:lnTo>
                    <a:lnTo>
                      <a:pt x="31" y="740"/>
                    </a:lnTo>
                    <a:lnTo>
                      <a:pt x="32" y="738"/>
                    </a:lnTo>
                    <a:lnTo>
                      <a:pt x="35" y="739"/>
                    </a:lnTo>
                    <a:lnTo>
                      <a:pt x="36" y="738"/>
                    </a:lnTo>
                    <a:lnTo>
                      <a:pt x="35" y="737"/>
                    </a:lnTo>
                    <a:lnTo>
                      <a:pt x="30" y="738"/>
                    </a:lnTo>
                    <a:lnTo>
                      <a:pt x="30" y="737"/>
                    </a:lnTo>
                    <a:lnTo>
                      <a:pt x="30" y="735"/>
                    </a:lnTo>
                    <a:lnTo>
                      <a:pt x="32" y="733"/>
                    </a:lnTo>
                    <a:lnTo>
                      <a:pt x="38" y="734"/>
                    </a:lnTo>
                    <a:lnTo>
                      <a:pt x="44" y="734"/>
                    </a:lnTo>
                    <a:lnTo>
                      <a:pt x="47" y="732"/>
                    </a:lnTo>
                    <a:lnTo>
                      <a:pt x="49" y="733"/>
                    </a:lnTo>
                    <a:close/>
                    <a:moveTo>
                      <a:pt x="42" y="771"/>
                    </a:moveTo>
                    <a:lnTo>
                      <a:pt x="42" y="772"/>
                    </a:lnTo>
                    <a:lnTo>
                      <a:pt x="40" y="772"/>
                    </a:lnTo>
                    <a:lnTo>
                      <a:pt x="39" y="771"/>
                    </a:lnTo>
                    <a:lnTo>
                      <a:pt x="42" y="771"/>
                    </a:lnTo>
                    <a:close/>
                    <a:moveTo>
                      <a:pt x="49" y="709"/>
                    </a:moveTo>
                    <a:lnTo>
                      <a:pt x="50" y="712"/>
                    </a:lnTo>
                    <a:lnTo>
                      <a:pt x="53" y="712"/>
                    </a:lnTo>
                    <a:lnTo>
                      <a:pt x="55" y="715"/>
                    </a:lnTo>
                    <a:lnTo>
                      <a:pt x="55" y="723"/>
                    </a:lnTo>
                    <a:lnTo>
                      <a:pt x="54" y="726"/>
                    </a:lnTo>
                    <a:lnTo>
                      <a:pt x="51" y="726"/>
                    </a:lnTo>
                    <a:lnTo>
                      <a:pt x="50" y="727"/>
                    </a:lnTo>
                    <a:lnTo>
                      <a:pt x="48" y="727"/>
                    </a:lnTo>
                    <a:lnTo>
                      <a:pt x="46" y="729"/>
                    </a:lnTo>
                    <a:lnTo>
                      <a:pt x="42" y="727"/>
                    </a:lnTo>
                    <a:lnTo>
                      <a:pt x="40" y="728"/>
                    </a:lnTo>
                    <a:lnTo>
                      <a:pt x="40" y="726"/>
                    </a:lnTo>
                    <a:lnTo>
                      <a:pt x="37" y="726"/>
                    </a:lnTo>
                    <a:lnTo>
                      <a:pt x="34" y="727"/>
                    </a:lnTo>
                    <a:lnTo>
                      <a:pt x="32" y="730"/>
                    </a:lnTo>
                    <a:lnTo>
                      <a:pt x="28" y="728"/>
                    </a:lnTo>
                    <a:lnTo>
                      <a:pt x="28" y="732"/>
                    </a:lnTo>
                    <a:lnTo>
                      <a:pt x="27" y="730"/>
                    </a:lnTo>
                    <a:lnTo>
                      <a:pt x="26" y="728"/>
                    </a:lnTo>
                    <a:lnTo>
                      <a:pt x="23" y="724"/>
                    </a:lnTo>
                    <a:lnTo>
                      <a:pt x="23" y="723"/>
                    </a:lnTo>
                    <a:lnTo>
                      <a:pt x="26" y="721"/>
                    </a:lnTo>
                    <a:lnTo>
                      <a:pt x="29" y="718"/>
                    </a:lnTo>
                    <a:lnTo>
                      <a:pt x="31" y="718"/>
                    </a:lnTo>
                    <a:lnTo>
                      <a:pt x="32" y="716"/>
                    </a:lnTo>
                    <a:lnTo>
                      <a:pt x="38" y="714"/>
                    </a:lnTo>
                    <a:lnTo>
                      <a:pt x="43" y="714"/>
                    </a:lnTo>
                    <a:lnTo>
                      <a:pt x="44" y="710"/>
                    </a:lnTo>
                    <a:lnTo>
                      <a:pt x="43" y="708"/>
                    </a:lnTo>
                    <a:lnTo>
                      <a:pt x="49" y="709"/>
                    </a:lnTo>
                    <a:close/>
                    <a:moveTo>
                      <a:pt x="634" y="698"/>
                    </a:moveTo>
                    <a:lnTo>
                      <a:pt x="642" y="700"/>
                    </a:lnTo>
                    <a:lnTo>
                      <a:pt x="639" y="702"/>
                    </a:lnTo>
                    <a:lnTo>
                      <a:pt x="634" y="703"/>
                    </a:lnTo>
                    <a:lnTo>
                      <a:pt x="631" y="698"/>
                    </a:lnTo>
                    <a:lnTo>
                      <a:pt x="631" y="697"/>
                    </a:lnTo>
                    <a:lnTo>
                      <a:pt x="634" y="698"/>
                    </a:lnTo>
                    <a:close/>
                    <a:moveTo>
                      <a:pt x="641" y="744"/>
                    </a:moveTo>
                    <a:lnTo>
                      <a:pt x="639" y="745"/>
                    </a:lnTo>
                    <a:lnTo>
                      <a:pt x="636" y="744"/>
                    </a:lnTo>
                    <a:lnTo>
                      <a:pt x="635" y="744"/>
                    </a:lnTo>
                    <a:lnTo>
                      <a:pt x="633" y="747"/>
                    </a:lnTo>
                    <a:lnTo>
                      <a:pt x="629" y="746"/>
                    </a:lnTo>
                    <a:lnTo>
                      <a:pt x="628" y="748"/>
                    </a:lnTo>
                    <a:lnTo>
                      <a:pt x="630" y="751"/>
                    </a:lnTo>
                    <a:lnTo>
                      <a:pt x="627" y="753"/>
                    </a:lnTo>
                    <a:lnTo>
                      <a:pt x="627" y="755"/>
                    </a:lnTo>
                    <a:lnTo>
                      <a:pt x="626" y="755"/>
                    </a:lnTo>
                    <a:lnTo>
                      <a:pt x="623" y="753"/>
                    </a:lnTo>
                    <a:lnTo>
                      <a:pt x="622" y="751"/>
                    </a:lnTo>
                    <a:lnTo>
                      <a:pt x="619" y="749"/>
                    </a:lnTo>
                    <a:lnTo>
                      <a:pt x="619" y="747"/>
                    </a:lnTo>
                    <a:lnTo>
                      <a:pt x="621" y="747"/>
                    </a:lnTo>
                    <a:lnTo>
                      <a:pt x="623" y="744"/>
                    </a:lnTo>
                    <a:lnTo>
                      <a:pt x="623" y="742"/>
                    </a:lnTo>
                    <a:lnTo>
                      <a:pt x="624" y="741"/>
                    </a:lnTo>
                    <a:lnTo>
                      <a:pt x="628" y="741"/>
                    </a:lnTo>
                    <a:lnTo>
                      <a:pt x="630" y="740"/>
                    </a:lnTo>
                    <a:lnTo>
                      <a:pt x="632" y="741"/>
                    </a:lnTo>
                    <a:lnTo>
                      <a:pt x="634" y="740"/>
                    </a:lnTo>
                    <a:lnTo>
                      <a:pt x="634" y="742"/>
                    </a:lnTo>
                    <a:lnTo>
                      <a:pt x="635" y="742"/>
                    </a:lnTo>
                    <a:lnTo>
                      <a:pt x="639" y="741"/>
                    </a:lnTo>
                    <a:lnTo>
                      <a:pt x="642" y="742"/>
                    </a:lnTo>
                    <a:lnTo>
                      <a:pt x="642" y="743"/>
                    </a:lnTo>
                    <a:lnTo>
                      <a:pt x="641" y="744"/>
                    </a:lnTo>
                    <a:close/>
                    <a:moveTo>
                      <a:pt x="617" y="749"/>
                    </a:moveTo>
                    <a:lnTo>
                      <a:pt x="617" y="751"/>
                    </a:lnTo>
                    <a:lnTo>
                      <a:pt x="623" y="756"/>
                    </a:lnTo>
                    <a:lnTo>
                      <a:pt x="623" y="757"/>
                    </a:lnTo>
                    <a:lnTo>
                      <a:pt x="618" y="757"/>
                    </a:lnTo>
                    <a:lnTo>
                      <a:pt x="615" y="760"/>
                    </a:lnTo>
                    <a:lnTo>
                      <a:pt x="615" y="763"/>
                    </a:lnTo>
                    <a:lnTo>
                      <a:pt x="612" y="761"/>
                    </a:lnTo>
                    <a:lnTo>
                      <a:pt x="611" y="766"/>
                    </a:lnTo>
                    <a:lnTo>
                      <a:pt x="612" y="767"/>
                    </a:lnTo>
                    <a:lnTo>
                      <a:pt x="611" y="768"/>
                    </a:lnTo>
                    <a:lnTo>
                      <a:pt x="609" y="768"/>
                    </a:lnTo>
                    <a:lnTo>
                      <a:pt x="609" y="769"/>
                    </a:lnTo>
                    <a:lnTo>
                      <a:pt x="608" y="769"/>
                    </a:lnTo>
                    <a:lnTo>
                      <a:pt x="607" y="767"/>
                    </a:lnTo>
                    <a:lnTo>
                      <a:pt x="606" y="768"/>
                    </a:lnTo>
                    <a:lnTo>
                      <a:pt x="603" y="766"/>
                    </a:lnTo>
                    <a:lnTo>
                      <a:pt x="601" y="766"/>
                    </a:lnTo>
                    <a:lnTo>
                      <a:pt x="601" y="772"/>
                    </a:lnTo>
                    <a:lnTo>
                      <a:pt x="598" y="777"/>
                    </a:lnTo>
                    <a:lnTo>
                      <a:pt x="598" y="779"/>
                    </a:lnTo>
                    <a:lnTo>
                      <a:pt x="598" y="780"/>
                    </a:lnTo>
                    <a:lnTo>
                      <a:pt x="601" y="781"/>
                    </a:lnTo>
                    <a:lnTo>
                      <a:pt x="600" y="783"/>
                    </a:lnTo>
                    <a:lnTo>
                      <a:pt x="600" y="785"/>
                    </a:lnTo>
                    <a:lnTo>
                      <a:pt x="600" y="788"/>
                    </a:lnTo>
                    <a:lnTo>
                      <a:pt x="598" y="791"/>
                    </a:lnTo>
                    <a:lnTo>
                      <a:pt x="599" y="792"/>
                    </a:lnTo>
                    <a:lnTo>
                      <a:pt x="598" y="795"/>
                    </a:lnTo>
                    <a:lnTo>
                      <a:pt x="601" y="795"/>
                    </a:lnTo>
                    <a:lnTo>
                      <a:pt x="600" y="797"/>
                    </a:lnTo>
                    <a:lnTo>
                      <a:pt x="602" y="798"/>
                    </a:lnTo>
                    <a:lnTo>
                      <a:pt x="606" y="799"/>
                    </a:lnTo>
                    <a:lnTo>
                      <a:pt x="606" y="797"/>
                    </a:lnTo>
                    <a:lnTo>
                      <a:pt x="608" y="797"/>
                    </a:lnTo>
                    <a:lnTo>
                      <a:pt x="610" y="798"/>
                    </a:lnTo>
                    <a:lnTo>
                      <a:pt x="611" y="800"/>
                    </a:lnTo>
                    <a:lnTo>
                      <a:pt x="611" y="803"/>
                    </a:lnTo>
                    <a:lnTo>
                      <a:pt x="609" y="804"/>
                    </a:lnTo>
                    <a:lnTo>
                      <a:pt x="606" y="803"/>
                    </a:lnTo>
                    <a:lnTo>
                      <a:pt x="605" y="804"/>
                    </a:lnTo>
                    <a:lnTo>
                      <a:pt x="600" y="805"/>
                    </a:lnTo>
                    <a:lnTo>
                      <a:pt x="595" y="808"/>
                    </a:lnTo>
                    <a:lnTo>
                      <a:pt x="594" y="809"/>
                    </a:lnTo>
                    <a:lnTo>
                      <a:pt x="592" y="811"/>
                    </a:lnTo>
                    <a:lnTo>
                      <a:pt x="591" y="812"/>
                    </a:lnTo>
                    <a:lnTo>
                      <a:pt x="590" y="815"/>
                    </a:lnTo>
                    <a:lnTo>
                      <a:pt x="591" y="815"/>
                    </a:lnTo>
                    <a:lnTo>
                      <a:pt x="594" y="815"/>
                    </a:lnTo>
                    <a:lnTo>
                      <a:pt x="594" y="818"/>
                    </a:lnTo>
                    <a:lnTo>
                      <a:pt x="592" y="818"/>
                    </a:lnTo>
                    <a:lnTo>
                      <a:pt x="591" y="819"/>
                    </a:lnTo>
                    <a:lnTo>
                      <a:pt x="591" y="820"/>
                    </a:lnTo>
                    <a:lnTo>
                      <a:pt x="590" y="821"/>
                    </a:lnTo>
                    <a:lnTo>
                      <a:pt x="583" y="822"/>
                    </a:lnTo>
                    <a:lnTo>
                      <a:pt x="583" y="823"/>
                    </a:lnTo>
                    <a:lnTo>
                      <a:pt x="584" y="823"/>
                    </a:lnTo>
                    <a:lnTo>
                      <a:pt x="581" y="825"/>
                    </a:lnTo>
                    <a:lnTo>
                      <a:pt x="570" y="829"/>
                    </a:lnTo>
                    <a:lnTo>
                      <a:pt x="569" y="831"/>
                    </a:lnTo>
                    <a:lnTo>
                      <a:pt x="573" y="831"/>
                    </a:lnTo>
                    <a:lnTo>
                      <a:pt x="574" y="832"/>
                    </a:lnTo>
                    <a:lnTo>
                      <a:pt x="572" y="833"/>
                    </a:lnTo>
                    <a:lnTo>
                      <a:pt x="569" y="833"/>
                    </a:lnTo>
                    <a:lnTo>
                      <a:pt x="565" y="835"/>
                    </a:lnTo>
                    <a:lnTo>
                      <a:pt x="565" y="837"/>
                    </a:lnTo>
                    <a:lnTo>
                      <a:pt x="565" y="839"/>
                    </a:lnTo>
                    <a:lnTo>
                      <a:pt x="565" y="842"/>
                    </a:lnTo>
                    <a:lnTo>
                      <a:pt x="570" y="844"/>
                    </a:lnTo>
                    <a:lnTo>
                      <a:pt x="566" y="844"/>
                    </a:lnTo>
                    <a:lnTo>
                      <a:pt x="565" y="845"/>
                    </a:lnTo>
                    <a:lnTo>
                      <a:pt x="566" y="846"/>
                    </a:lnTo>
                    <a:lnTo>
                      <a:pt x="563" y="847"/>
                    </a:lnTo>
                    <a:lnTo>
                      <a:pt x="562" y="850"/>
                    </a:lnTo>
                    <a:lnTo>
                      <a:pt x="555" y="853"/>
                    </a:lnTo>
                    <a:lnTo>
                      <a:pt x="552" y="853"/>
                    </a:lnTo>
                    <a:lnTo>
                      <a:pt x="549" y="853"/>
                    </a:lnTo>
                    <a:lnTo>
                      <a:pt x="551" y="850"/>
                    </a:lnTo>
                    <a:lnTo>
                      <a:pt x="555" y="845"/>
                    </a:lnTo>
                    <a:lnTo>
                      <a:pt x="554" y="842"/>
                    </a:lnTo>
                    <a:lnTo>
                      <a:pt x="559" y="840"/>
                    </a:lnTo>
                    <a:lnTo>
                      <a:pt x="561" y="834"/>
                    </a:lnTo>
                    <a:lnTo>
                      <a:pt x="558" y="835"/>
                    </a:lnTo>
                    <a:lnTo>
                      <a:pt x="557" y="838"/>
                    </a:lnTo>
                    <a:lnTo>
                      <a:pt x="554" y="838"/>
                    </a:lnTo>
                    <a:lnTo>
                      <a:pt x="555" y="836"/>
                    </a:lnTo>
                    <a:lnTo>
                      <a:pt x="556" y="833"/>
                    </a:lnTo>
                    <a:lnTo>
                      <a:pt x="555" y="832"/>
                    </a:lnTo>
                    <a:lnTo>
                      <a:pt x="556" y="831"/>
                    </a:lnTo>
                    <a:lnTo>
                      <a:pt x="552" y="829"/>
                    </a:lnTo>
                    <a:lnTo>
                      <a:pt x="552" y="826"/>
                    </a:lnTo>
                    <a:lnTo>
                      <a:pt x="551" y="820"/>
                    </a:lnTo>
                    <a:lnTo>
                      <a:pt x="546" y="817"/>
                    </a:lnTo>
                    <a:lnTo>
                      <a:pt x="546" y="814"/>
                    </a:lnTo>
                    <a:lnTo>
                      <a:pt x="551" y="811"/>
                    </a:lnTo>
                    <a:lnTo>
                      <a:pt x="552" y="807"/>
                    </a:lnTo>
                    <a:lnTo>
                      <a:pt x="551" y="805"/>
                    </a:lnTo>
                    <a:lnTo>
                      <a:pt x="552" y="803"/>
                    </a:lnTo>
                    <a:lnTo>
                      <a:pt x="550" y="802"/>
                    </a:lnTo>
                    <a:lnTo>
                      <a:pt x="550" y="799"/>
                    </a:lnTo>
                    <a:lnTo>
                      <a:pt x="548" y="797"/>
                    </a:lnTo>
                    <a:lnTo>
                      <a:pt x="548" y="796"/>
                    </a:lnTo>
                    <a:lnTo>
                      <a:pt x="547" y="791"/>
                    </a:lnTo>
                    <a:lnTo>
                      <a:pt x="548" y="788"/>
                    </a:lnTo>
                    <a:lnTo>
                      <a:pt x="553" y="781"/>
                    </a:lnTo>
                    <a:lnTo>
                      <a:pt x="561" y="776"/>
                    </a:lnTo>
                    <a:lnTo>
                      <a:pt x="568" y="768"/>
                    </a:lnTo>
                    <a:lnTo>
                      <a:pt x="575" y="759"/>
                    </a:lnTo>
                    <a:lnTo>
                      <a:pt x="581" y="756"/>
                    </a:lnTo>
                    <a:lnTo>
                      <a:pt x="586" y="756"/>
                    </a:lnTo>
                    <a:lnTo>
                      <a:pt x="587" y="752"/>
                    </a:lnTo>
                    <a:lnTo>
                      <a:pt x="591" y="748"/>
                    </a:lnTo>
                    <a:lnTo>
                      <a:pt x="595" y="747"/>
                    </a:lnTo>
                    <a:lnTo>
                      <a:pt x="596" y="747"/>
                    </a:lnTo>
                    <a:lnTo>
                      <a:pt x="599" y="751"/>
                    </a:lnTo>
                    <a:lnTo>
                      <a:pt x="598" y="753"/>
                    </a:lnTo>
                    <a:lnTo>
                      <a:pt x="601" y="757"/>
                    </a:lnTo>
                    <a:lnTo>
                      <a:pt x="602" y="754"/>
                    </a:lnTo>
                    <a:lnTo>
                      <a:pt x="605" y="751"/>
                    </a:lnTo>
                    <a:lnTo>
                      <a:pt x="604" y="748"/>
                    </a:lnTo>
                    <a:lnTo>
                      <a:pt x="605" y="748"/>
                    </a:lnTo>
                    <a:lnTo>
                      <a:pt x="606" y="747"/>
                    </a:lnTo>
                    <a:lnTo>
                      <a:pt x="610" y="747"/>
                    </a:lnTo>
                    <a:lnTo>
                      <a:pt x="608" y="750"/>
                    </a:lnTo>
                    <a:lnTo>
                      <a:pt x="609" y="751"/>
                    </a:lnTo>
                    <a:lnTo>
                      <a:pt x="612" y="751"/>
                    </a:lnTo>
                    <a:lnTo>
                      <a:pt x="612" y="748"/>
                    </a:lnTo>
                    <a:lnTo>
                      <a:pt x="617" y="748"/>
                    </a:lnTo>
                    <a:lnTo>
                      <a:pt x="617" y="749"/>
                    </a:lnTo>
                    <a:close/>
                    <a:moveTo>
                      <a:pt x="469" y="808"/>
                    </a:moveTo>
                    <a:lnTo>
                      <a:pt x="470" y="811"/>
                    </a:lnTo>
                    <a:lnTo>
                      <a:pt x="467" y="811"/>
                    </a:lnTo>
                    <a:lnTo>
                      <a:pt x="464" y="815"/>
                    </a:lnTo>
                    <a:lnTo>
                      <a:pt x="464" y="817"/>
                    </a:lnTo>
                    <a:lnTo>
                      <a:pt x="465" y="820"/>
                    </a:lnTo>
                    <a:lnTo>
                      <a:pt x="464" y="824"/>
                    </a:lnTo>
                    <a:lnTo>
                      <a:pt x="462" y="826"/>
                    </a:lnTo>
                    <a:lnTo>
                      <a:pt x="461" y="830"/>
                    </a:lnTo>
                    <a:lnTo>
                      <a:pt x="458" y="834"/>
                    </a:lnTo>
                    <a:lnTo>
                      <a:pt x="457" y="838"/>
                    </a:lnTo>
                    <a:lnTo>
                      <a:pt x="456" y="840"/>
                    </a:lnTo>
                    <a:lnTo>
                      <a:pt x="453" y="840"/>
                    </a:lnTo>
                    <a:lnTo>
                      <a:pt x="453" y="841"/>
                    </a:lnTo>
                    <a:lnTo>
                      <a:pt x="455" y="842"/>
                    </a:lnTo>
                    <a:lnTo>
                      <a:pt x="452" y="844"/>
                    </a:lnTo>
                    <a:lnTo>
                      <a:pt x="451" y="847"/>
                    </a:lnTo>
                    <a:lnTo>
                      <a:pt x="451" y="852"/>
                    </a:lnTo>
                    <a:lnTo>
                      <a:pt x="452" y="852"/>
                    </a:lnTo>
                    <a:lnTo>
                      <a:pt x="449" y="856"/>
                    </a:lnTo>
                    <a:lnTo>
                      <a:pt x="448" y="862"/>
                    </a:lnTo>
                    <a:lnTo>
                      <a:pt x="445" y="862"/>
                    </a:lnTo>
                    <a:lnTo>
                      <a:pt x="442" y="866"/>
                    </a:lnTo>
                    <a:lnTo>
                      <a:pt x="441" y="871"/>
                    </a:lnTo>
                    <a:lnTo>
                      <a:pt x="440" y="874"/>
                    </a:lnTo>
                    <a:lnTo>
                      <a:pt x="438" y="878"/>
                    </a:lnTo>
                    <a:lnTo>
                      <a:pt x="437" y="881"/>
                    </a:lnTo>
                    <a:lnTo>
                      <a:pt x="436" y="886"/>
                    </a:lnTo>
                    <a:lnTo>
                      <a:pt x="434" y="889"/>
                    </a:lnTo>
                    <a:lnTo>
                      <a:pt x="432" y="891"/>
                    </a:lnTo>
                    <a:lnTo>
                      <a:pt x="431" y="892"/>
                    </a:lnTo>
                    <a:lnTo>
                      <a:pt x="432" y="895"/>
                    </a:lnTo>
                    <a:lnTo>
                      <a:pt x="430" y="898"/>
                    </a:lnTo>
                    <a:lnTo>
                      <a:pt x="431" y="899"/>
                    </a:lnTo>
                    <a:lnTo>
                      <a:pt x="427" y="908"/>
                    </a:lnTo>
                    <a:lnTo>
                      <a:pt x="427" y="911"/>
                    </a:lnTo>
                    <a:lnTo>
                      <a:pt x="425" y="916"/>
                    </a:lnTo>
                    <a:lnTo>
                      <a:pt x="420" y="925"/>
                    </a:lnTo>
                    <a:lnTo>
                      <a:pt x="415" y="927"/>
                    </a:lnTo>
                    <a:lnTo>
                      <a:pt x="414" y="926"/>
                    </a:lnTo>
                    <a:lnTo>
                      <a:pt x="415" y="922"/>
                    </a:lnTo>
                    <a:lnTo>
                      <a:pt x="413" y="921"/>
                    </a:lnTo>
                    <a:lnTo>
                      <a:pt x="413" y="918"/>
                    </a:lnTo>
                    <a:lnTo>
                      <a:pt x="415" y="907"/>
                    </a:lnTo>
                    <a:lnTo>
                      <a:pt x="413" y="904"/>
                    </a:lnTo>
                    <a:lnTo>
                      <a:pt x="412" y="901"/>
                    </a:lnTo>
                    <a:lnTo>
                      <a:pt x="413" y="896"/>
                    </a:lnTo>
                    <a:lnTo>
                      <a:pt x="413" y="894"/>
                    </a:lnTo>
                    <a:lnTo>
                      <a:pt x="415" y="888"/>
                    </a:lnTo>
                    <a:lnTo>
                      <a:pt x="418" y="882"/>
                    </a:lnTo>
                    <a:lnTo>
                      <a:pt x="424" y="868"/>
                    </a:lnTo>
                    <a:lnTo>
                      <a:pt x="429" y="862"/>
                    </a:lnTo>
                    <a:lnTo>
                      <a:pt x="430" y="858"/>
                    </a:lnTo>
                    <a:lnTo>
                      <a:pt x="432" y="856"/>
                    </a:lnTo>
                    <a:lnTo>
                      <a:pt x="438" y="856"/>
                    </a:lnTo>
                    <a:lnTo>
                      <a:pt x="439" y="855"/>
                    </a:lnTo>
                    <a:lnTo>
                      <a:pt x="441" y="850"/>
                    </a:lnTo>
                    <a:lnTo>
                      <a:pt x="443" y="845"/>
                    </a:lnTo>
                    <a:lnTo>
                      <a:pt x="447" y="841"/>
                    </a:lnTo>
                    <a:lnTo>
                      <a:pt x="447" y="839"/>
                    </a:lnTo>
                    <a:lnTo>
                      <a:pt x="451" y="834"/>
                    </a:lnTo>
                    <a:lnTo>
                      <a:pt x="453" y="827"/>
                    </a:lnTo>
                    <a:lnTo>
                      <a:pt x="453" y="823"/>
                    </a:lnTo>
                    <a:lnTo>
                      <a:pt x="456" y="821"/>
                    </a:lnTo>
                    <a:lnTo>
                      <a:pt x="457" y="820"/>
                    </a:lnTo>
                    <a:lnTo>
                      <a:pt x="457" y="815"/>
                    </a:lnTo>
                    <a:lnTo>
                      <a:pt x="458" y="811"/>
                    </a:lnTo>
                    <a:lnTo>
                      <a:pt x="461" y="808"/>
                    </a:lnTo>
                    <a:lnTo>
                      <a:pt x="465" y="806"/>
                    </a:lnTo>
                    <a:lnTo>
                      <a:pt x="466" y="808"/>
                    </a:lnTo>
                    <a:lnTo>
                      <a:pt x="468" y="808"/>
                    </a:lnTo>
                    <a:lnTo>
                      <a:pt x="468" y="807"/>
                    </a:lnTo>
                    <a:lnTo>
                      <a:pt x="469" y="808"/>
                    </a:lnTo>
                    <a:close/>
                  </a:path>
                </a:pathLst>
              </a:custGeom>
              <a:solidFill>
                <a:schemeClr val="tx1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58" name="Norway">
                <a:extLst>
                  <a:ext uri="{FF2B5EF4-FFF2-40B4-BE49-F238E27FC236}">
                    <a16:creationId xmlns:a16="http://schemas.microsoft.com/office/drawing/2014/main" id="{30805914-0943-4282-B0E0-6557E88AEC0B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4242699" y="1534117"/>
                <a:ext cx="836217" cy="943492"/>
              </a:xfrm>
              <a:custGeom>
                <a:avLst/>
                <a:gdLst>
                  <a:gd name="T0" fmla="*/ 535 w 745"/>
                  <a:gd name="T1" fmla="*/ 21 h 740"/>
                  <a:gd name="T2" fmla="*/ 541 w 745"/>
                  <a:gd name="T3" fmla="*/ 42 h 740"/>
                  <a:gd name="T4" fmla="*/ 492 w 745"/>
                  <a:gd name="T5" fmla="*/ 52 h 740"/>
                  <a:gd name="T6" fmla="*/ 451 w 745"/>
                  <a:gd name="T7" fmla="*/ 76 h 740"/>
                  <a:gd name="T8" fmla="*/ 421 w 745"/>
                  <a:gd name="T9" fmla="*/ 115 h 740"/>
                  <a:gd name="T10" fmla="*/ 468 w 745"/>
                  <a:gd name="T11" fmla="*/ 143 h 740"/>
                  <a:gd name="T12" fmla="*/ 501 w 745"/>
                  <a:gd name="T13" fmla="*/ 136 h 740"/>
                  <a:gd name="T14" fmla="*/ 405 w 745"/>
                  <a:gd name="T15" fmla="*/ 157 h 740"/>
                  <a:gd name="T16" fmla="*/ 349 w 745"/>
                  <a:gd name="T17" fmla="*/ 174 h 740"/>
                  <a:gd name="T18" fmla="*/ 289 w 745"/>
                  <a:gd name="T19" fmla="*/ 209 h 740"/>
                  <a:gd name="T20" fmla="*/ 254 w 745"/>
                  <a:gd name="T21" fmla="*/ 210 h 740"/>
                  <a:gd name="T22" fmla="*/ 220 w 745"/>
                  <a:gd name="T23" fmla="*/ 218 h 740"/>
                  <a:gd name="T24" fmla="*/ 263 w 745"/>
                  <a:gd name="T25" fmla="*/ 238 h 740"/>
                  <a:gd name="T26" fmla="*/ 156 w 745"/>
                  <a:gd name="T27" fmla="*/ 252 h 740"/>
                  <a:gd name="T28" fmla="*/ 189 w 745"/>
                  <a:gd name="T29" fmla="*/ 294 h 740"/>
                  <a:gd name="T30" fmla="*/ 108 w 745"/>
                  <a:gd name="T31" fmla="*/ 299 h 740"/>
                  <a:gd name="T32" fmla="*/ 37 w 745"/>
                  <a:gd name="T33" fmla="*/ 304 h 740"/>
                  <a:gd name="T34" fmla="*/ 135 w 745"/>
                  <a:gd name="T35" fmla="*/ 337 h 740"/>
                  <a:gd name="T36" fmla="*/ 48 w 745"/>
                  <a:gd name="T37" fmla="*/ 356 h 740"/>
                  <a:gd name="T38" fmla="*/ 29 w 745"/>
                  <a:gd name="T39" fmla="*/ 380 h 740"/>
                  <a:gd name="T40" fmla="*/ 47 w 745"/>
                  <a:gd name="T41" fmla="*/ 405 h 740"/>
                  <a:gd name="T42" fmla="*/ 155 w 745"/>
                  <a:gd name="T43" fmla="*/ 392 h 740"/>
                  <a:gd name="T44" fmla="*/ 212 w 745"/>
                  <a:gd name="T45" fmla="*/ 394 h 740"/>
                  <a:gd name="T46" fmla="*/ 134 w 745"/>
                  <a:gd name="T47" fmla="*/ 420 h 740"/>
                  <a:gd name="T48" fmla="*/ 39 w 745"/>
                  <a:gd name="T49" fmla="*/ 440 h 740"/>
                  <a:gd name="T50" fmla="*/ 41 w 745"/>
                  <a:gd name="T51" fmla="*/ 462 h 740"/>
                  <a:gd name="T52" fmla="*/ 55 w 745"/>
                  <a:gd name="T53" fmla="*/ 506 h 740"/>
                  <a:gd name="T54" fmla="*/ 89 w 745"/>
                  <a:gd name="T55" fmla="*/ 521 h 740"/>
                  <a:gd name="T56" fmla="*/ 180 w 745"/>
                  <a:gd name="T57" fmla="*/ 476 h 740"/>
                  <a:gd name="T58" fmla="*/ 93 w 745"/>
                  <a:gd name="T59" fmla="*/ 552 h 740"/>
                  <a:gd name="T60" fmla="*/ 62 w 745"/>
                  <a:gd name="T61" fmla="*/ 579 h 740"/>
                  <a:gd name="T62" fmla="*/ 74 w 745"/>
                  <a:gd name="T63" fmla="*/ 599 h 740"/>
                  <a:gd name="T64" fmla="*/ 130 w 745"/>
                  <a:gd name="T65" fmla="*/ 565 h 740"/>
                  <a:gd name="T66" fmla="*/ 108 w 745"/>
                  <a:gd name="T67" fmla="*/ 631 h 740"/>
                  <a:gd name="T68" fmla="*/ 69 w 745"/>
                  <a:gd name="T69" fmla="*/ 668 h 740"/>
                  <a:gd name="T70" fmla="*/ 170 w 745"/>
                  <a:gd name="T71" fmla="*/ 723 h 740"/>
                  <a:gd name="T72" fmla="*/ 255 w 745"/>
                  <a:gd name="T73" fmla="*/ 731 h 740"/>
                  <a:gd name="T74" fmla="*/ 358 w 745"/>
                  <a:gd name="T75" fmla="*/ 667 h 740"/>
                  <a:gd name="T76" fmla="*/ 392 w 745"/>
                  <a:gd name="T77" fmla="*/ 621 h 740"/>
                  <a:gd name="T78" fmla="*/ 454 w 745"/>
                  <a:gd name="T79" fmla="*/ 606 h 740"/>
                  <a:gd name="T80" fmla="*/ 469 w 745"/>
                  <a:gd name="T81" fmla="*/ 539 h 740"/>
                  <a:gd name="T82" fmla="*/ 494 w 745"/>
                  <a:gd name="T83" fmla="*/ 618 h 740"/>
                  <a:gd name="T84" fmla="*/ 589 w 745"/>
                  <a:gd name="T85" fmla="*/ 539 h 740"/>
                  <a:gd name="T86" fmla="*/ 651 w 745"/>
                  <a:gd name="T87" fmla="*/ 99 h 740"/>
                  <a:gd name="T88" fmla="*/ 409 w 745"/>
                  <a:gd name="T89" fmla="*/ 102 h 740"/>
                  <a:gd name="T90" fmla="*/ 131 w 745"/>
                  <a:gd name="T91" fmla="*/ 249 h 740"/>
                  <a:gd name="T92" fmla="*/ 256 w 745"/>
                  <a:gd name="T93" fmla="*/ 201 h 740"/>
                  <a:gd name="T94" fmla="*/ 236 w 745"/>
                  <a:gd name="T95" fmla="*/ 200 h 740"/>
                  <a:gd name="T96" fmla="*/ 327 w 745"/>
                  <a:gd name="T97" fmla="*/ 137 h 740"/>
                  <a:gd name="T98" fmla="*/ 21 w 745"/>
                  <a:gd name="T99" fmla="*/ 445 h 740"/>
                  <a:gd name="T100" fmla="*/ 73 w 745"/>
                  <a:gd name="T101" fmla="*/ 618 h 740"/>
                  <a:gd name="T102" fmla="*/ 56 w 745"/>
                  <a:gd name="T103" fmla="*/ 519 h 740"/>
                  <a:gd name="T104" fmla="*/ 18 w 745"/>
                  <a:gd name="T105" fmla="*/ 450 h 740"/>
                  <a:gd name="T106" fmla="*/ 178 w 745"/>
                  <a:gd name="T107" fmla="*/ 243 h 740"/>
                  <a:gd name="T108" fmla="*/ 78 w 745"/>
                  <a:gd name="T109" fmla="*/ 538 h 740"/>
                  <a:gd name="T110" fmla="*/ 25 w 745"/>
                  <a:gd name="T111" fmla="*/ 502 h 740"/>
                  <a:gd name="T112" fmla="*/ 46 w 745"/>
                  <a:gd name="T113" fmla="*/ 591 h 740"/>
                  <a:gd name="T114" fmla="*/ 65 w 745"/>
                  <a:gd name="T115" fmla="*/ 467 h 740"/>
                  <a:gd name="T116" fmla="*/ 93 w 745"/>
                  <a:gd name="T117" fmla="*/ 291 h 740"/>
                  <a:gd name="T118" fmla="*/ 7 w 745"/>
                  <a:gd name="T119" fmla="*/ 423 h 740"/>
                  <a:gd name="T120" fmla="*/ 339 w 745"/>
                  <a:gd name="T121" fmla="*/ 145 h 740"/>
                  <a:gd name="T122" fmla="*/ 508 w 745"/>
                  <a:gd name="T123" fmla="*/ 46 h 740"/>
                  <a:gd name="T124" fmla="*/ 485 w 745"/>
                  <a:gd name="T125" fmla="*/ 4 h 740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745"/>
                  <a:gd name="T190" fmla="*/ 0 h 740"/>
                  <a:gd name="T191" fmla="*/ 745 w 745"/>
                  <a:gd name="T192" fmla="*/ 740 h 740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745" h="740">
                    <a:moveTo>
                      <a:pt x="744" y="69"/>
                    </a:moveTo>
                    <a:lnTo>
                      <a:pt x="742" y="56"/>
                    </a:lnTo>
                    <a:lnTo>
                      <a:pt x="722" y="52"/>
                    </a:lnTo>
                    <a:lnTo>
                      <a:pt x="721" y="51"/>
                    </a:lnTo>
                    <a:lnTo>
                      <a:pt x="719" y="50"/>
                    </a:lnTo>
                    <a:lnTo>
                      <a:pt x="715" y="49"/>
                    </a:lnTo>
                    <a:lnTo>
                      <a:pt x="712" y="47"/>
                    </a:lnTo>
                    <a:lnTo>
                      <a:pt x="708" y="45"/>
                    </a:lnTo>
                    <a:lnTo>
                      <a:pt x="706" y="44"/>
                    </a:lnTo>
                    <a:lnTo>
                      <a:pt x="709" y="38"/>
                    </a:lnTo>
                    <a:lnTo>
                      <a:pt x="723" y="24"/>
                    </a:lnTo>
                    <a:lnTo>
                      <a:pt x="741" y="3"/>
                    </a:lnTo>
                    <a:lnTo>
                      <a:pt x="745" y="0"/>
                    </a:lnTo>
                    <a:lnTo>
                      <a:pt x="592" y="0"/>
                    </a:lnTo>
                    <a:lnTo>
                      <a:pt x="591" y="1"/>
                    </a:lnTo>
                    <a:lnTo>
                      <a:pt x="590" y="1"/>
                    </a:lnTo>
                    <a:lnTo>
                      <a:pt x="590" y="0"/>
                    </a:lnTo>
                    <a:lnTo>
                      <a:pt x="561" y="0"/>
                    </a:lnTo>
                    <a:lnTo>
                      <a:pt x="561" y="1"/>
                    </a:lnTo>
                    <a:lnTo>
                      <a:pt x="563" y="2"/>
                    </a:lnTo>
                    <a:lnTo>
                      <a:pt x="562" y="3"/>
                    </a:lnTo>
                    <a:lnTo>
                      <a:pt x="559" y="3"/>
                    </a:lnTo>
                    <a:lnTo>
                      <a:pt x="554" y="5"/>
                    </a:lnTo>
                    <a:lnTo>
                      <a:pt x="550" y="5"/>
                    </a:lnTo>
                    <a:lnTo>
                      <a:pt x="547" y="4"/>
                    </a:lnTo>
                    <a:lnTo>
                      <a:pt x="546" y="4"/>
                    </a:lnTo>
                    <a:lnTo>
                      <a:pt x="548" y="6"/>
                    </a:lnTo>
                    <a:lnTo>
                      <a:pt x="547" y="7"/>
                    </a:lnTo>
                    <a:lnTo>
                      <a:pt x="543" y="5"/>
                    </a:lnTo>
                    <a:lnTo>
                      <a:pt x="536" y="7"/>
                    </a:lnTo>
                    <a:lnTo>
                      <a:pt x="535" y="8"/>
                    </a:lnTo>
                    <a:lnTo>
                      <a:pt x="536" y="8"/>
                    </a:lnTo>
                    <a:lnTo>
                      <a:pt x="540" y="10"/>
                    </a:lnTo>
                    <a:lnTo>
                      <a:pt x="544" y="8"/>
                    </a:lnTo>
                    <a:lnTo>
                      <a:pt x="545" y="8"/>
                    </a:lnTo>
                    <a:lnTo>
                      <a:pt x="543" y="10"/>
                    </a:lnTo>
                    <a:lnTo>
                      <a:pt x="540" y="11"/>
                    </a:lnTo>
                    <a:lnTo>
                      <a:pt x="539" y="12"/>
                    </a:lnTo>
                    <a:lnTo>
                      <a:pt x="535" y="9"/>
                    </a:lnTo>
                    <a:lnTo>
                      <a:pt x="532" y="8"/>
                    </a:lnTo>
                    <a:lnTo>
                      <a:pt x="522" y="12"/>
                    </a:lnTo>
                    <a:lnTo>
                      <a:pt x="518" y="15"/>
                    </a:lnTo>
                    <a:lnTo>
                      <a:pt x="523" y="15"/>
                    </a:lnTo>
                    <a:lnTo>
                      <a:pt x="540" y="13"/>
                    </a:lnTo>
                    <a:lnTo>
                      <a:pt x="553" y="9"/>
                    </a:lnTo>
                    <a:lnTo>
                      <a:pt x="552" y="11"/>
                    </a:lnTo>
                    <a:lnTo>
                      <a:pt x="541" y="14"/>
                    </a:lnTo>
                    <a:lnTo>
                      <a:pt x="531" y="15"/>
                    </a:lnTo>
                    <a:lnTo>
                      <a:pt x="523" y="17"/>
                    </a:lnTo>
                    <a:lnTo>
                      <a:pt x="519" y="17"/>
                    </a:lnTo>
                    <a:lnTo>
                      <a:pt x="517" y="18"/>
                    </a:lnTo>
                    <a:lnTo>
                      <a:pt x="517" y="20"/>
                    </a:lnTo>
                    <a:lnTo>
                      <a:pt x="522" y="19"/>
                    </a:lnTo>
                    <a:lnTo>
                      <a:pt x="524" y="20"/>
                    </a:lnTo>
                    <a:lnTo>
                      <a:pt x="532" y="20"/>
                    </a:lnTo>
                    <a:lnTo>
                      <a:pt x="530" y="22"/>
                    </a:lnTo>
                    <a:lnTo>
                      <a:pt x="528" y="23"/>
                    </a:lnTo>
                    <a:lnTo>
                      <a:pt x="525" y="25"/>
                    </a:lnTo>
                    <a:lnTo>
                      <a:pt x="517" y="27"/>
                    </a:lnTo>
                    <a:lnTo>
                      <a:pt x="517" y="28"/>
                    </a:lnTo>
                    <a:lnTo>
                      <a:pt x="521" y="28"/>
                    </a:lnTo>
                    <a:lnTo>
                      <a:pt x="529" y="26"/>
                    </a:lnTo>
                    <a:lnTo>
                      <a:pt x="535" y="21"/>
                    </a:lnTo>
                    <a:lnTo>
                      <a:pt x="535" y="20"/>
                    </a:lnTo>
                    <a:lnTo>
                      <a:pt x="541" y="20"/>
                    </a:lnTo>
                    <a:lnTo>
                      <a:pt x="546" y="17"/>
                    </a:lnTo>
                    <a:lnTo>
                      <a:pt x="547" y="16"/>
                    </a:lnTo>
                    <a:lnTo>
                      <a:pt x="546" y="15"/>
                    </a:lnTo>
                    <a:lnTo>
                      <a:pt x="546" y="14"/>
                    </a:lnTo>
                    <a:lnTo>
                      <a:pt x="560" y="10"/>
                    </a:lnTo>
                    <a:lnTo>
                      <a:pt x="570" y="5"/>
                    </a:lnTo>
                    <a:lnTo>
                      <a:pt x="575" y="5"/>
                    </a:lnTo>
                    <a:lnTo>
                      <a:pt x="579" y="3"/>
                    </a:lnTo>
                    <a:lnTo>
                      <a:pt x="584" y="3"/>
                    </a:lnTo>
                    <a:lnTo>
                      <a:pt x="589" y="3"/>
                    </a:lnTo>
                    <a:lnTo>
                      <a:pt x="593" y="6"/>
                    </a:lnTo>
                    <a:lnTo>
                      <a:pt x="594" y="7"/>
                    </a:lnTo>
                    <a:lnTo>
                      <a:pt x="593" y="7"/>
                    </a:lnTo>
                    <a:lnTo>
                      <a:pt x="590" y="7"/>
                    </a:lnTo>
                    <a:lnTo>
                      <a:pt x="588" y="5"/>
                    </a:lnTo>
                    <a:lnTo>
                      <a:pt x="583" y="4"/>
                    </a:lnTo>
                    <a:lnTo>
                      <a:pt x="579" y="5"/>
                    </a:lnTo>
                    <a:lnTo>
                      <a:pt x="576" y="8"/>
                    </a:lnTo>
                    <a:lnTo>
                      <a:pt x="571" y="8"/>
                    </a:lnTo>
                    <a:lnTo>
                      <a:pt x="555" y="13"/>
                    </a:lnTo>
                    <a:lnTo>
                      <a:pt x="553" y="15"/>
                    </a:lnTo>
                    <a:lnTo>
                      <a:pt x="549" y="17"/>
                    </a:lnTo>
                    <a:lnTo>
                      <a:pt x="551" y="17"/>
                    </a:lnTo>
                    <a:lnTo>
                      <a:pt x="554" y="17"/>
                    </a:lnTo>
                    <a:lnTo>
                      <a:pt x="560" y="15"/>
                    </a:lnTo>
                    <a:lnTo>
                      <a:pt x="559" y="16"/>
                    </a:lnTo>
                    <a:lnTo>
                      <a:pt x="560" y="17"/>
                    </a:lnTo>
                    <a:lnTo>
                      <a:pt x="551" y="18"/>
                    </a:lnTo>
                    <a:lnTo>
                      <a:pt x="548" y="19"/>
                    </a:lnTo>
                    <a:lnTo>
                      <a:pt x="551" y="20"/>
                    </a:lnTo>
                    <a:lnTo>
                      <a:pt x="552" y="20"/>
                    </a:lnTo>
                    <a:lnTo>
                      <a:pt x="556" y="20"/>
                    </a:lnTo>
                    <a:lnTo>
                      <a:pt x="556" y="21"/>
                    </a:lnTo>
                    <a:lnTo>
                      <a:pt x="558" y="21"/>
                    </a:lnTo>
                    <a:lnTo>
                      <a:pt x="560" y="21"/>
                    </a:lnTo>
                    <a:lnTo>
                      <a:pt x="564" y="21"/>
                    </a:lnTo>
                    <a:lnTo>
                      <a:pt x="556" y="24"/>
                    </a:lnTo>
                    <a:lnTo>
                      <a:pt x="555" y="23"/>
                    </a:lnTo>
                    <a:lnTo>
                      <a:pt x="551" y="24"/>
                    </a:lnTo>
                    <a:lnTo>
                      <a:pt x="548" y="23"/>
                    </a:lnTo>
                    <a:lnTo>
                      <a:pt x="544" y="24"/>
                    </a:lnTo>
                    <a:lnTo>
                      <a:pt x="541" y="25"/>
                    </a:lnTo>
                    <a:lnTo>
                      <a:pt x="545" y="26"/>
                    </a:lnTo>
                    <a:lnTo>
                      <a:pt x="545" y="27"/>
                    </a:lnTo>
                    <a:lnTo>
                      <a:pt x="546" y="28"/>
                    </a:lnTo>
                    <a:lnTo>
                      <a:pt x="539" y="27"/>
                    </a:lnTo>
                    <a:lnTo>
                      <a:pt x="537" y="29"/>
                    </a:lnTo>
                    <a:lnTo>
                      <a:pt x="529" y="32"/>
                    </a:lnTo>
                    <a:lnTo>
                      <a:pt x="531" y="32"/>
                    </a:lnTo>
                    <a:lnTo>
                      <a:pt x="531" y="34"/>
                    </a:lnTo>
                    <a:lnTo>
                      <a:pt x="529" y="34"/>
                    </a:lnTo>
                    <a:lnTo>
                      <a:pt x="531" y="38"/>
                    </a:lnTo>
                    <a:lnTo>
                      <a:pt x="531" y="39"/>
                    </a:lnTo>
                    <a:lnTo>
                      <a:pt x="533" y="40"/>
                    </a:lnTo>
                    <a:lnTo>
                      <a:pt x="534" y="42"/>
                    </a:lnTo>
                    <a:lnTo>
                      <a:pt x="539" y="46"/>
                    </a:lnTo>
                    <a:lnTo>
                      <a:pt x="541" y="46"/>
                    </a:lnTo>
                    <a:lnTo>
                      <a:pt x="544" y="44"/>
                    </a:lnTo>
                    <a:lnTo>
                      <a:pt x="545" y="43"/>
                    </a:lnTo>
                    <a:lnTo>
                      <a:pt x="544" y="43"/>
                    </a:lnTo>
                    <a:lnTo>
                      <a:pt x="541" y="42"/>
                    </a:lnTo>
                    <a:lnTo>
                      <a:pt x="544" y="40"/>
                    </a:lnTo>
                    <a:lnTo>
                      <a:pt x="546" y="40"/>
                    </a:lnTo>
                    <a:lnTo>
                      <a:pt x="548" y="41"/>
                    </a:lnTo>
                    <a:lnTo>
                      <a:pt x="547" y="43"/>
                    </a:lnTo>
                    <a:lnTo>
                      <a:pt x="547" y="44"/>
                    </a:lnTo>
                    <a:lnTo>
                      <a:pt x="554" y="42"/>
                    </a:lnTo>
                    <a:lnTo>
                      <a:pt x="559" y="43"/>
                    </a:lnTo>
                    <a:lnTo>
                      <a:pt x="552" y="46"/>
                    </a:lnTo>
                    <a:lnTo>
                      <a:pt x="548" y="46"/>
                    </a:lnTo>
                    <a:lnTo>
                      <a:pt x="547" y="47"/>
                    </a:lnTo>
                    <a:lnTo>
                      <a:pt x="544" y="48"/>
                    </a:lnTo>
                    <a:lnTo>
                      <a:pt x="542" y="49"/>
                    </a:lnTo>
                    <a:lnTo>
                      <a:pt x="541" y="49"/>
                    </a:lnTo>
                    <a:lnTo>
                      <a:pt x="543" y="48"/>
                    </a:lnTo>
                    <a:lnTo>
                      <a:pt x="538" y="48"/>
                    </a:lnTo>
                    <a:lnTo>
                      <a:pt x="537" y="49"/>
                    </a:lnTo>
                    <a:lnTo>
                      <a:pt x="540" y="51"/>
                    </a:lnTo>
                    <a:lnTo>
                      <a:pt x="535" y="52"/>
                    </a:lnTo>
                    <a:lnTo>
                      <a:pt x="534" y="53"/>
                    </a:lnTo>
                    <a:lnTo>
                      <a:pt x="533" y="54"/>
                    </a:lnTo>
                    <a:lnTo>
                      <a:pt x="533" y="55"/>
                    </a:lnTo>
                    <a:lnTo>
                      <a:pt x="532" y="56"/>
                    </a:lnTo>
                    <a:lnTo>
                      <a:pt x="534" y="56"/>
                    </a:lnTo>
                    <a:lnTo>
                      <a:pt x="543" y="56"/>
                    </a:lnTo>
                    <a:lnTo>
                      <a:pt x="549" y="56"/>
                    </a:lnTo>
                    <a:lnTo>
                      <a:pt x="537" y="57"/>
                    </a:lnTo>
                    <a:lnTo>
                      <a:pt x="533" y="60"/>
                    </a:lnTo>
                    <a:lnTo>
                      <a:pt x="530" y="58"/>
                    </a:lnTo>
                    <a:lnTo>
                      <a:pt x="526" y="62"/>
                    </a:lnTo>
                    <a:lnTo>
                      <a:pt x="529" y="64"/>
                    </a:lnTo>
                    <a:lnTo>
                      <a:pt x="525" y="64"/>
                    </a:lnTo>
                    <a:lnTo>
                      <a:pt x="517" y="72"/>
                    </a:lnTo>
                    <a:lnTo>
                      <a:pt x="515" y="72"/>
                    </a:lnTo>
                    <a:lnTo>
                      <a:pt x="518" y="69"/>
                    </a:lnTo>
                    <a:lnTo>
                      <a:pt x="518" y="68"/>
                    </a:lnTo>
                    <a:lnTo>
                      <a:pt x="523" y="64"/>
                    </a:lnTo>
                    <a:lnTo>
                      <a:pt x="524" y="63"/>
                    </a:lnTo>
                    <a:lnTo>
                      <a:pt x="525" y="60"/>
                    </a:lnTo>
                    <a:lnTo>
                      <a:pt x="520" y="58"/>
                    </a:lnTo>
                    <a:lnTo>
                      <a:pt x="515" y="58"/>
                    </a:lnTo>
                    <a:lnTo>
                      <a:pt x="514" y="60"/>
                    </a:lnTo>
                    <a:lnTo>
                      <a:pt x="511" y="59"/>
                    </a:lnTo>
                    <a:lnTo>
                      <a:pt x="511" y="58"/>
                    </a:lnTo>
                    <a:lnTo>
                      <a:pt x="513" y="56"/>
                    </a:lnTo>
                    <a:lnTo>
                      <a:pt x="512" y="54"/>
                    </a:lnTo>
                    <a:lnTo>
                      <a:pt x="507" y="52"/>
                    </a:lnTo>
                    <a:lnTo>
                      <a:pt x="506" y="51"/>
                    </a:lnTo>
                    <a:lnTo>
                      <a:pt x="503" y="51"/>
                    </a:lnTo>
                    <a:lnTo>
                      <a:pt x="503" y="50"/>
                    </a:lnTo>
                    <a:lnTo>
                      <a:pt x="503" y="47"/>
                    </a:lnTo>
                    <a:lnTo>
                      <a:pt x="503" y="46"/>
                    </a:lnTo>
                    <a:lnTo>
                      <a:pt x="495" y="42"/>
                    </a:lnTo>
                    <a:lnTo>
                      <a:pt x="494" y="44"/>
                    </a:lnTo>
                    <a:lnTo>
                      <a:pt x="491" y="44"/>
                    </a:lnTo>
                    <a:lnTo>
                      <a:pt x="492" y="45"/>
                    </a:lnTo>
                    <a:lnTo>
                      <a:pt x="494" y="47"/>
                    </a:lnTo>
                    <a:lnTo>
                      <a:pt x="495" y="48"/>
                    </a:lnTo>
                    <a:lnTo>
                      <a:pt x="494" y="50"/>
                    </a:lnTo>
                    <a:lnTo>
                      <a:pt x="495" y="52"/>
                    </a:lnTo>
                    <a:lnTo>
                      <a:pt x="492" y="52"/>
                    </a:lnTo>
                    <a:lnTo>
                      <a:pt x="495" y="55"/>
                    </a:lnTo>
                    <a:lnTo>
                      <a:pt x="490" y="54"/>
                    </a:lnTo>
                    <a:lnTo>
                      <a:pt x="490" y="56"/>
                    </a:lnTo>
                    <a:lnTo>
                      <a:pt x="489" y="56"/>
                    </a:lnTo>
                    <a:lnTo>
                      <a:pt x="487" y="53"/>
                    </a:lnTo>
                    <a:lnTo>
                      <a:pt x="483" y="52"/>
                    </a:lnTo>
                    <a:lnTo>
                      <a:pt x="482" y="52"/>
                    </a:lnTo>
                    <a:lnTo>
                      <a:pt x="484" y="54"/>
                    </a:lnTo>
                    <a:lnTo>
                      <a:pt x="485" y="56"/>
                    </a:lnTo>
                    <a:lnTo>
                      <a:pt x="479" y="55"/>
                    </a:lnTo>
                    <a:lnTo>
                      <a:pt x="479" y="57"/>
                    </a:lnTo>
                    <a:lnTo>
                      <a:pt x="478" y="57"/>
                    </a:lnTo>
                    <a:lnTo>
                      <a:pt x="475" y="56"/>
                    </a:lnTo>
                    <a:lnTo>
                      <a:pt x="473" y="58"/>
                    </a:lnTo>
                    <a:lnTo>
                      <a:pt x="471" y="58"/>
                    </a:lnTo>
                    <a:lnTo>
                      <a:pt x="472" y="59"/>
                    </a:lnTo>
                    <a:lnTo>
                      <a:pt x="474" y="60"/>
                    </a:lnTo>
                    <a:lnTo>
                      <a:pt x="482" y="59"/>
                    </a:lnTo>
                    <a:lnTo>
                      <a:pt x="483" y="60"/>
                    </a:lnTo>
                    <a:lnTo>
                      <a:pt x="481" y="63"/>
                    </a:lnTo>
                    <a:lnTo>
                      <a:pt x="485" y="65"/>
                    </a:lnTo>
                    <a:lnTo>
                      <a:pt x="487" y="66"/>
                    </a:lnTo>
                    <a:lnTo>
                      <a:pt x="486" y="66"/>
                    </a:lnTo>
                    <a:lnTo>
                      <a:pt x="483" y="67"/>
                    </a:lnTo>
                    <a:lnTo>
                      <a:pt x="482" y="66"/>
                    </a:lnTo>
                    <a:lnTo>
                      <a:pt x="479" y="65"/>
                    </a:lnTo>
                    <a:lnTo>
                      <a:pt x="478" y="64"/>
                    </a:lnTo>
                    <a:lnTo>
                      <a:pt x="478" y="63"/>
                    </a:lnTo>
                    <a:lnTo>
                      <a:pt x="477" y="62"/>
                    </a:lnTo>
                    <a:lnTo>
                      <a:pt x="473" y="62"/>
                    </a:lnTo>
                    <a:lnTo>
                      <a:pt x="468" y="58"/>
                    </a:lnTo>
                    <a:lnTo>
                      <a:pt x="467" y="58"/>
                    </a:lnTo>
                    <a:lnTo>
                      <a:pt x="467" y="60"/>
                    </a:lnTo>
                    <a:lnTo>
                      <a:pt x="465" y="60"/>
                    </a:lnTo>
                    <a:lnTo>
                      <a:pt x="468" y="62"/>
                    </a:lnTo>
                    <a:lnTo>
                      <a:pt x="470" y="64"/>
                    </a:lnTo>
                    <a:lnTo>
                      <a:pt x="467" y="63"/>
                    </a:lnTo>
                    <a:lnTo>
                      <a:pt x="463" y="60"/>
                    </a:lnTo>
                    <a:lnTo>
                      <a:pt x="460" y="60"/>
                    </a:lnTo>
                    <a:lnTo>
                      <a:pt x="457" y="61"/>
                    </a:lnTo>
                    <a:lnTo>
                      <a:pt x="456" y="63"/>
                    </a:lnTo>
                    <a:lnTo>
                      <a:pt x="464" y="63"/>
                    </a:lnTo>
                    <a:lnTo>
                      <a:pt x="464" y="64"/>
                    </a:lnTo>
                    <a:lnTo>
                      <a:pt x="467" y="65"/>
                    </a:lnTo>
                    <a:lnTo>
                      <a:pt x="468" y="67"/>
                    </a:lnTo>
                    <a:lnTo>
                      <a:pt x="471" y="68"/>
                    </a:lnTo>
                    <a:lnTo>
                      <a:pt x="467" y="70"/>
                    </a:lnTo>
                    <a:lnTo>
                      <a:pt x="463" y="67"/>
                    </a:lnTo>
                    <a:lnTo>
                      <a:pt x="460" y="66"/>
                    </a:lnTo>
                    <a:lnTo>
                      <a:pt x="460" y="68"/>
                    </a:lnTo>
                    <a:lnTo>
                      <a:pt x="462" y="68"/>
                    </a:lnTo>
                    <a:lnTo>
                      <a:pt x="464" y="70"/>
                    </a:lnTo>
                    <a:lnTo>
                      <a:pt x="463" y="70"/>
                    </a:lnTo>
                    <a:lnTo>
                      <a:pt x="457" y="68"/>
                    </a:lnTo>
                    <a:lnTo>
                      <a:pt x="457" y="69"/>
                    </a:lnTo>
                    <a:lnTo>
                      <a:pt x="455" y="69"/>
                    </a:lnTo>
                    <a:lnTo>
                      <a:pt x="456" y="70"/>
                    </a:lnTo>
                    <a:lnTo>
                      <a:pt x="455" y="73"/>
                    </a:lnTo>
                    <a:lnTo>
                      <a:pt x="459" y="74"/>
                    </a:lnTo>
                    <a:lnTo>
                      <a:pt x="454" y="76"/>
                    </a:lnTo>
                    <a:lnTo>
                      <a:pt x="451" y="75"/>
                    </a:lnTo>
                    <a:lnTo>
                      <a:pt x="451" y="76"/>
                    </a:lnTo>
                    <a:lnTo>
                      <a:pt x="451" y="77"/>
                    </a:lnTo>
                    <a:lnTo>
                      <a:pt x="451" y="78"/>
                    </a:lnTo>
                    <a:lnTo>
                      <a:pt x="448" y="76"/>
                    </a:lnTo>
                    <a:lnTo>
                      <a:pt x="446" y="76"/>
                    </a:lnTo>
                    <a:lnTo>
                      <a:pt x="446" y="77"/>
                    </a:lnTo>
                    <a:lnTo>
                      <a:pt x="446" y="78"/>
                    </a:lnTo>
                    <a:lnTo>
                      <a:pt x="440" y="80"/>
                    </a:lnTo>
                    <a:lnTo>
                      <a:pt x="439" y="81"/>
                    </a:lnTo>
                    <a:lnTo>
                      <a:pt x="440" y="81"/>
                    </a:lnTo>
                    <a:lnTo>
                      <a:pt x="447" y="83"/>
                    </a:lnTo>
                    <a:lnTo>
                      <a:pt x="450" y="85"/>
                    </a:lnTo>
                    <a:lnTo>
                      <a:pt x="449" y="86"/>
                    </a:lnTo>
                    <a:lnTo>
                      <a:pt x="448" y="86"/>
                    </a:lnTo>
                    <a:lnTo>
                      <a:pt x="446" y="84"/>
                    </a:lnTo>
                    <a:lnTo>
                      <a:pt x="442" y="84"/>
                    </a:lnTo>
                    <a:lnTo>
                      <a:pt x="439" y="84"/>
                    </a:lnTo>
                    <a:lnTo>
                      <a:pt x="438" y="85"/>
                    </a:lnTo>
                    <a:lnTo>
                      <a:pt x="433" y="85"/>
                    </a:lnTo>
                    <a:lnTo>
                      <a:pt x="434" y="86"/>
                    </a:lnTo>
                    <a:lnTo>
                      <a:pt x="434" y="88"/>
                    </a:lnTo>
                    <a:lnTo>
                      <a:pt x="435" y="89"/>
                    </a:lnTo>
                    <a:lnTo>
                      <a:pt x="432" y="89"/>
                    </a:lnTo>
                    <a:lnTo>
                      <a:pt x="432" y="90"/>
                    </a:lnTo>
                    <a:lnTo>
                      <a:pt x="433" y="91"/>
                    </a:lnTo>
                    <a:lnTo>
                      <a:pt x="431" y="91"/>
                    </a:lnTo>
                    <a:lnTo>
                      <a:pt x="429" y="92"/>
                    </a:lnTo>
                    <a:lnTo>
                      <a:pt x="429" y="93"/>
                    </a:lnTo>
                    <a:lnTo>
                      <a:pt x="434" y="94"/>
                    </a:lnTo>
                    <a:lnTo>
                      <a:pt x="437" y="92"/>
                    </a:lnTo>
                    <a:lnTo>
                      <a:pt x="437" y="94"/>
                    </a:lnTo>
                    <a:lnTo>
                      <a:pt x="436" y="95"/>
                    </a:lnTo>
                    <a:lnTo>
                      <a:pt x="428" y="96"/>
                    </a:lnTo>
                    <a:lnTo>
                      <a:pt x="425" y="95"/>
                    </a:lnTo>
                    <a:lnTo>
                      <a:pt x="422" y="94"/>
                    </a:lnTo>
                    <a:lnTo>
                      <a:pt x="421" y="94"/>
                    </a:lnTo>
                    <a:lnTo>
                      <a:pt x="419" y="95"/>
                    </a:lnTo>
                    <a:lnTo>
                      <a:pt x="419" y="96"/>
                    </a:lnTo>
                    <a:lnTo>
                      <a:pt x="422" y="100"/>
                    </a:lnTo>
                    <a:lnTo>
                      <a:pt x="421" y="101"/>
                    </a:lnTo>
                    <a:lnTo>
                      <a:pt x="421" y="102"/>
                    </a:lnTo>
                    <a:lnTo>
                      <a:pt x="419" y="102"/>
                    </a:lnTo>
                    <a:lnTo>
                      <a:pt x="419" y="104"/>
                    </a:lnTo>
                    <a:lnTo>
                      <a:pt x="418" y="107"/>
                    </a:lnTo>
                    <a:lnTo>
                      <a:pt x="415" y="109"/>
                    </a:lnTo>
                    <a:lnTo>
                      <a:pt x="415" y="110"/>
                    </a:lnTo>
                    <a:lnTo>
                      <a:pt x="416" y="111"/>
                    </a:lnTo>
                    <a:lnTo>
                      <a:pt x="425" y="107"/>
                    </a:lnTo>
                    <a:lnTo>
                      <a:pt x="425" y="108"/>
                    </a:lnTo>
                    <a:lnTo>
                      <a:pt x="428" y="107"/>
                    </a:lnTo>
                    <a:lnTo>
                      <a:pt x="430" y="107"/>
                    </a:lnTo>
                    <a:lnTo>
                      <a:pt x="426" y="111"/>
                    </a:lnTo>
                    <a:lnTo>
                      <a:pt x="417" y="113"/>
                    </a:lnTo>
                    <a:lnTo>
                      <a:pt x="415" y="114"/>
                    </a:lnTo>
                    <a:lnTo>
                      <a:pt x="423" y="113"/>
                    </a:lnTo>
                    <a:lnTo>
                      <a:pt x="431" y="110"/>
                    </a:lnTo>
                    <a:lnTo>
                      <a:pt x="433" y="110"/>
                    </a:lnTo>
                    <a:lnTo>
                      <a:pt x="435" y="113"/>
                    </a:lnTo>
                    <a:lnTo>
                      <a:pt x="434" y="113"/>
                    </a:lnTo>
                    <a:lnTo>
                      <a:pt x="431" y="112"/>
                    </a:lnTo>
                    <a:lnTo>
                      <a:pt x="427" y="114"/>
                    </a:lnTo>
                    <a:lnTo>
                      <a:pt x="421" y="115"/>
                    </a:lnTo>
                    <a:lnTo>
                      <a:pt x="413" y="119"/>
                    </a:lnTo>
                    <a:lnTo>
                      <a:pt x="413" y="118"/>
                    </a:lnTo>
                    <a:lnTo>
                      <a:pt x="413" y="117"/>
                    </a:lnTo>
                    <a:lnTo>
                      <a:pt x="413" y="116"/>
                    </a:lnTo>
                    <a:lnTo>
                      <a:pt x="404" y="119"/>
                    </a:lnTo>
                    <a:lnTo>
                      <a:pt x="407" y="120"/>
                    </a:lnTo>
                    <a:lnTo>
                      <a:pt x="409" y="119"/>
                    </a:lnTo>
                    <a:lnTo>
                      <a:pt x="410" y="120"/>
                    </a:lnTo>
                    <a:lnTo>
                      <a:pt x="405" y="121"/>
                    </a:lnTo>
                    <a:lnTo>
                      <a:pt x="402" y="123"/>
                    </a:lnTo>
                    <a:lnTo>
                      <a:pt x="392" y="125"/>
                    </a:lnTo>
                    <a:lnTo>
                      <a:pt x="385" y="130"/>
                    </a:lnTo>
                    <a:lnTo>
                      <a:pt x="385" y="131"/>
                    </a:lnTo>
                    <a:lnTo>
                      <a:pt x="389" y="131"/>
                    </a:lnTo>
                    <a:lnTo>
                      <a:pt x="398" y="130"/>
                    </a:lnTo>
                    <a:lnTo>
                      <a:pt x="402" y="130"/>
                    </a:lnTo>
                    <a:lnTo>
                      <a:pt x="396" y="131"/>
                    </a:lnTo>
                    <a:lnTo>
                      <a:pt x="392" y="133"/>
                    </a:lnTo>
                    <a:lnTo>
                      <a:pt x="385" y="135"/>
                    </a:lnTo>
                    <a:lnTo>
                      <a:pt x="386" y="136"/>
                    </a:lnTo>
                    <a:lnTo>
                      <a:pt x="386" y="137"/>
                    </a:lnTo>
                    <a:lnTo>
                      <a:pt x="384" y="140"/>
                    </a:lnTo>
                    <a:lnTo>
                      <a:pt x="384" y="141"/>
                    </a:lnTo>
                    <a:lnTo>
                      <a:pt x="386" y="141"/>
                    </a:lnTo>
                    <a:lnTo>
                      <a:pt x="391" y="139"/>
                    </a:lnTo>
                    <a:lnTo>
                      <a:pt x="393" y="137"/>
                    </a:lnTo>
                    <a:lnTo>
                      <a:pt x="397" y="137"/>
                    </a:lnTo>
                    <a:lnTo>
                      <a:pt x="404" y="135"/>
                    </a:lnTo>
                    <a:lnTo>
                      <a:pt x="408" y="135"/>
                    </a:lnTo>
                    <a:lnTo>
                      <a:pt x="413" y="131"/>
                    </a:lnTo>
                    <a:lnTo>
                      <a:pt x="423" y="129"/>
                    </a:lnTo>
                    <a:lnTo>
                      <a:pt x="421" y="133"/>
                    </a:lnTo>
                    <a:lnTo>
                      <a:pt x="422" y="133"/>
                    </a:lnTo>
                    <a:lnTo>
                      <a:pt x="427" y="131"/>
                    </a:lnTo>
                    <a:lnTo>
                      <a:pt x="428" y="131"/>
                    </a:lnTo>
                    <a:lnTo>
                      <a:pt x="427" y="131"/>
                    </a:lnTo>
                    <a:lnTo>
                      <a:pt x="421" y="135"/>
                    </a:lnTo>
                    <a:lnTo>
                      <a:pt x="415" y="136"/>
                    </a:lnTo>
                    <a:lnTo>
                      <a:pt x="413" y="137"/>
                    </a:lnTo>
                    <a:lnTo>
                      <a:pt x="409" y="138"/>
                    </a:lnTo>
                    <a:lnTo>
                      <a:pt x="405" y="138"/>
                    </a:lnTo>
                    <a:lnTo>
                      <a:pt x="405" y="139"/>
                    </a:lnTo>
                    <a:lnTo>
                      <a:pt x="404" y="141"/>
                    </a:lnTo>
                    <a:lnTo>
                      <a:pt x="407" y="143"/>
                    </a:lnTo>
                    <a:lnTo>
                      <a:pt x="405" y="145"/>
                    </a:lnTo>
                    <a:lnTo>
                      <a:pt x="407" y="147"/>
                    </a:lnTo>
                    <a:lnTo>
                      <a:pt x="413" y="149"/>
                    </a:lnTo>
                    <a:lnTo>
                      <a:pt x="411" y="151"/>
                    </a:lnTo>
                    <a:lnTo>
                      <a:pt x="413" y="153"/>
                    </a:lnTo>
                    <a:lnTo>
                      <a:pt x="413" y="155"/>
                    </a:lnTo>
                    <a:lnTo>
                      <a:pt x="413" y="157"/>
                    </a:lnTo>
                    <a:lnTo>
                      <a:pt x="418" y="159"/>
                    </a:lnTo>
                    <a:lnTo>
                      <a:pt x="424" y="159"/>
                    </a:lnTo>
                    <a:lnTo>
                      <a:pt x="427" y="158"/>
                    </a:lnTo>
                    <a:lnTo>
                      <a:pt x="439" y="152"/>
                    </a:lnTo>
                    <a:lnTo>
                      <a:pt x="444" y="152"/>
                    </a:lnTo>
                    <a:lnTo>
                      <a:pt x="447" y="151"/>
                    </a:lnTo>
                    <a:lnTo>
                      <a:pt x="452" y="151"/>
                    </a:lnTo>
                    <a:lnTo>
                      <a:pt x="459" y="147"/>
                    </a:lnTo>
                    <a:lnTo>
                      <a:pt x="468" y="144"/>
                    </a:lnTo>
                    <a:lnTo>
                      <a:pt x="468" y="143"/>
                    </a:lnTo>
                    <a:lnTo>
                      <a:pt x="470" y="140"/>
                    </a:lnTo>
                    <a:lnTo>
                      <a:pt x="477" y="139"/>
                    </a:lnTo>
                    <a:lnTo>
                      <a:pt x="483" y="136"/>
                    </a:lnTo>
                    <a:lnTo>
                      <a:pt x="494" y="133"/>
                    </a:lnTo>
                    <a:lnTo>
                      <a:pt x="495" y="131"/>
                    </a:lnTo>
                    <a:lnTo>
                      <a:pt x="497" y="130"/>
                    </a:lnTo>
                    <a:lnTo>
                      <a:pt x="497" y="128"/>
                    </a:lnTo>
                    <a:lnTo>
                      <a:pt x="498" y="127"/>
                    </a:lnTo>
                    <a:lnTo>
                      <a:pt x="504" y="123"/>
                    </a:lnTo>
                    <a:lnTo>
                      <a:pt x="500" y="119"/>
                    </a:lnTo>
                    <a:lnTo>
                      <a:pt x="492" y="117"/>
                    </a:lnTo>
                    <a:lnTo>
                      <a:pt x="490" y="117"/>
                    </a:lnTo>
                    <a:lnTo>
                      <a:pt x="483" y="121"/>
                    </a:lnTo>
                    <a:lnTo>
                      <a:pt x="476" y="122"/>
                    </a:lnTo>
                    <a:lnTo>
                      <a:pt x="470" y="125"/>
                    </a:lnTo>
                    <a:lnTo>
                      <a:pt x="465" y="126"/>
                    </a:lnTo>
                    <a:lnTo>
                      <a:pt x="473" y="121"/>
                    </a:lnTo>
                    <a:lnTo>
                      <a:pt x="483" y="119"/>
                    </a:lnTo>
                    <a:lnTo>
                      <a:pt x="490" y="115"/>
                    </a:lnTo>
                    <a:lnTo>
                      <a:pt x="494" y="113"/>
                    </a:lnTo>
                    <a:lnTo>
                      <a:pt x="502" y="108"/>
                    </a:lnTo>
                    <a:lnTo>
                      <a:pt x="508" y="107"/>
                    </a:lnTo>
                    <a:lnTo>
                      <a:pt x="514" y="103"/>
                    </a:lnTo>
                    <a:lnTo>
                      <a:pt x="515" y="98"/>
                    </a:lnTo>
                    <a:lnTo>
                      <a:pt x="520" y="96"/>
                    </a:lnTo>
                    <a:lnTo>
                      <a:pt x="522" y="95"/>
                    </a:lnTo>
                    <a:lnTo>
                      <a:pt x="522" y="93"/>
                    </a:lnTo>
                    <a:lnTo>
                      <a:pt x="526" y="94"/>
                    </a:lnTo>
                    <a:lnTo>
                      <a:pt x="526" y="95"/>
                    </a:lnTo>
                    <a:lnTo>
                      <a:pt x="517" y="99"/>
                    </a:lnTo>
                    <a:lnTo>
                      <a:pt x="517" y="101"/>
                    </a:lnTo>
                    <a:lnTo>
                      <a:pt x="518" y="102"/>
                    </a:lnTo>
                    <a:lnTo>
                      <a:pt x="523" y="102"/>
                    </a:lnTo>
                    <a:lnTo>
                      <a:pt x="526" y="103"/>
                    </a:lnTo>
                    <a:lnTo>
                      <a:pt x="531" y="102"/>
                    </a:lnTo>
                    <a:lnTo>
                      <a:pt x="534" y="104"/>
                    </a:lnTo>
                    <a:lnTo>
                      <a:pt x="537" y="103"/>
                    </a:lnTo>
                    <a:lnTo>
                      <a:pt x="537" y="105"/>
                    </a:lnTo>
                    <a:lnTo>
                      <a:pt x="532" y="108"/>
                    </a:lnTo>
                    <a:lnTo>
                      <a:pt x="526" y="108"/>
                    </a:lnTo>
                    <a:lnTo>
                      <a:pt x="522" y="110"/>
                    </a:lnTo>
                    <a:lnTo>
                      <a:pt x="518" y="110"/>
                    </a:lnTo>
                    <a:lnTo>
                      <a:pt x="515" y="113"/>
                    </a:lnTo>
                    <a:lnTo>
                      <a:pt x="513" y="114"/>
                    </a:lnTo>
                    <a:lnTo>
                      <a:pt x="506" y="117"/>
                    </a:lnTo>
                    <a:lnTo>
                      <a:pt x="505" y="118"/>
                    </a:lnTo>
                    <a:lnTo>
                      <a:pt x="506" y="121"/>
                    </a:lnTo>
                    <a:lnTo>
                      <a:pt x="507" y="122"/>
                    </a:lnTo>
                    <a:lnTo>
                      <a:pt x="509" y="122"/>
                    </a:lnTo>
                    <a:lnTo>
                      <a:pt x="519" y="119"/>
                    </a:lnTo>
                    <a:lnTo>
                      <a:pt x="526" y="122"/>
                    </a:lnTo>
                    <a:lnTo>
                      <a:pt x="531" y="122"/>
                    </a:lnTo>
                    <a:lnTo>
                      <a:pt x="532" y="123"/>
                    </a:lnTo>
                    <a:lnTo>
                      <a:pt x="531" y="125"/>
                    </a:lnTo>
                    <a:lnTo>
                      <a:pt x="534" y="125"/>
                    </a:lnTo>
                    <a:lnTo>
                      <a:pt x="534" y="127"/>
                    </a:lnTo>
                    <a:lnTo>
                      <a:pt x="531" y="129"/>
                    </a:lnTo>
                    <a:lnTo>
                      <a:pt x="518" y="130"/>
                    </a:lnTo>
                    <a:lnTo>
                      <a:pt x="516" y="131"/>
                    </a:lnTo>
                    <a:lnTo>
                      <a:pt x="515" y="133"/>
                    </a:lnTo>
                    <a:lnTo>
                      <a:pt x="510" y="137"/>
                    </a:lnTo>
                    <a:lnTo>
                      <a:pt x="507" y="137"/>
                    </a:lnTo>
                    <a:lnTo>
                      <a:pt x="505" y="137"/>
                    </a:lnTo>
                    <a:lnTo>
                      <a:pt x="501" y="136"/>
                    </a:lnTo>
                    <a:lnTo>
                      <a:pt x="496" y="137"/>
                    </a:lnTo>
                    <a:lnTo>
                      <a:pt x="492" y="139"/>
                    </a:lnTo>
                    <a:lnTo>
                      <a:pt x="486" y="143"/>
                    </a:lnTo>
                    <a:lnTo>
                      <a:pt x="479" y="145"/>
                    </a:lnTo>
                    <a:lnTo>
                      <a:pt x="476" y="147"/>
                    </a:lnTo>
                    <a:lnTo>
                      <a:pt x="476" y="149"/>
                    </a:lnTo>
                    <a:lnTo>
                      <a:pt x="474" y="150"/>
                    </a:lnTo>
                    <a:lnTo>
                      <a:pt x="473" y="152"/>
                    </a:lnTo>
                    <a:lnTo>
                      <a:pt x="471" y="153"/>
                    </a:lnTo>
                    <a:lnTo>
                      <a:pt x="473" y="153"/>
                    </a:lnTo>
                    <a:lnTo>
                      <a:pt x="477" y="151"/>
                    </a:lnTo>
                    <a:lnTo>
                      <a:pt x="481" y="151"/>
                    </a:lnTo>
                    <a:lnTo>
                      <a:pt x="488" y="147"/>
                    </a:lnTo>
                    <a:lnTo>
                      <a:pt x="492" y="148"/>
                    </a:lnTo>
                    <a:lnTo>
                      <a:pt x="491" y="150"/>
                    </a:lnTo>
                    <a:lnTo>
                      <a:pt x="487" y="150"/>
                    </a:lnTo>
                    <a:lnTo>
                      <a:pt x="486" y="151"/>
                    </a:lnTo>
                    <a:lnTo>
                      <a:pt x="487" y="152"/>
                    </a:lnTo>
                    <a:lnTo>
                      <a:pt x="491" y="152"/>
                    </a:lnTo>
                    <a:lnTo>
                      <a:pt x="492" y="152"/>
                    </a:lnTo>
                    <a:lnTo>
                      <a:pt x="492" y="153"/>
                    </a:lnTo>
                    <a:lnTo>
                      <a:pt x="483" y="154"/>
                    </a:lnTo>
                    <a:lnTo>
                      <a:pt x="480" y="156"/>
                    </a:lnTo>
                    <a:lnTo>
                      <a:pt x="479" y="158"/>
                    </a:lnTo>
                    <a:lnTo>
                      <a:pt x="481" y="160"/>
                    </a:lnTo>
                    <a:lnTo>
                      <a:pt x="488" y="161"/>
                    </a:lnTo>
                    <a:lnTo>
                      <a:pt x="491" y="162"/>
                    </a:lnTo>
                    <a:lnTo>
                      <a:pt x="491" y="163"/>
                    </a:lnTo>
                    <a:lnTo>
                      <a:pt x="485" y="164"/>
                    </a:lnTo>
                    <a:lnTo>
                      <a:pt x="483" y="167"/>
                    </a:lnTo>
                    <a:lnTo>
                      <a:pt x="482" y="167"/>
                    </a:lnTo>
                    <a:lnTo>
                      <a:pt x="477" y="165"/>
                    </a:lnTo>
                    <a:lnTo>
                      <a:pt x="472" y="164"/>
                    </a:lnTo>
                    <a:lnTo>
                      <a:pt x="463" y="165"/>
                    </a:lnTo>
                    <a:lnTo>
                      <a:pt x="457" y="163"/>
                    </a:lnTo>
                    <a:lnTo>
                      <a:pt x="455" y="163"/>
                    </a:lnTo>
                    <a:lnTo>
                      <a:pt x="449" y="165"/>
                    </a:lnTo>
                    <a:lnTo>
                      <a:pt x="444" y="162"/>
                    </a:lnTo>
                    <a:lnTo>
                      <a:pt x="431" y="164"/>
                    </a:lnTo>
                    <a:lnTo>
                      <a:pt x="426" y="166"/>
                    </a:lnTo>
                    <a:lnTo>
                      <a:pt x="424" y="168"/>
                    </a:lnTo>
                    <a:lnTo>
                      <a:pt x="423" y="170"/>
                    </a:lnTo>
                    <a:lnTo>
                      <a:pt x="424" y="171"/>
                    </a:lnTo>
                    <a:lnTo>
                      <a:pt x="429" y="174"/>
                    </a:lnTo>
                    <a:lnTo>
                      <a:pt x="437" y="175"/>
                    </a:lnTo>
                    <a:lnTo>
                      <a:pt x="441" y="176"/>
                    </a:lnTo>
                    <a:lnTo>
                      <a:pt x="442" y="178"/>
                    </a:lnTo>
                    <a:lnTo>
                      <a:pt x="441" y="180"/>
                    </a:lnTo>
                    <a:lnTo>
                      <a:pt x="441" y="182"/>
                    </a:lnTo>
                    <a:lnTo>
                      <a:pt x="441" y="183"/>
                    </a:lnTo>
                    <a:lnTo>
                      <a:pt x="440" y="183"/>
                    </a:lnTo>
                    <a:lnTo>
                      <a:pt x="440" y="177"/>
                    </a:lnTo>
                    <a:lnTo>
                      <a:pt x="438" y="176"/>
                    </a:lnTo>
                    <a:lnTo>
                      <a:pt x="431" y="177"/>
                    </a:lnTo>
                    <a:lnTo>
                      <a:pt x="420" y="173"/>
                    </a:lnTo>
                    <a:lnTo>
                      <a:pt x="409" y="177"/>
                    </a:lnTo>
                    <a:lnTo>
                      <a:pt x="407" y="177"/>
                    </a:lnTo>
                    <a:lnTo>
                      <a:pt x="407" y="176"/>
                    </a:lnTo>
                    <a:lnTo>
                      <a:pt x="412" y="174"/>
                    </a:lnTo>
                    <a:lnTo>
                      <a:pt x="415" y="171"/>
                    </a:lnTo>
                    <a:lnTo>
                      <a:pt x="417" y="166"/>
                    </a:lnTo>
                    <a:lnTo>
                      <a:pt x="417" y="165"/>
                    </a:lnTo>
                    <a:lnTo>
                      <a:pt x="412" y="161"/>
                    </a:lnTo>
                    <a:lnTo>
                      <a:pt x="405" y="157"/>
                    </a:lnTo>
                    <a:lnTo>
                      <a:pt x="406" y="155"/>
                    </a:lnTo>
                    <a:lnTo>
                      <a:pt x="405" y="154"/>
                    </a:lnTo>
                    <a:lnTo>
                      <a:pt x="403" y="151"/>
                    </a:lnTo>
                    <a:lnTo>
                      <a:pt x="400" y="149"/>
                    </a:lnTo>
                    <a:lnTo>
                      <a:pt x="398" y="146"/>
                    </a:lnTo>
                    <a:lnTo>
                      <a:pt x="398" y="144"/>
                    </a:lnTo>
                    <a:lnTo>
                      <a:pt x="398" y="143"/>
                    </a:lnTo>
                    <a:lnTo>
                      <a:pt x="384" y="147"/>
                    </a:lnTo>
                    <a:lnTo>
                      <a:pt x="381" y="149"/>
                    </a:lnTo>
                    <a:lnTo>
                      <a:pt x="380" y="149"/>
                    </a:lnTo>
                    <a:lnTo>
                      <a:pt x="381" y="149"/>
                    </a:lnTo>
                    <a:lnTo>
                      <a:pt x="384" y="149"/>
                    </a:lnTo>
                    <a:lnTo>
                      <a:pt x="385" y="149"/>
                    </a:lnTo>
                    <a:lnTo>
                      <a:pt x="387" y="153"/>
                    </a:lnTo>
                    <a:lnTo>
                      <a:pt x="386" y="155"/>
                    </a:lnTo>
                    <a:lnTo>
                      <a:pt x="384" y="151"/>
                    </a:lnTo>
                    <a:lnTo>
                      <a:pt x="381" y="151"/>
                    </a:lnTo>
                    <a:lnTo>
                      <a:pt x="378" y="151"/>
                    </a:lnTo>
                    <a:lnTo>
                      <a:pt x="377" y="153"/>
                    </a:lnTo>
                    <a:lnTo>
                      <a:pt x="374" y="155"/>
                    </a:lnTo>
                    <a:lnTo>
                      <a:pt x="374" y="157"/>
                    </a:lnTo>
                    <a:lnTo>
                      <a:pt x="371" y="156"/>
                    </a:lnTo>
                    <a:lnTo>
                      <a:pt x="371" y="153"/>
                    </a:lnTo>
                    <a:lnTo>
                      <a:pt x="372" y="152"/>
                    </a:lnTo>
                    <a:lnTo>
                      <a:pt x="370" y="152"/>
                    </a:lnTo>
                    <a:lnTo>
                      <a:pt x="365" y="155"/>
                    </a:lnTo>
                    <a:lnTo>
                      <a:pt x="361" y="155"/>
                    </a:lnTo>
                    <a:lnTo>
                      <a:pt x="360" y="157"/>
                    </a:lnTo>
                    <a:lnTo>
                      <a:pt x="358" y="156"/>
                    </a:lnTo>
                    <a:lnTo>
                      <a:pt x="354" y="159"/>
                    </a:lnTo>
                    <a:lnTo>
                      <a:pt x="354" y="160"/>
                    </a:lnTo>
                    <a:lnTo>
                      <a:pt x="354" y="161"/>
                    </a:lnTo>
                    <a:lnTo>
                      <a:pt x="358" y="163"/>
                    </a:lnTo>
                    <a:lnTo>
                      <a:pt x="364" y="163"/>
                    </a:lnTo>
                    <a:lnTo>
                      <a:pt x="363" y="161"/>
                    </a:lnTo>
                    <a:lnTo>
                      <a:pt x="362" y="159"/>
                    </a:lnTo>
                    <a:lnTo>
                      <a:pt x="363" y="159"/>
                    </a:lnTo>
                    <a:lnTo>
                      <a:pt x="364" y="161"/>
                    </a:lnTo>
                    <a:lnTo>
                      <a:pt x="367" y="161"/>
                    </a:lnTo>
                    <a:lnTo>
                      <a:pt x="368" y="162"/>
                    </a:lnTo>
                    <a:lnTo>
                      <a:pt x="375" y="161"/>
                    </a:lnTo>
                    <a:lnTo>
                      <a:pt x="379" y="160"/>
                    </a:lnTo>
                    <a:lnTo>
                      <a:pt x="380" y="161"/>
                    </a:lnTo>
                    <a:lnTo>
                      <a:pt x="377" y="162"/>
                    </a:lnTo>
                    <a:lnTo>
                      <a:pt x="361" y="164"/>
                    </a:lnTo>
                    <a:lnTo>
                      <a:pt x="357" y="165"/>
                    </a:lnTo>
                    <a:lnTo>
                      <a:pt x="355" y="167"/>
                    </a:lnTo>
                    <a:lnTo>
                      <a:pt x="355" y="169"/>
                    </a:lnTo>
                    <a:lnTo>
                      <a:pt x="358" y="171"/>
                    </a:lnTo>
                    <a:lnTo>
                      <a:pt x="357" y="172"/>
                    </a:lnTo>
                    <a:lnTo>
                      <a:pt x="358" y="172"/>
                    </a:lnTo>
                    <a:lnTo>
                      <a:pt x="374" y="171"/>
                    </a:lnTo>
                    <a:lnTo>
                      <a:pt x="379" y="168"/>
                    </a:lnTo>
                    <a:lnTo>
                      <a:pt x="378" y="170"/>
                    </a:lnTo>
                    <a:lnTo>
                      <a:pt x="374" y="171"/>
                    </a:lnTo>
                    <a:lnTo>
                      <a:pt x="360" y="174"/>
                    </a:lnTo>
                    <a:lnTo>
                      <a:pt x="357" y="176"/>
                    </a:lnTo>
                    <a:lnTo>
                      <a:pt x="353" y="177"/>
                    </a:lnTo>
                    <a:lnTo>
                      <a:pt x="350" y="178"/>
                    </a:lnTo>
                    <a:lnTo>
                      <a:pt x="350" y="180"/>
                    </a:lnTo>
                    <a:lnTo>
                      <a:pt x="349" y="180"/>
                    </a:lnTo>
                    <a:lnTo>
                      <a:pt x="349" y="174"/>
                    </a:lnTo>
                    <a:lnTo>
                      <a:pt x="354" y="171"/>
                    </a:lnTo>
                    <a:lnTo>
                      <a:pt x="350" y="167"/>
                    </a:lnTo>
                    <a:lnTo>
                      <a:pt x="349" y="167"/>
                    </a:lnTo>
                    <a:lnTo>
                      <a:pt x="347" y="164"/>
                    </a:lnTo>
                    <a:lnTo>
                      <a:pt x="344" y="163"/>
                    </a:lnTo>
                    <a:lnTo>
                      <a:pt x="343" y="162"/>
                    </a:lnTo>
                    <a:lnTo>
                      <a:pt x="341" y="162"/>
                    </a:lnTo>
                    <a:lnTo>
                      <a:pt x="341" y="163"/>
                    </a:lnTo>
                    <a:lnTo>
                      <a:pt x="339" y="164"/>
                    </a:lnTo>
                    <a:lnTo>
                      <a:pt x="339" y="165"/>
                    </a:lnTo>
                    <a:lnTo>
                      <a:pt x="341" y="167"/>
                    </a:lnTo>
                    <a:lnTo>
                      <a:pt x="340" y="167"/>
                    </a:lnTo>
                    <a:lnTo>
                      <a:pt x="335" y="166"/>
                    </a:lnTo>
                    <a:lnTo>
                      <a:pt x="333" y="167"/>
                    </a:lnTo>
                    <a:lnTo>
                      <a:pt x="333" y="169"/>
                    </a:lnTo>
                    <a:lnTo>
                      <a:pt x="331" y="168"/>
                    </a:lnTo>
                    <a:lnTo>
                      <a:pt x="330" y="166"/>
                    </a:lnTo>
                    <a:lnTo>
                      <a:pt x="328" y="165"/>
                    </a:lnTo>
                    <a:lnTo>
                      <a:pt x="322" y="167"/>
                    </a:lnTo>
                    <a:lnTo>
                      <a:pt x="320" y="169"/>
                    </a:lnTo>
                    <a:lnTo>
                      <a:pt x="317" y="167"/>
                    </a:lnTo>
                    <a:lnTo>
                      <a:pt x="314" y="168"/>
                    </a:lnTo>
                    <a:lnTo>
                      <a:pt x="313" y="169"/>
                    </a:lnTo>
                    <a:lnTo>
                      <a:pt x="314" y="170"/>
                    </a:lnTo>
                    <a:lnTo>
                      <a:pt x="317" y="172"/>
                    </a:lnTo>
                    <a:lnTo>
                      <a:pt x="319" y="174"/>
                    </a:lnTo>
                    <a:lnTo>
                      <a:pt x="323" y="175"/>
                    </a:lnTo>
                    <a:lnTo>
                      <a:pt x="315" y="177"/>
                    </a:lnTo>
                    <a:lnTo>
                      <a:pt x="306" y="178"/>
                    </a:lnTo>
                    <a:lnTo>
                      <a:pt x="301" y="180"/>
                    </a:lnTo>
                    <a:lnTo>
                      <a:pt x="304" y="181"/>
                    </a:lnTo>
                    <a:lnTo>
                      <a:pt x="305" y="183"/>
                    </a:lnTo>
                    <a:lnTo>
                      <a:pt x="309" y="186"/>
                    </a:lnTo>
                    <a:lnTo>
                      <a:pt x="311" y="189"/>
                    </a:lnTo>
                    <a:lnTo>
                      <a:pt x="312" y="190"/>
                    </a:lnTo>
                    <a:lnTo>
                      <a:pt x="318" y="189"/>
                    </a:lnTo>
                    <a:lnTo>
                      <a:pt x="337" y="189"/>
                    </a:lnTo>
                    <a:lnTo>
                      <a:pt x="313" y="192"/>
                    </a:lnTo>
                    <a:lnTo>
                      <a:pt x="310" y="193"/>
                    </a:lnTo>
                    <a:lnTo>
                      <a:pt x="308" y="194"/>
                    </a:lnTo>
                    <a:lnTo>
                      <a:pt x="308" y="195"/>
                    </a:lnTo>
                    <a:lnTo>
                      <a:pt x="313" y="198"/>
                    </a:lnTo>
                    <a:lnTo>
                      <a:pt x="314" y="199"/>
                    </a:lnTo>
                    <a:lnTo>
                      <a:pt x="313" y="200"/>
                    </a:lnTo>
                    <a:lnTo>
                      <a:pt x="312" y="198"/>
                    </a:lnTo>
                    <a:lnTo>
                      <a:pt x="305" y="197"/>
                    </a:lnTo>
                    <a:lnTo>
                      <a:pt x="294" y="195"/>
                    </a:lnTo>
                    <a:lnTo>
                      <a:pt x="292" y="196"/>
                    </a:lnTo>
                    <a:lnTo>
                      <a:pt x="287" y="195"/>
                    </a:lnTo>
                    <a:lnTo>
                      <a:pt x="282" y="196"/>
                    </a:lnTo>
                    <a:lnTo>
                      <a:pt x="289" y="199"/>
                    </a:lnTo>
                    <a:lnTo>
                      <a:pt x="288" y="201"/>
                    </a:lnTo>
                    <a:lnTo>
                      <a:pt x="289" y="202"/>
                    </a:lnTo>
                    <a:lnTo>
                      <a:pt x="286" y="203"/>
                    </a:lnTo>
                    <a:lnTo>
                      <a:pt x="286" y="201"/>
                    </a:lnTo>
                    <a:lnTo>
                      <a:pt x="282" y="197"/>
                    </a:lnTo>
                    <a:lnTo>
                      <a:pt x="280" y="197"/>
                    </a:lnTo>
                    <a:lnTo>
                      <a:pt x="276" y="198"/>
                    </a:lnTo>
                    <a:lnTo>
                      <a:pt x="276" y="200"/>
                    </a:lnTo>
                    <a:lnTo>
                      <a:pt x="279" y="201"/>
                    </a:lnTo>
                    <a:lnTo>
                      <a:pt x="279" y="202"/>
                    </a:lnTo>
                    <a:lnTo>
                      <a:pt x="281" y="204"/>
                    </a:lnTo>
                    <a:lnTo>
                      <a:pt x="282" y="208"/>
                    </a:lnTo>
                    <a:lnTo>
                      <a:pt x="289" y="209"/>
                    </a:lnTo>
                    <a:lnTo>
                      <a:pt x="299" y="208"/>
                    </a:lnTo>
                    <a:lnTo>
                      <a:pt x="300" y="209"/>
                    </a:lnTo>
                    <a:lnTo>
                      <a:pt x="299" y="210"/>
                    </a:lnTo>
                    <a:lnTo>
                      <a:pt x="291" y="210"/>
                    </a:lnTo>
                    <a:lnTo>
                      <a:pt x="289" y="212"/>
                    </a:lnTo>
                    <a:lnTo>
                      <a:pt x="293" y="214"/>
                    </a:lnTo>
                    <a:lnTo>
                      <a:pt x="300" y="212"/>
                    </a:lnTo>
                    <a:lnTo>
                      <a:pt x="309" y="209"/>
                    </a:lnTo>
                    <a:lnTo>
                      <a:pt x="310" y="209"/>
                    </a:lnTo>
                    <a:lnTo>
                      <a:pt x="309" y="210"/>
                    </a:lnTo>
                    <a:lnTo>
                      <a:pt x="305" y="211"/>
                    </a:lnTo>
                    <a:lnTo>
                      <a:pt x="305" y="212"/>
                    </a:lnTo>
                    <a:lnTo>
                      <a:pt x="305" y="213"/>
                    </a:lnTo>
                    <a:lnTo>
                      <a:pt x="306" y="214"/>
                    </a:lnTo>
                    <a:lnTo>
                      <a:pt x="313" y="212"/>
                    </a:lnTo>
                    <a:lnTo>
                      <a:pt x="316" y="213"/>
                    </a:lnTo>
                    <a:lnTo>
                      <a:pt x="315" y="214"/>
                    </a:lnTo>
                    <a:lnTo>
                      <a:pt x="314" y="215"/>
                    </a:lnTo>
                    <a:lnTo>
                      <a:pt x="299" y="215"/>
                    </a:lnTo>
                    <a:lnTo>
                      <a:pt x="297" y="216"/>
                    </a:lnTo>
                    <a:lnTo>
                      <a:pt x="296" y="216"/>
                    </a:lnTo>
                    <a:lnTo>
                      <a:pt x="297" y="218"/>
                    </a:lnTo>
                    <a:lnTo>
                      <a:pt x="300" y="220"/>
                    </a:lnTo>
                    <a:lnTo>
                      <a:pt x="301" y="221"/>
                    </a:lnTo>
                    <a:lnTo>
                      <a:pt x="302" y="222"/>
                    </a:lnTo>
                    <a:lnTo>
                      <a:pt x="307" y="224"/>
                    </a:lnTo>
                    <a:lnTo>
                      <a:pt x="312" y="224"/>
                    </a:lnTo>
                    <a:lnTo>
                      <a:pt x="314" y="226"/>
                    </a:lnTo>
                    <a:lnTo>
                      <a:pt x="317" y="228"/>
                    </a:lnTo>
                    <a:lnTo>
                      <a:pt x="318" y="230"/>
                    </a:lnTo>
                    <a:lnTo>
                      <a:pt x="314" y="228"/>
                    </a:lnTo>
                    <a:lnTo>
                      <a:pt x="310" y="225"/>
                    </a:lnTo>
                    <a:lnTo>
                      <a:pt x="306" y="224"/>
                    </a:lnTo>
                    <a:lnTo>
                      <a:pt x="302" y="223"/>
                    </a:lnTo>
                    <a:lnTo>
                      <a:pt x="297" y="222"/>
                    </a:lnTo>
                    <a:lnTo>
                      <a:pt x="305" y="226"/>
                    </a:lnTo>
                    <a:lnTo>
                      <a:pt x="306" y="226"/>
                    </a:lnTo>
                    <a:lnTo>
                      <a:pt x="306" y="227"/>
                    </a:lnTo>
                    <a:lnTo>
                      <a:pt x="304" y="228"/>
                    </a:lnTo>
                    <a:lnTo>
                      <a:pt x="296" y="223"/>
                    </a:lnTo>
                    <a:lnTo>
                      <a:pt x="293" y="223"/>
                    </a:lnTo>
                    <a:lnTo>
                      <a:pt x="289" y="224"/>
                    </a:lnTo>
                    <a:lnTo>
                      <a:pt x="289" y="222"/>
                    </a:lnTo>
                    <a:lnTo>
                      <a:pt x="289" y="220"/>
                    </a:lnTo>
                    <a:lnTo>
                      <a:pt x="288" y="218"/>
                    </a:lnTo>
                    <a:lnTo>
                      <a:pt x="288" y="217"/>
                    </a:lnTo>
                    <a:lnTo>
                      <a:pt x="290" y="216"/>
                    </a:lnTo>
                    <a:lnTo>
                      <a:pt x="290" y="214"/>
                    </a:lnTo>
                    <a:lnTo>
                      <a:pt x="286" y="214"/>
                    </a:lnTo>
                    <a:lnTo>
                      <a:pt x="283" y="211"/>
                    </a:lnTo>
                    <a:lnTo>
                      <a:pt x="275" y="207"/>
                    </a:lnTo>
                    <a:lnTo>
                      <a:pt x="274" y="206"/>
                    </a:lnTo>
                    <a:lnTo>
                      <a:pt x="274" y="203"/>
                    </a:lnTo>
                    <a:lnTo>
                      <a:pt x="271" y="200"/>
                    </a:lnTo>
                    <a:lnTo>
                      <a:pt x="268" y="200"/>
                    </a:lnTo>
                    <a:lnTo>
                      <a:pt x="262" y="202"/>
                    </a:lnTo>
                    <a:lnTo>
                      <a:pt x="261" y="203"/>
                    </a:lnTo>
                    <a:lnTo>
                      <a:pt x="261" y="205"/>
                    </a:lnTo>
                    <a:lnTo>
                      <a:pt x="260" y="206"/>
                    </a:lnTo>
                    <a:lnTo>
                      <a:pt x="254" y="210"/>
                    </a:lnTo>
                    <a:lnTo>
                      <a:pt x="255" y="212"/>
                    </a:lnTo>
                    <a:lnTo>
                      <a:pt x="259" y="212"/>
                    </a:lnTo>
                    <a:lnTo>
                      <a:pt x="261" y="210"/>
                    </a:lnTo>
                    <a:lnTo>
                      <a:pt x="259" y="209"/>
                    </a:lnTo>
                    <a:lnTo>
                      <a:pt x="260" y="208"/>
                    </a:lnTo>
                    <a:lnTo>
                      <a:pt x="262" y="208"/>
                    </a:lnTo>
                    <a:lnTo>
                      <a:pt x="265" y="212"/>
                    </a:lnTo>
                    <a:lnTo>
                      <a:pt x="276" y="217"/>
                    </a:lnTo>
                    <a:lnTo>
                      <a:pt x="277" y="219"/>
                    </a:lnTo>
                    <a:lnTo>
                      <a:pt x="279" y="220"/>
                    </a:lnTo>
                    <a:lnTo>
                      <a:pt x="280" y="221"/>
                    </a:lnTo>
                    <a:lnTo>
                      <a:pt x="277" y="222"/>
                    </a:lnTo>
                    <a:lnTo>
                      <a:pt x="277" y="226"/>
                    </a:lnTo>
                    <a:lnTo>
                      <a:pt x="278" y="228"/>
                    </a:lnTo>
                    <a:lnTo>
                      <a:pt x="283" y="230"/>
                    </a:lnTo>
                    <a:lnTo>
                      <a:pt x="289" y="232"/>
                    </a:lnTo>
                    <a:lnTo>
                      <a:pt x="291" y="234"/>
                    </a:lnTo>
                    <a:lnTo>
                      <a:pt x="297" y="236"/>
                    </a:lnTo>
                    <a:lnTo>
                      <a:pt x="300" y="238"/>
                    </a:lnTo>
                    <a:lnTo>
                      <a:pt x="307" y="241"/>
                    </a:lnTo>
                    <a:lnTo>
                      <a:pt x="308" y="246"/>
                    </a:lnTo>
                    <a:lnTo>
                      <a:pt x="306" y="248"/>
                    </a:lnTo>
                    <a:lnTo>
                      <a:pt x="306" y="244"/>
                    </a:lnTo>
                    <a:lnTo>
                      <a:pt x="302" y="241"/>
                    </a:lnTo>
                    <a:lnTo>
                      <a:pt x="297" y="241"/>
                    </a:lnTo>
                    <a:lnTo>
                      <a:pt x="288" y="234"/>
                    </a:lnTo>
                    <a:lnTo>
                      <a:pt x="281" y="233"/>
                    </a:lnTo>
                    <a:lnTo>
                      <a:pt x="276" y="231"/>
                    </a:lnTo>
                    <a:lnTo>
                      <a:pt x="275" y="229"/>
                    </a:lnTo>
                    <a:lnTo>
                      <a:pt x="274" y="224"/>
                    </a:lnTo>
                    <a:lnTo>
                      <a:pt x="272" y="222"/>
                    </a:lnTo>
                    <a:lnTo>
                      <a:pt x="272" y="220"/>
                    </a:lnTo>
                    <a:lnTo>
                      <a:pt x="271" y="218"/>
                    </a:lnTo>
                    <a:lnTo>
                      <a:pt x="270" y="217"/>
                    </a:lnTo>
                    <a:lnTo>
                      <a:pt x="264" y="214"/>
                    </a:lnTo>
                    <a:lnTo>
                      <a:pt x="261" y="214"/>
                    </a:lnTo>
                    <a:lnTo>
                      <a:pt x="255" y="216"/>
                    </a:lnTo>
                    <a:lnTo>
                      <a:pt x="250" y="217"/>
                    </a:lnTo>
                    <a:lnTo>
                      <a:pt x="249" y="217"/>
                    </a:lnTo>
                    <a:lnTo>
                      <a:pt x="246" y="218"/>
                    </a:lnTo>
                    <a:lnTo>
                      <a:pt x="242" y="219"/>
                    </a:lnTo>
                    <a:lnTo>
                      <a:pt x="239" y="220"/>
                    </a:lnTo>
                    <a:lnTo>
                      <a:pt x="237" y="220"/>
                    </a:lnTo>
                    <a:lnTo>
                      <a:pt x="238" y="220"/>
                    </a:lnTo>
                    <a:lnTo>
                      <a:pt x="239" y="220"/>
                    </a:lnTo>
                    <a:lnTo>
                      <a:pt x="245" y="216"/>
                    </a:lnTo>
                    <a:lnTo>
                      <a:pt x="247" y="214"/>
                    </a:lnTo>
                    <a:lnTo>
                      <a:pt x="244" y="214"/>
                    </a:lnTo>
                    <a:lnTo>
                      <a:pt x="239" y="214"/>
                    </a:lnTo>
                    <a:lnTo>
                      <a:pt x="234" y="215"/>
                    </a:lnTo>
                    <a:lnTo>
                      <a:pt x="230" y="218"/>
                    </a:lnTo>
                    <a:lnTo>
                      <a:pt x="227" y="219"/>
                    </a:lnTo>
                    <a:lnTo>
                      <a:pt x="222" y="220"/>
                    </a:lnTo>
                    <a:lnTo>
                      <a:pt x="221" y="220"/>
                    </a:lnTo>
                    <a:lnTo>
                      <a:pt x="220" y="220"/>
                    </a:lnTo>
                    <a:lnTo>
                      <a:pt x="220" y="218"/>
                    </a:lnTo>
                    <a:lnTo>
                      <a:pt x="218" y="216"/>
                    </a:lnTo>
                    <a:lnTo>
                      <a:pt x="215" y="216"/>
                    </a:lnTo>
                    <a:lnTo>
                      <a:pt x="214" y="214"/>
                    </a:lnTo>
                    <a:lnTo>
                      <a:pt x="211" y="212"/>
                    </a:lnTo>
                    <a:lnTo>
                      <a:pt x="209" y="211"/>
                    </a:lnTo>
                    <a:lnTo>
                      <a:pt x="206" y="210"/>
                    </a:lnTo>
                    <a:lnTo>
                      <a:pt x="193" y="212"/>
                    </a:lnTo>
                    <a:lnTo>
                      <a:pt x="191" y="214"/>
                    </a:lnTo>
                    <a:lnTo>
                      <a:pt x="189" y="214"/>
                    </a:lnTo>
                    <a:lnTo>
                      <a:pt x="185" y="218"/>
                    </a:lnTo>
                    <a:lnTo>
                      <a:pt x="176" y="220"/>
                    </a:lnTo>
                    <a:lnTo>
                      <a:pt x="177" y="220"/>
                    </a:lnTo>
                    <a:lnTo>
                      <a:pt x="177" y="221"/>
                    </a:lnTo>
                    <a:lnTo>
                      <a:pt x="181" y="221"/>
                    </a:lnTo>
                    <a:lnTo>
                      <a:pt x="182" y="222"/>
                    </a:lnTo>
                    <a:lnTo>
                      <a:pt x="182" y="224"/>
                    </a:lnTo>
                    <a:lnTo>
                      <a:pt x="184" y="224"/>
                    </a:lnTo>
                    <a:lnTo>
                      <a:pt x="185" y="228"/>
                    </a:lnTo>
                    <a:lnTo>
                      <a:pt x="186" y="228"/>
                    </a:lnTo>
                    <a:lnTo>
                      <a:pt x="196" y="227"/>
                    </a:lnTo>
                    <a:lnTo>
                      <a:pt x="199" y="228"/>
                    </a:lnTo>
                    <a:lnTo>
                      <a:pt x="200" y="230"/>
                    </a:lnTo>
                    <a:lnTo>
                      <a:pt x="202" y="231"/>
                    </a:lnTo>
                    <a:lnTo>
                      <a:pt x="195" y="230"/>
                    </a:lnTo>
                    <a:lnTo>
                      <a:pt x="193" y="230"/>
                    </a:lnTo>
                    <a:lnTo>
                      <a:pt x="187" y="230"/>
                    </a:lnTo>
                    <a:lnTo>
                      <a:pt x="183" y="232"/>
                    </a:lnTo>
                    <a:lnTo>
                      <a:pt x="183" y="234"/>
                    </a:lnTo>
                    <a:lnTo>
                      <a:pt x="182" y="236"/>
                    </a:lnTo>
                    <a:lnTo>
                      <a:pt x="184" y="237"/>
                    </a:lnTo>
                    <a:lnTo>
                      <a:pt x="184" y="238"/>
                    </a:lnTo>
                    <a:lnTo>
                      <a:pt x="181" y="240"/>
                    </a:lnTo>
                    <a:lnTo>
                      <a:pt x="184" y="240"/>
                    </a:lnTo>
                    <a:lnTo>
                      <a:pt x="211" y="238"/>
                    </a:lnTo>
                    <a:lnTo>
                      <a:pt x="217" y="237"/>
                    </a:lnTo>
                    <a:lnTo>
                      <a:pt x="221" y="234"/>
                    </a:lnTo>
                    <a:lnTo>
                      <a:pt x="234" y="232"/>
                    </a:lnTo>
                    <a:lnTo>
                      <a:pt x="239" y="233"/>
                    </a:lnTo>
                    <a:lnTo>
                      <a:pt x="226" y="235"/>
                    </a:lnTo>
                    <a:lnTo>
                      <a:pt x="214" y="240"/>
                    </a:lnTo>
                    <a:lnTo>
                      <a:pt x="217" y="240"/>
                    </a:lnTo>
                    <a:lnTo>
                      <a:pt x="218" y="242"/>
                    </a:lnTo>
                    <a:lnTo>
                      <a:pt x="217" y="243"/>
                    </a:lnTo>
                    <a:lnTo>
                      <a:pt x="214" y="244"/>
                    </a:lnTo>
                    <a:lnTo>
                      <a:pt x="219" y="244"/>
                    </a:lnTo>
                    <a:lnTo>
                      <a:pt x="221" y="244"/>
                    </a:lnTo>
                    <a:lnTo>
                      <a:pt x="224" y="244"/>
                    </a:lnTo>
                    <a:lnTo>
                      <a:pt x="238" y="240"/>
                    </a:lnTo>
                    <a:lnTo>
                      <a:pt x="251" y="238"/>
                    </a:lnTo>
                    <a:lnTo>
                      <a:pt x="259" y="236"/>
                    </a:lnTo>
                    <a:lnTo>
                      <a:pt x="262" y="236"/>
                    </a:lnTo>
                    <a:lnTo>
                      <a:pt x="269" y="234"/>
                    </a:lnTo>
                    <a:lnTo>
                      <a:pt x="270" y="235"/>
                    </a:lnTo>
                    <a:lnTo>
                      <a:pt x="267" y="237"/>
                    </a:lnTo>
                    <a:lnTo>
                      <a:pt x="267" y="238"/>
                    </a:lnTo>
                    <a:lnTo>
                      <a:pt x="273" y="240"/>
                    </a:lnTo>
                    <a:lnTo>
                      <a:pt x="275" y="242"/>
                    </a:lnTo>
                    <a:lnTo>
                      <a:pt x="275" y="244"/>
                    </a:lnTo>
                    <a:lnTo>
                      <a:pt x="269" y="241"/>
                    </a:lnTo>
                    <a:lnTo>
                      <a:pt x="263" y="238"/>
                    </a:lnTo>
                    <a:lnTo>
                      <a:pt x="261" y="239"/>
                    </a:lnTo>
                    <a:lnTo>
                      <a:pt x="261" y="240"/>
                    </a:lnTo>
                    <a:lnTo>
                      <a:pt x="256" y="239"/>
                    </a:lnTo>
                    <a:lnTo>
                      <a:pt x="248" y="240"/>
                    </a:lnTo>
                    <a:lnTo>
                      <a:pt x="233" y="244"/>
                    </a:lnTo>
                    <a:lnTo>
                      <a:pt x="225" y="247"/>
                    </a:lnTo>
                    <a:lnTo>
                      <a:pt x="225" y="249"/>
                    </a:lnTo>
                    <a:lnTo>
                      <a:pt x="227" y="251"/>
                    </a:lnTo>
                    <a:lnTo>
                      <a:pt x="227" y="255"/>
                    </a:lnTo>
                    <a:lnTo>
                      <a:pt x="225" y="255"/>
                    </a:lnTo>
                    <a:lnTo>
                      <a:pt x="225" y="251"/>
                    </a:lnTo>
                    <a:lnTo>
                      <a:pt x="224" y="250"/>
                    </a:lnTo>
                    <a:lnTo>
                      <a:pt x="222" y="249"/>
                    </a:lnTo>
                    <a:lnTo>
                      <a:pt x="218" y="250"/>
                    </a:lnTo>
                    <a:lnTo>
                      <a:pt x="218" y="251"/>
                    </a:lnTo>
                    <a:lnTo>
                      <a:pt x="218" y="254"/>
                    </a:lnTo>
                    <a:lnTo>
                      <a:pt x="223" y="256"/>
                    </a:lnTo>
                    <a:lnTo>
                      <a:pt x="227" y="257"/>
                    </a:lnTo>
                    <a:lnTo>
                      <a:pt x="242" y="255"/>
                    </a:lnTo>
                    <a:lnTo>
                      <a:pt x="247" y="256"/>
                    </a:lnTo>
                    <a:lnTo>
                      <a:pt x="242" y="256"/>
                    </a:lnTo>
                    <a:lnTo>
                      <a:pt x="239" y="258"/>
                    </a:lnTo>
                    <a:lnTo>
                      <a:pt x="231" y="258"/>
                    </a:lnTo>
                    <a:lnTo>
                      <a:pt x="230" y="259"/>
                    </a:lnTo>
                    <a:lnTo>
                      <a:pt x="230" y="263"/>
                    </a:lnTo>
                    <a:lnTo>
                      <a:pt x="228" y="264"/>
                    </a:lnTo>
                    <a:lnTo>
                      <a:pt x="226" y="259"/>
                    </a:lnTo>
                    <a:lnTo>
                      <a:pt x="224" y="259"/>
                    </a:lnTo>
                    <a:lnTo>
                      <a:pt x="220" y="260"/>
                    </a:lnTo>
                    <a:lnTo>
                      <a:pt x="219" y="258"/>
                    </a:lnTo>
                    <a:lnTo>
                      <a:pt x="216" y="256"/>
                    </a:lnTo>
                    <a:lnTo>
                      <a:pt x="213" y="253"/>
                    </a:lnTo>
                    <a:lnTo>
                      <a:pt x="209" y="253"/>
                    </a:lnTo>
                    <a:lnTo>
                      <a:pt x="206" y="252"/>
                    </a:lnTo>
                    <a:lnTo>
                      <a:pt x="203" y="252"/>
                    </a:lnTo>
                    <a:lnTo>
                      <a:pt x="198" y="250"/>
                    </a:lnTo>
                    <a:lnTo>
                      <a:pt x="196" y="253"/>
                    </a:lnTo>
                    <a:lnTo>
                      <a:pt x="197" y="256"/>
                    </a:lnTo>
                    <a:lnTo>
                      <a:pt x="196" y="261"/>
                    </a:lnTo>
                    <a:lnTo>
                      <a:pt x="195" y="260"/>
                    </a:lnTo>
                    <a:lnTo>
                      <a:pt x="196" y="257"/>
                    </a:lnTo>
                    <a:lnTo>
                      <a:pt x="194" y="256"/>
                    </a:lnTo>
                    <a:lnTo>
                      <a:pt x="193" y="252"/>
                    </a:lnTo>
                    <a:lnTo>
                      <a:pt x="190" y="252"/>
                    </a:lnTo>
                    <a:lnTo>
                      <a:pt x="189" y="252"/>
                    </a:lnTo>
                    <a:lnTo>
                      <a:pt x="189" y="251"/>
                    </a:lnTo>
                    <a:lnTo>
                      <a:pt x="193" y="249"/>
                    </a:lnTo>
                    <a:lnTo>
                      <a:pt x="193" y="248"/>
                    </a:lnTo>
                    <a:lnTo>
                      <a:pt x="178" y="249"/>
                    </a:lnTo>
                    <a:lnTo>
                      <a:pt x="177" y="249"/>
                    </a:lnTo>
                    <a:lnTo>
                      <a:pt x="179" y="251"/>
                    </a:lnTo>
                    <a:lnTo>
                      <a:pt x="180" y="252"/>
                    </a:lnTo>
                    <a:lnTo>
                      <a:pt x="178" y="253"/>
                    </a:lnTo>
                    <a:lnTo>
                      <a:pt x="179" y="256"/>
                    </a:lnTo>
                    <a:lnTo>
                      <a:pt x="178" y="256"/>
                    </a:lnTo>
                    <a:lnTo>
                      <a:pt x="178" y="255"/>
                    </a:lnTo>
                    <a:lnTo>
                      <a:pt x="176" y="253"/>
                    </a:lnTo>
                    <a:lnTo>
                      <a:pt x="167" y="248"/>
                    </a:lnTo>
                    <a:lnTo>
                      <a:pt x="165" y="248"/>
                    </a:lnTo>
                    <a:lnTo>
                      <a:pt x="158" y="252"/>
                    </a:lnTo>
                    <a:lnTo>
                      <a:pt x="157" y="251"/>
                    </a:lnTo>
                    <a:lnTo>
                      <a:pt x="156" y="251"/>
                    </a:lnTo>
                    <a:lnTo>
                      <a:pt x="156" y="252"/>
                    </a:lnTo>
                    <a:lnTo>
                      <a:pt x="156" y="255"/>
                    </a:lnTo>
                    <a:lnTo>
                      <a:pt x="156" y="256"/>
                    </a:lnTo>
                    <a:lnTo>
                      <a:pt x="155" y="257"/>
                    </a:lnTo>
                    <a:lnTo>
                      <a:pt x="155" y="255"/>
                    </a:lnTo>
                    <a:lnTo>
                      <a:pt x="152" y="254"/>
                    </a:lnTo>
                    <a:lnTo>
                      <a:pt x="151" y="252"/>
                    </a:lnTo>
                    <a:lnTo>
                      <a:pt x="142" y="253"/>
                    </a:lnTo>
                    <a:lnTo>
                      <a:pt x="140" y="252"/>
                    </a:lnTo>
                    <a:lnTo>
                      <a:pt x="133" y="252"/>
                    </a:lnTo>
                    <a:lnTo>
                      <a:pt x="130" y="253"/>
                    </a:lnTo>
                    <a:lnTo>
                      <a:pt x="127" y="256"/>
                    </a:lnTo>
                    <a:lnTo>
                      <a:pt x="128" y="258"/>
                    </a:lnTo>
                    <a:lnTo>
                      <a:pt x="128" y="261"/>
                    </a:lnTo>
                    <a:lnTo>
                      <a:pt x="150" y="261"/>
                    </a:lnTo>
                    <a:lnTo>
                      <a:pt x="151" y="261"/>
                    </a:lnTo>
                    <a:lnTo>
                      <a:pt x="145" y="262"/>
                    </a:lnTo>
                    <a:lnTo>
                      <a:pt x="145" y="263"/>
                    </a:lnTo>
                    <a:lnTo>
                      <a:pt x="156" y="262"/>
                    </a:lnTo>
                    <a:lnTo>
                      <a:pt x="157" y="263"/>
                    </a:lnTo>
                    <a:lnTo>
                      <a:pt x="157" y="264"/>
                    </a:lnTo>
                    <a:lnTo>
                      <a:pt x="160" y="264"/>
                    </a:lnTo>
                    <a:lnTo>
                      <a:pt x="156" y="265"/>
                    </a:lnTo>
                    <a:lnTo>
                      <a:pt x="147" y="264"/>
                    </a:lnTo>
                    <a:lnTo>
                      <a:pt x="142" y="264"/>
                    </a:lnTo>
                    <a:lnTo>
                      <a:pt x="136" y="265"/>
                    </a:lnTo>
                    <a:lnTo>
                      <a:pt x="133" y="267"/>
                    </a:lnTo>
                    <a:lnTo>
                      <a:pt x="125" y="268"/>
                    </a:lnTo>
                    <a:lnTo>
                      <a:pt x="125" y="269"/>
                    </a:lnTo>
                    <a:lnTo>
                      <a:pt x="132" y="269"/>
                    </a:lnTo>
                    <a:lnTo>
                      <a:pt x="134" y="270"/>
                    </a:lnTo>
                    <a:lnTo>
                      <a:pt x="137" y="273"/>
                    </a:lnTo>
                    <a:lnTo>
                      <a:pt x="148" y="271"/>
                    </a:lnTo>
                    <a:lnTo>
                      <a:pt x="155" y="269"/>
                    </a:lnTo>
                    <a:lnTo>
                      <a:pt x="158" y="268"/>
                    </a:lnTo>
                    <a:lnTo>
                      <a:pt x="162" y="266"/>
                    </a:lnTo>
                    <a:lnTo>
                      <a:pt x="164" y="267"/>
                    </a:lnTo>
                    <a:lnTo>
                      <a:pt x="169" y="266"/>
                    </a:lnTo>
                    <a:lnTo>
                      <a:pt x="169" y="267"/>
                    </a:lnTo>
                    <a:lnTo>
                      <a:pt x="167" y="268"/>
                    </a:lnTo>
                    <a:lnTo>
                      <a:pt x="175" y="269"/>
                    </a:lnTo>
                    <a:lnTo>
                      <a:pt x="175" y="270"/>
                    </a:lnTo>
                    <a:lnTo>
                      <a:pt x="178" y="272"/>
                    </a:lnTo>
                    <a:lnTo>
                      <a:pt x="179" y="275"/>
                    </a:lnTo>
                    <a:lnTo>
                      <a:pt x="183" y="276"/>
                    </a:lnTo>
                    <a:lnTo>
                      <a:pt x="183" y="277"/>
                    </a:lnTo>
                    <a:lnTo>
                      <a:pt x="179" y="278"/>
                    </a:lnTo>
                    <a:lnTo>
                      <a:pt x="183" y="284"/>
                    </a:lnTo>
                    <a:lnTo>
                      <a:pt x="200" y="287"/>
                    </a:lnTo>
                    <a:lnTo>
                      <a:pt x="208" y="286"/>
                    </a:lnTo>
                    <a:lnTo>
                      <a:pt x="212" y="287"/>
                    </a:lnTo>
                    <a:lnTo>
                      <a:pt x="217" y="290"/>
                    </a:lnTo>
                    <a:lnTo>
                      <a:pt x="218" y="292"/>
                    </a:lnTo>
                    <a:lnTo>
                      <a:pt x="218" y="293"/>
                    </a:lnTo>
                    <a:lnTo>
                      <a:pt x="216" y="292"/>
                    </a:lnTo>
                    <a:lnTo>
                      <a:pt x="212" y="288"/>
                    </a:lnTo>
                    <a:lnTo>
                      <a:pt x="209" y="287"/>
                    </a:lnTo>
                    <a:lnTo>
                      <a:pt x="205" y="288"/>
                    </a:lnTo>
                    <a:lnTo>
                      <a:pt x="204" y="290"/>
                    </a:lnTo>
                    <a:lnTo>
                      <a:pt x="197" y="289"/>
                    </a:lnTo>
                    <a:lnTo>
                      <a:pt x="195" y="287"/>
                    </a:lnTo>
                    <a:lnTo>
                      <a:pt x="189" y="288"/>
                    </a:lnTo>
                    <a:lnTo>
                      <a:pt x="187" y="288"/>
                    </a:lnTo>
                    <a:lnTo>
                      <a:pt x="189" y="294"/>
                    </a:lnTo>
                    <a:lnTo>
                      <a:pt x="189" y="297"/>
                    </a:lnTo>
                    <a:lnTo>
                      <a:pt x="187" y="300"/>
                    </a:lnTo>
                    <a:lnTo>
                      <a:pt x="183" y="303"/>
                    </a:lnTo>
                    <a:lnTo>
                      <a:pt x="183" y="305"/>
                    </a:lnTo>
                    <a:lnTo>
                      <a:pt x="186" y="306"/>
                    </a:lnTo>
                    <a:lnTo>
                      <a:pt x="189" y="306"/>
                    </a:lnTo>
                    <a:lnTo>
                      <a:pt x="194" y="303"/>
                    </a:lnTo>
                    <a:lnTo>
                      <a:pt x="196" y="303"/>
                    </a:lnTo>
                    <a:lnTo>
                      <a:pt x="198" y="303"/>
                    </a:lnTo>
                    <a:lnTo>
                      <a:pt x="200" y="306"/>
                    </a:lnTo>
                    <a:lnTo>
                      <a:pt x="197" y="305"/>
                    </a:lnTo>
                    <a:lnTo>
                      <a:pt x="189" y="307"/>
                    </a:lnTo>
                    <a:lnTo>
                      <a:pt x="184" y="307"/>
                    </a:lnTo>
                    <a:lnTo>
                      <a:pt x="182" y="306"/>
                    </a:lnTo>
                    <a:lnTo>
                      <a:pt x="181" y="304"/>
                    </a:lnTo>
                    <a:lnTo>
                      <a:pt x="181" y="301"/>
                    </a:lnTo>
                    <a:lnTo>
                      <a:pt x="186" y="298"/>
                    </a:lnTo>
                    <a:lnTo>
                      <a:pt x="186" y="297"/>
                    </a:lnTo>
                    <a:lnTo>
                      <a:pt x="185" y="290"/>
                    </a:lnTo>
                    <a:lnTo>
                      <a:pt x="185" y="287"/>
                    </a:lnTo>
                    <a:lnTo>
                      <a:pt x="180" y="284"/>
                    </a:lnTo>
                    <a:lnTo>
                      <a:pt x="179" y="282"/>
                    </a:lnTo>
                    <a:lnTo>
                      <a:pt x="175" y="279"/>
                    </a:lnTo>
                    <a:lnTo>
                      <a:pt x="176" y="273"/>
                    </a:lnTo>
                    <a:lnTo>
                      <a:pt x="173" y="272"/>
                    </a:lnTo>
                    <a:lnTo>
                      <a:pt x="166" y="271"/>
                    </a:lnTo>
                    <a:lnTo>
                      <a:pt x="162" y="269"/>
                    </a:lnTo>
                    <a:lnTo>
                      <a:pt x="150" y="274"/>
                    </a:lnTo>
                    <a:lnTo>
                      <a:pt x="151" y="275"/>
                    </a:lnTo>
                    <a:lnTo>
                      <a:pt x="151" y="276"/>
                    </a:lnTo>
                    <a:lnTo>
                      <a:pt x="152" y="279"/>
                    </a:lnTo>
                    <a:lnTo>
                      <a:pt x="146" y="275"/>
                    </a:lnTo>
                    <a:lnTo>
                      <a:pt x="141" y="275"/>
                    </a:lnTo>
                    <a:lnTo>
                      <a:pt x="138" y="276"/>
                    </a:lnTo>
                    <a:lnTo>
                      <a:pt x="138" y="277"/>
                    </a:lnTo>
                    <a:lnTo>
                      <a:pt x="138" y="280"/>
                    </a:lnTo>
                    <a:lnTo>
                      <a:pt x="139" y="283"/>
                    </a:lnTo>
                    <a:lnTo>
                      <a:pt x="145" y="289"/>
                    </a:lnTo>
                    <a:lnTo>
                      <a:pt x="153" y="301"/>
                    </a:lnTo>
                    <a:lnTo>
                      <a:pt x="153" y="303"/>
                    </a:lnTo>
                    <a:lnTo>
                      <a:pt x="151" y="304"/>
                    </a:lnTo>
                    <a:lnTo>
                      <a:pt x="150" y="305"/>
                    </a:lnTo>
                    <a:lnTo>
                      <a:pt x="149" y="305"/>
                    </a:lnTo>
                    <a:lnTo>
                      <a:pt x="152" y="302"/>
                    </a:lnTo>
                    <a:lnTo>
                      <a:pt x="151" y="301"/>
                    </a:lnTo>
                    <a:lnTo>
                      <a:pt x="147" y="295"/>
                    </a:lnTo>
                    <a:lnTo>
                      <a:pt x="143" y="290"/>
                    </a:lnTo>
                    <a:lnTo>
                      <a:pt x="138" y="288"/>
                    </a:lnTo>
                    <a:lnTo>
                      <a:pt x="137" y="285"/>
                    </a:lnTo>
                    <a:lnTo>
                      <a:pt x="133" y="278"/>
                    </a:lnTo>
                    <a:lnTo>
                      <a:pt x="131" y="277"/>
                    </a:lnTo>
                    <a:lnTo>
                      <a:pt x="109" y="285"/>
                    </a:lnTo>
                    <a:lnTo>
                      <a:pt x="103" y="290"/>
                    </a:lnTo>
                    <a:lnTo>
                      <a:pt x="103" y="291"/>
                    </a:lnTo>
                    <a:lnTo>
                      <a:pt x="106" y="291"/>
                    </a:lnTo>
                    <a:lnTo>
                      <a:pt x="106" y="293"/>
                    </a:lnTo>
                    <a:lnTo>
                      <a:pt x="108" y="294"/>
                    </a:lnTo>
                    <a:lnTo>
                      <a:pt x="112" y="295"/>
                    </a:lnTo>
                    <a:lnTo>
                      <a:pt x="108" y="295"/>
                    </a:lnTo>
                    <a:lnTo>
                      <a:pt x="103" y="293"/>
                    </a:lnTo>
                    <a:lnTo>
                      <a:pt x="101" y="294"/>
                    </a:lnTo>
                    <a:lnTo>
                      <a:pt x="101" y="295"/>
                    </a:lnTo>
                    <a:lnTo>
                      <a:pt x="108" y="299"/>
                    </a:lnTo>
                    <a:lnTo>
                      <a:pt x="115" y="305"/>
                    </a:lnTo>
                    <a:lnTo>
                      <a:pt x="129" y="307"/>
                    </a:lnTo>
                    <a:lnTo>
                      <a:pt x="132" y="309"/>
                    </a:lnTo>
                    <a:lnTo>
                      <a:pt x="135" y="309"/>
                    </a:lnTo>
                    <a:lnTo>
                      <a:pt x="136" y="310"/>
                    </a:lnTo>
                    <a:lnTo>
                      <a:pt x="135" y="311"/>
                    </a:lnTo>
                    <a:lnTo>
                      <a:pt x="131" y="311"/>
                    </a:lnTo>
                    <a:lnTo>
                      <a:pt x="128" y="309"/>
                    </a:lnTo>
                    <a:lnTo>
                      <a:pt x="119" y="307"/>
                    </a:lnTo>
                    <a:lnTo>
                      <a:pt x="115" y="308"/>
                    </a:lnTo>
                    <a:lnTo>
                      <a:pt x="112" y="309"/>
                    </a:lnTo>
                    <a:lnTo>
                      <a:pt x="112" y="308"/>
                    </a:lnTo>
                    <a:lnTo>
                      <a:pt x="111" y="305"/>
                    </a:lnTo>
                    <a:lnTo>
                      <a:pt x="105" y="302"/>
                    </a:lnTo>
                    <a:lnTo>
                      <a:pt x="104" y="303"/>
                    </a:lnTo>
                    <a:lnTo>
                      <a:pt x="104" y="306"/>
                    </a:lnTo>
                    <a:lnTo>
                      <a:pt x="101" y="309"/>
                    </a:lnTo>
                    <a:lnTo>
                      <a:pt x="98" y="313"/>
                    </a:lnTo>
                    <a:lnTo>
                      <a:pt x="95" y="315"/>
                    </a:lnTo>
                    <a:lnTo>
                      <a:pt x="95" y="313"/>
                    </a:lnTo>
                    <a:lnTo>
                      <a:pt x="96" y="311"/>
                    </a:lnTo>
                    <a:lnTo>
                      <a:pt x="101" y="305"/>
                    </a:lnTo>
                    <a:lnTo>
                      <a:pt x="101" y="298"/>
                    </a:lnTo>
                    <a:lnTo>
                      <a:pt x="99" y="296"/>
                    </a:lnTo>
                    <a:lnTo>
                      <a:pt x="95" y="295"/>
                    </a:lnTo>
                    <a:lnTo>
                      <a:pt x="89" y="298"/>
                    </a:lnTo>
                    <a:lnTo>
                      <a:pt x="82" y="299"/>
                    </a:lnTo>
                    <a:lnTo>
                      <a:pt x="81" y="299"/>
                    </a:lnTo>
                    <a:lnTo>
                      <a:pt x="82" y="303"/>
                    </a:lnTo>
                    <a:lnTo>
                      <a:pt x="88" y="307"/>
                    </a:lnTo>
                    <a:lnTo>
                      <a:pt x="82" y="305"/>
                    </a:lnTo>
                    <a:lnTo>
                      <a:pt x="78" y="299"/>
                    </a:lnTo>
                    <a:lnTo>
                      <a:pt x="65" y="297"/>
                    </a:lnTo>
                    <a:lnTo>
                      <a:pt x="62" y="298"/>
                    </a:lnTo>
                    <a:lnTo>
                      <a:pt x="61" y="301"/>
                    </a:lnTo>
                    <a:lnTo>
                      <a:pt x="59" y="303"/>
                    </a:lnTo>
                    <a:lnTo>
                      <a:pt x="60" y="304"/>
                    </a:lnTo>
                    <a:lnTo>
                      <a:pt x="65" y="306"/>
                    </a:lnTo>
                    <a:lnTo>
                      <a:pt x="72" y="307"/>
                    </a:lnTo>
                    <a:lnTo>
                      <a:pt x="75" y="308"/>
                    </a:lnTo>
                    <a:lnTo>
                      <a:pt x="76" y="309"/>
                    </a:lnTo>
                    <a:lnTo>
                      <a:pt x="74" y="309"/>
                    </a:lnTo>
                    <a:lnTo>
                      <a:pt x="72" y="308"/>
                    </a:lnTo>
                    <a:lnTo>
                      <a:pt x="71" y="308"/>
                    </a:lnTo>
                    <a:lnTo>
                      <a:pt x="68" y="313"/>
                    </a:lnTo>
                    <a:lnTo>
                      <a:pt x="65" y="316"/>
                    </a:lnTo>
                    <a:lnTo>
                      <a:pt x="66" y="313"/>
                    </a:lnTo>
                    <a:lnTo>
                      <a:pt x="65" y="312"/>
                    </a:lnTo>
                    <a:lnTo>
                      <a:pt x="60" y="307"/>
                    </a:lnTo>
                    <a:lnTo>
                      <a:pt x="51" y="303"/>
                    </a:lnTo>
                    <a:lnTo>
                      <a:pt x="51" y="301"/>
                    </a:lnTo>
                    <a:lnTo>
                      <a:pt x="51" y="299"/>
                    </a:lnTo>
                    <a:lnTo>
                      <a:pt x="49" y="299"/>
                    </a:lnTo>
                    <a:lnTo>
                      <a:pt x="42" y="294"/>
                    </a:lnTo>
                    <a:lnTo>
                      <a:pt x="41" y="295"/>
                    </a:lnTo>
                    <a:lnTo>
                      <a:pt x="41" y="297"/>
                    </a:lnTo>
                    <a:lnTo>
                      <a:pt x="36" y="297"/>
                    </a:lnTo>
                    <a:lnTo>
                      <a:pt x="35" y="298"/>
                    </a:lnTo>
                    <a:lnTo>
                      <a:pt x="36" y="299"/>
                    </a:lnTo>
                    <a:lnTo>
                      <a:pt x="35" y="300"/>
                    </a:lnTo>
                    <a:lnTo>
                      <a:pt x="39" y="303"/>
                    </a:lnTo>
                    <a:lnTo>
                      <a:pt x="37" y="304"/>
                    </a:lnTo>
                    <a:lnTo>
                      <a:pt x="37" y="305"/>
                    </a:lnTo>
                    <a:lnTo>
                      <a:pt x="46" y="306"/>
                    </a:lnTo>
                    <a:lnTo>
                      <a:pt x="51" y="309"/>
                    </a:lnTo>
                    <a:lnTo>
                      <a:pt x="54" y="312"/>
                    </a:lnTo>
                    <a:lnTo>
                      <a:pt x="60" y="314"/>
                    </a:lnTo>
                    <a:lnTo>
                      <a:pt x="61" y="315"/>
                    </a:lnTo>
                    <a:lnTo>
                      <a:pt x="58" y="315"/>
                    </a:lnTo>
                    <a:lnTo>
                      <a:pt x="54" y="314"/>
                    </a:lnTo>
                    <a:lnTo>
                      <a:pt x="52" y="318"/>
                    </a:lnTo>
                    <a:lnTo>
                      <a:pt x="49" y="319"/>
                    </a:lnTo>
                    <a:lnTo>
                      <a:pt x="48" y="321"/>
                    </a:lnTo>
                    <a:lnTo>
                      <a:pt x="46" y="319"/>
                    </a:lnTo>
                    <a:lnTo>
                      <a:pt x="45" y="319"/>
                    </a:lnTo>
                    <a:lnTo>
                      <a:pt x="43" y="321"/>
                    </a:lnTo>
                    <a:lnTo>
                      <a:pt x="42" y="319"/>
                    </a:lnTo>
                    <a:lnTo>
                      <a:pt x="41" y="319"/>
                    </a:lnTo>
                    <a:lnTo>
                      <a:pt x="40" y="320"/>
                    </a:lnTo>
                    <a:lnTo>
                      <a:pt x="40" y="322"/>
                    </a:lnTo>
                    <a:lnTo>
                      <a:pt x="39" y="324"/>
                    </a:lnTo>
                    <a:lnTo>
                      <a:pt x="37" y="325"/>
                    </a:lnTo>
                    <a:lnTo>
                      <a:pt x="38" y="326"/>
                    </a:lnTo>
                    <a:lnTo>
                      <a:pt x="40" y="326"/>
                    </a:lnTo>
                    <a:lnTo>
                      <a:pt x="41" y="328"/>
                    </a:lnTo>
                    <a:lnTo>
                      <a:pt x="45" y="326"/>
                    </a:lnTo>
                    <a:lnTo>
                      <a:pt x="51" y="326"/>
                    </a:lnTo>
                    <a:lnTo>
                      <a:pt x="63" y="324"/>
                    </a:lnTo>
                    <a:lnTo>
                      <a:pt x="64" y="325"/>
                    </a:lnTo>
                    <a:lnTo>
                      <a:pt x="74" y="324"/>
                    </a:lnTo>
                    <a:lnTo>
                      <a:pt x="81" y="326"/>
                    </a:lnTo>
                    <a:lnTo>
                      <a:pt x="101" y="325"/>
                    </a:lnTo>
                    <a:lnTo>
                      <a:pt x="104" y="326"/>
                    </a:lnTo>
                    <a:lnTo>
                      <a:pt x="103" y="327"/>
                    </a:lnTo>
                    <a:lnTo>
                      <a:pt x="94" y="327"/>
                    </a:lnTo>
                    <a:lnTo>
                      <a:pt x="86" y="328"/>
                    </a:lnTo>
                    <a:lnTo>
                      <a:pt x="91" y="331"/>
                    </a:lnTo>
                    <a:lnTo>
                      <a:pt x="98" y="330"/>
                    </a:lnTo>
                    <a:lnTo>
                      <a:pt x="100" y="330"/>
                    </a:lnTo>
                    <a:lnTo>
                      <a:pt x="103" y="330"/>
                    </a:lnTo>
                    <a:lnTo>
                      <a:pt x="109" y="331"/>
                    </a:lnTo>
                    <a:lnTo>
                      <a:pt x="117" y="333"/>
                    </a:lnTo>
                    <a:lnTo>
                      <a:pt x="128" y="331"/>
                    </a:lnTo>
                    <a:lnTo>
                      <a:pt x="137" y="334"/>
                    </a:lnTo>
                    <a:lnTo>
                      <a:pt x="146" y="335"/>
                    </a:lnTo>
                    <a:lnTo>
                      <a:pt x="147" y="334"/>
                    </a:lnTo>
                    <a:lnTo>
                      <a:pt x="149" y="331"/>
                    </a:lnTo>
                    <a:lnTo>
                      <a:pt x="150" y="330"/>
                    </a:lnTo>
                    <a:lnTo>
                      <a:pt x="157" y="329"/>
                    </a:lnTo>
                    <a:lnTo>
                      <a:pt x="160" y="327"/>
                    </a:lnTo>
                    <a:lnTo>
                      <a:pt x="163" y="330"/>
                    </a:lnTo>
                    <a:lnTo>
                      <a:pt x="167" y="330"/>
                    </a:lnTo>
                    <a:lnTo>
                      <a:pt x="171" y="330"/>
                    </a:lnTo>
                    <a:lnTo>
                      <a:pt x="172" y="330"/>
                    </a:lnTo>
                    <a:lnTo>
                      <a:pt x="169" y="333"/>
                    </a:lnTo>
                    <a:lnTo>
                      <a:pt x="167" y="333"/>
                    </a:lnTo>
                    <a:lnTo>
                      <a:pt x="165" y="331"/>
                    </a:lnTo>
                    <a:lnTo>
                      <a:pt x="161" y="331"/>
                    </a:lnTo>
                    <a:lnTo>
                      <a:pt x="156" y="330"/>
                    </a:lnTo>
                    <a:lnTo>
                      <a:pt x="153" y="331"/>
                    </a:lnTo>
                    <a:lnTo>
                      <a:pt x="150" y="333"/>
                    </a:lnTo>
                    <a:lnTo>
                      <a:pt x="150" y="335"/>
                    </a:lnTo>
                    <a:lnTo>
                      <a:pt x="149" y="336"/>
                    </a:lnTo>
                    <a:lnTo>
                      <a:pt x="144" y="337"/>
                    </a:lnTo>
                    <a:lnTo>
                      <a:pt x="135" y="337"/>
                    </a:lnTo>
                    <a:lnTo>
                      <a:pt x="131" y="335"/>
                    </a:lnTo>
                    <a:lnTo>
                      <a:pt x="127" y="333"/>
                    </a:lnTo>
                    <a:lnTo>
                      <a:pt x="117" y="335"/>
                    </a:lnTo>
                    <a:lnTo>
                      <a:pt x="112" y="334"/>
                    </a:lnTo>
                    <a:lnTo>
                      <a:pt x="112" y="335"/>
                    </a:lnTo>
                    <a:lnTo>
                      <a:pt x="117" y="338"/>
                    </a:lnTo>
                    <a:lnTo>
                      <a:pt x="121" y="341"/>
                    </a:lnTo>
                    <a:lnTo>
                      <a:pt x="120" y="342"/>
                    </a:lnTo>
                    <a:lnTo>
                      <a:pt x="115" y="341"/>
                    </a:lnTo>
                    <a:lnTo>
                      <a:pt x="112" y="337"/>
                    </a:lnTo>
                    <a:lnTo>
                      <a:pt x="109" y="336"/>
                    </a:lnTo>
                    <a:lnTo>
                      <a:pt x="105" y="334"/>
                    </a:lnTo>
                    <a:lnTo>
                      <a:pt x="104" y="342"/>
                    </a:lnTo>
                    <a:lnTo>
                      <a:pt x="100" y="344"/>
                    </a:lnTo>
                    <a:lnTo>
                      <a:pt x="99" y="343"/>
                    </a:lnTo>
                    <a:lnTo>
                      <a:pt x="102" y="341"/>
                    </a:lnTo>
                    <a:lnTo>
                      <a:pt x="103" y="335"/>
                    </a:lnTo>
                    <a:lnTo>
                      <a:pt x="103" y="333"/>
                    </a:lnTo>
                    <a:lnTo>
                      <a:pt x="96" y="333"/>
                    </a:lnTo>
                    <a:lnTo>
                      <a:pt x="81" y="335"/>
                    </a:lnTo>
                    <a:lnTo>
                      <a:pt x="78" y="337"/>
                    </a:lnTo>
                    <a:lnTo>
                      <a:pt x="78" y="336"/>
                    </a:lnTo>
                    <a:lnTo>
                      <a:pt x="80" y="334"/>
                    </a:lnTo>
                    <a:lnTo>
                      <a:pt x="88" y="333"/>
                    </a:lnTo>
                    <a:lnTo>
                      <a:pt x="82" y="329"/>
                    </a:lnTo>
                    <a:lnTo>
                      <a:pt x="75" y="327"/>
                    </a:lnTo>
                    <a:lnTo>
                      <a:pt x="71" y="328"/>
                    </a:lnTo>
                    <a:lnTo>
                      <a:pt x="69" y="327"/>
                    </a:lnTo>
                    <a:lnTo>
                      <a:pt x="62" y="326"/>
                    </a:lnTo>
                    <a:lnTo>
                      <a:pt x="57" y="327"/>
                    </a:lnTo>
                    <a:lnTo>
                      <a:pt x="55" y="329"/>
                    </a:lnTo>
                    <a:lnTo>
                      <a:pt x="51" y="331"/>
                    </a:lnTo>
                    <a:lnTo>
                      <a:pt x="52" y="333"/>
                    </a:lnTo>
                    <a:lnTo>
                      <a:pt x="55" y="333"/>
                    </a:lnTo>
                    <a:lnTo>
                      <a:pt x="56" y="333"/>
                    </a:lnTo>
                    <a:lnTo>
                      <a:pt x="55" y="333"/>
                    </a:lnTo>
                    <a:lnTo>
                      <a:pt x="50" y="334"/>
                    </a:lnTo>
                    <a:lnTo>
                      <a:pt x="50" y="335"/>
                    </a:lnTo>
                    <a:lnTo>
                      <a:pt x="50" y="336"/>
                    </a:lnTo>
                    <a:lnTo>
                      <a:pt x="41" y="337"/>
                    </a:lnTo>
                    <a:lnTo>
                      <a:pt x="35" y="341"/>
                    </a:lnTo>
                    <a:lnTo>
                      <a:pt x="34" y="342"/>
                    </a:lnTo>
                    <a:lnTo>
                      <a:pt x="35" y="342"/>
                    </a:lnTo>
                    <a:lnTo>
                      <a:pt x="48" y="342"/>
                    </a:lnTo>
                    <a:lnTo>
                      <a:pt x="39" y="343"/>
                    </a:lnTo>
                    <a:lnTo>
                      <a:pt x="42" y="345"/>
                    </a:lnTo>
                    <a:lnTo>
                      <a:pt x="40" y="348"/>
                    </a:lnTo>
                    <a:lnTo>
                      <a:pt x="38" y="345"/>
                    </a:lnTo>
                    <a:lnTo>
                      <a:pt x="36" y="345"/>
                    </a:lnTo>
                    <a:lnTo>
                      <a:pt x="35" y="344"/>
                    </a:lnTo>
                    <a:lnTo>
                      <a:pt x="33" y="343"/>
                    </a:lnTo>
                    <a:lnTo>
                      <a:pt x="28" y="343"/>
                    </a:lnTo>
                    <a:lnTo>
                      <a:pt x="28" y="344"/>
                    </a:lnTo>
                    <a:lnTo>
                      <a:pt x="28" y="345"/>
                    </a:lnTo>
                    <a:lnTo>
                      <a:pt x="26" y="346"/>
                    </a:lnTo>
                    <a:lnTo>
                      <a:pt x="27" y="349"/>
                    </a:lnTo>
                    <a:lnTo>
                      <a:pt x="24" y="351"/>
                    </a:lnTo>
                    <a:lnTo>
                      <a:pt x="26" y="353"/>
                    </a:lnTo>
                    <a:lnTo>
                      <a:pt x="27" y="355"/>
                    </a:lnTo>
                    <a:lnTo>
                      <a:pt x="48" y="356"/>
                    </a:lnTo>
                    <a:lnTo>
                      <a:pt x="52" y="354"/>
                    </a:lnTo>
                    <a:lnTo>
                      <a:pt x="57" y="354"/>
                    </a:lnTo>
                    <a:lnTo>
                      <a:pt x="57" y="355"/>
                    </a:lnTo>
                    <a:lnTo>
                      <a:pt x="56" y="356"/>
                    </a:lnTo>
                    <a:lnTo>
                      <a:pt x="43" y="357"/>
                    </a:lnTo>
                    <a:lnTo>
                      <a:pt x="38" y="357"/>
                    </a:lnTo>
                    <a:lnTo>
                      <a:pt x="37" y="358"/>
                    </a:lnTo>
                    <a:lnTo>
                      <a:pt x="39" y="358"/>
                    </a:lnTo>
                    <a:lnTo>
                      <a:pt x="43" y="357"/>
                    </a:lnTo>
                    <a:lnTo>
                      <a:pt x="54" y="357"/>
                    </a:lnTo>
                    <a:lnTo>
                      <a:pt x="62" y="360"/>
                    </a:lnTo>
                    <a:lnTo>
                      <a:pt x="62" y="361"/>
                    </a:lnTo>
                    <a:lnTo>
                      <a:pt x="56" y="361"/>
                    </a:lnTo>
                    <a:lnTo>
                      <a:pt x="54" y="361"/>
                    </a:lnTo>
                    <a:lnTo>
                      <a:pt x="56" y="360"/>
                    </a:lnTo>
                    <a:lnTo>
                      <a:pt x="54" y="359"/>
                    </a:lnTo>
                    <a:lnTo>
                      <a:pt x="46" y="359"/>
                    </a:lnTo>
                    <a:lnTo>
                      <a:pt x="41" y="360"/>
                    </a:lnTo>
                    <a:lnTo>
                      <a:pt x="45" y="361"/>
                    </a:lnTo>
                    <a:lnTo>
                      <a:pt x="46" y="362"/>
                    </a:lnTo>
                    <a:lnTo>
                      <a:pt x="51" y="362"/>
                    </a:lnTo>
                    <a:lnTo>
                      <a:pt x="57" y="363"/>
                    </a:lnTo>
                    <a:lnTo>
                      <a:pt x="53" y="363"/>
                    </a:lnTo>
                    <a:lnTo>
                      <a:pt x="46" y="365"/>
                    </a:lnTo>
                    <a:lnTo>
                      <a:pt x="41" y="363"/>
                    </a:lnTo>
                    <a:lnTo>
                      <a:pt x="41" y="366"/>
                    </a:lnTo>
                    <a:lnTo>
                      <a:pt x="40" y="366"/>
                    </a:lnTo>
                    <a:lnTo>
                      <a:pt x="40" y="367"/>
                    </a:lnTo>
                    <a:lnTo>
                      <a:pt x="41" y="368"/>
                    </a:lnTo>
                    <a:lnTo>
                      <a:pt x="44" y="369"/>
                    </a:lnTo>
                    <a:lnTo>
                      <a:pt x="49" y="369"/>
                    </a:lnTo>
                    <a:lnTo>
                      <a:pt x="51" y="371"/>
                    </a:lnTo>
                    <a:lnTo>
                      <a:pt x="64" y="372"/>
                    </a:lnTo>
                    <a:lnTo>
                      <a:pt x="63" y="374"/>
                    </a:lnTo>
                    <a:lnTo>
                      <a:pt x="65" y="374"/>
                    </a:lnTo>
                    <a:lnTo>
                      <a:pt x="73" y="374"/>
                    </a:lnTo>
                    <a:lnTo>
                      <a:pt x="79" y="371"/>
                    </a:lnTo>
                    <a:lnTo>
                      <a:pt x="84" y="369"/>
                    </a:lnTo>
                    <a:lnTo>
                      <a:pt x="89" y="371"/>
                    </a:lnTo>
                    <a:lnTo>
                      <a:pt x="90" y="374"/>
                    </a:lnTo>
                    <a:lnTo>
                      <a:pt x="92" y="374"/>
                    </a:lnTo>
                    <a:lnTo>
                      <a:pt x="92" y="375"/>
                    </a:lnTo>
                    <a:lnTo>
                      <a:pt x="90" y="374"/>
                    </a:lnTo>
                    <a:lnTo>
                      <a:pt x="87" y="372"/>
                    </a:lnTo>
                    <a:lnTo>
                      <a:pt x="83" y="371"/>
                    </a:lnTo>
                    <a:lnTo>
                      <a:pt x="78" y="372"/>
                    </a:lnTo>
                    <a:lnTo>
                      <a:pt x="78" y="374"/>
                    </a:lnTo>
                    <a:lnTo>
                      <a:pt x="71" y="375"/>
                    </a:lnTo>
                    <a:lnTo>
                      <a:pt x="72" y="377"/>
                    </a:lnTo>
                    <a:lnTo>
                      <a:pt x="70" y="377"/>
                    </a:lnTo>
                    <a:lnTo>
                      <a:pt x="65" y="377"/>
                    </a:lnTo>
                    <a:lnTo>
                      <a:pt x="59" y="374"/>
                    </a:lnTo>
                    <a:lnTo>
                      <a:pt x="54" y="372"/>
                    </a:lnTo>
                    <a:lnTo>
                      <a:pt x="56" y="374"/>
                    </a:lnTo>
                    <a:lnTo>
                      <a:pt x="53" y="375"/>
                    </a:lnTo>
                    <a:lnTo>
                      <a:pt x="44" y="372"/>
                    </a:lnTo>
                    <a:lnTo>
                      <a:pt x="43" y="372"/>
                    </a:lnTo>
                    <a:lnTo>
                      <a:pt x="44" y="374"/>
                    </a:lnTo>
                    <a:lnTo>
                      <a:pt x="43" y="374"/>
                    </a:lnTo>
                    <a:lnTo>
                      <a:pt x="36" y="375"/>
                    </a:lnTo>
                    <a:lnTo>
                      <a:pt x="26" y="378"/>
                    </a:lnTo>
                    <a:lnTo>
                      <a:pt x="25" y="378"/>
                    </a:lnTo>
                    <a:lnTo>
                      <a:pt x="25" y="379"/>
                    </a:lnTo>
                    <a:lnTo>
                      <a:pt x="29" y="380"/>
                    </a:lnTo>
                    <a:lnTo>
                      <a:pt x="32" y="378"/>
                    </a:lnTo>
                    <a:lnTo>
                      <a:pt x="39" y="378"/>
                    </a:lnTo>
                    <a:lnTo>
                      <a:pt x="35" y="380"/>
                    </a:lnTo>
                    <a:lnTo>
                      <a:pt x="35" y="383"/>
                    </a:lnTo>
                    <a:lnTo>
                      <a:pt x="34" y="383"/>
                    </a:lnTo>
                    <a:lnTo>
                      <a:pt x="33" y="381"/>
                    </a:lnTo>
                    <a:lnTo>
                      <a:pt x="33" y="380"/>
                    </a:lnTo>
                    <a:lnTo>
                      <a:pt x="31" y="381"/>
                    </a:lnTo>
                    <a:lnTo>
                      <a:pt x="30" y="382"/>
                    </a:lnTo>
                    <a:lnTo>
                      <a:pt x="29" y="384"/>
                    </a:lnTo>
                    <a:lnTo>
                      <a:pt x="30" y="385"/>
                    </a:lnTo>
                    <a:lnTo>
                      <a:pt x="34" y="387"/>
                    </a:lnTo>
                    <a:lnTo>
                      <a:pt x="33" y="388"/>
                    </a:lnTo>
                    <a:lnTo>
                      <a:pt x="32" y="388"/>
                    </a:lnTo>
                    <a:lnTo>
                      <a:pt x="33" y="389"/>
                    </a:lnTo>
                    <a:lnTo>
                      <a:pt x="35" y="389"/>
                    </a:lnTo>
                    <a:lnTo>
                      <a:pt x="41" y="385"/>
                    </a:lnTo>
                    <a:lnTo>
                      <a:pt x="46" y="385"/>
                    </a:lnTo>
                    <a:lnTo>
                      <a:pt x="49" y="384"/>
                    </a:lnTo>
                    <a:lnTo>
                      <a:pt x="65" y="383"/>
                    </a:lnTo>
                    <a:lnTo>
                      <a:pt x="62" y="383"/>
                    </a:lnTo>
                    <a:lnTo>
                      <a:pt x="54" y="386"/>
                    </a:lnTo>
                    <a:lnTo>
                      <a:pt x="50" y="386"/>
                    </a:lnTo>
                    <a:lnTo>
                      <a:pt x="50" y="387"/>
                    </a:lnTo>
                    <a:lnTo>
                      <a:pt x="54" y="389"/>
                    </a:lnTo>
                    <a:lnTo>
                      <a:pt x="55" y="391"/>
                    </a:lnTo>
                    <a:lnTo>
                      <a:pt x="56" y="394"/>
                    </a:lnTo>
                    <a:lnTo>
                      <a:pt x="56" y="395"/>
                    </a:lnTo>
                    <a:lnTo>
                      <a:pt x="55" y="396"/>
                    </a:lnTo>
                    <a:lnTo>
                      <a:pt x="54" y="395"/>
                    </a:lnTo>
                    <a:lnTo>
                      <a:pt x="53" y="394"/>
                    </a:lnTo>
                    <a:lnTo>
                      <a:pt x="53" y="391"/>
                    </a:lnTo>
                    <a:lnTo>
                      <a:pt x="52" y="390"/>
                    </a:lnTo>
                    <a:lnTo>
                      <a:pt x="51" y="389"/>
                    </a:lnTo>
                    <a:lnTo>
                      <a:pt x="48" y="387"/>
                    </a:lnTo>
                    <a:lnTo>
                      <a:pt x="43" y="387"/>
                    </a:lnTo>
                    <a:lnTo>
                      <a:pt x="42" y="387"/>
                    </a:lnTo>
                    <a:lnTo>
                      <a:pt x="42" y="389"/>
                    </a:lnTo>
                    <a:lnTo>
                      <a:pt x="41" y="390"/>
                    </a:lnTo>
                    <a:lnTo>
                      <a:pt x="37" y="390"/>
                    </a:lnTo>
                    <a:lnTo>
                      <a:pt x="36" y="391"/>
                    </a:lnTo>
                    <a:lnTo>
                      <a:pt x="29" y="393"/>
                    </a:lnTo>
                    <a:lnTo>
                      <a:pt x="28" y="394"/>
                    </a:lnTo>
                    <a:lnTo>
                      <a:pt x="27" y="395"/>
                    </a:lnTo>
                    <a:lnTo>
                      <a:pt x="26" y="395"/>
                    </a:lnTo>
                    <a:lnTo>
                      <a:pt x="29" y="395"/>
                    </a:lnTo>
                    <a:lnTo>
                      <a:pt x="29" y="397"/>
                    </a:lnTo>
                    <a:lnTo>
                      <a:pt x="30" y="397"/>
                    </a:lnTo>
                    <a:lnTo>
                      <a:pt x="32" y="397"/>
                    </a:lnTo>
                    <a:lnTo>
                      <a:pt x="34" y="397"/>
                    </a:lnTo>
                    <a:lnTo>
                      <a:pt x="33" y="398"/>
                    </a:lnTo>
                    <a:lnTo>
                      <a:pt x="30" y="398"/>
                    </a:lnTo>
                    <a:lnTo>
                      <a:pt x="29" y="399"/>
                    </a:lnTo>
                    <a:lnTo>
                      <a:pt x="28" y="399"/>
                    </a:lnTo>
                    <a:lnTo>
                      <a:pt x="29" y="399"/>
                    </a:lnTo>
                    <a:lnTo>
                      <a:pt x="40" y="399"/>
                    </a:lnTo>
                    <a:lnTo>
                      <a:pt x="46" y="401"/>
                    </a:lnTo>
                    <a:lnTo>
                      <a:pt x="49" y="403"/>
                    </a:lnTo>
                    <a:lnTo>
                      <a:pt x="46" y="403"/>
                    </a:lnTo>
                    <a:lnTo>
                      <a:pt x="47" y="405"/>
                    </a:lnTo>
                    <a:lnTo>
                      <a:pt x="46" y="405"/>
                    </a:lnTo>
                    <a:lnTo>
                      <a:pt x="42" y="403"/>
                    </a:lnTo>
                    <a:lnTo>
                      <a:pt x="36" y="402"/>
                    </a:lnTo>
                    <a:lnTo>
                      <a:pt x="33" y="404"/>
                    </a:lnTo>
                    <a:lnTo>
                      <a:pt x="33" y="405"/>
                    </a:lnTo>
                    <a:lnTo>
                      <a:pt x="39" y="407"/>
                    </a:lnTo>
                    <a:lnTo>
                      <a:pt x="42" y="406"/>
                    </a:lnTo>
                    <a:lnTo>
                      <a:pt x="46" y="407"/>
                    </a:lnTo>
                    <a:lnTo>
                      <a:pt x="47" y="408"/>
                    </a:lnTo>
                    <a:lnTo>
                      <a:pt x="46" y="408"/>
                    </a:lnTo>
                    <a:lnTo>
                      <a:pt x="42" y="408"/>
                    </a:lnTo>
                    <a:lnTo>
                      <a:pt x="45" y="412"/>
                    </a:lnTo>
                    <a:lnTo>
                      <a:pt x="50" y="411"/>
                    </a:lnTo>
                    <a:lnTo>
                      <a:pt x="53" y="409"/>
                    </a:lnTo>
                    <a:lnTo>
                      <a:pt x="54" y="412"/>
                    </a:lnTo>
                    <a:lnTo>
                      <a:pt x="59" y="415"/>
                    </a:lnTo>
                    <a:lnTo>
                      <a:pt x="66" y="413"/>
                    </a:lnTo>
                    <a:lnTo>
                      <a:pt x="72" y="409"/>
                    </a:lnTo>
                    <a:lnTo>
                      <a:pt x="82" y="408"/>
                    </a:lnTo>
                    <a:lnTo>
                      <a:pt x="85" y="406"/>
                    </a:lnTo>
                    <a:lnTo>
                      <a:pt x="88" y="406"/>
                    </a:lnTo>
                    <a:lnTo>
                      <a:pt x="89" y="405"/>
                    </a:lnTo>
                    <a:lnTo>
                      <a:pt x="90" y="402"/>
                    </a:lnTo>
                    <a:lnTo>
                      <a:pt x="91" y="401"/>
                    </a:lnTo>
                    <a:lnTo>
                      <a:pt x="91" y="403"/>
                    </a:lnTo>
                    <a:lnTo>
                      <a:pt x="90" y="405"/>
                    </a:lnTo>
                    <a:lnTo>
                      <a:pt x="91" y="406"/>
                    </a:lnTo>
                    <a:lnTo>
                      <a:pt x="96" y="406"/>
                    </a:lnTo>
                    <a:lnTo>
                      <a:pt x="101" y="405"/>
                    </a:lnTo>
                    <a:lnTo>
                      <a:pt x="105" y="403"/>
                    </a:lnTo>
                    <a:lnTo>
                      <a:pt x="111" y="401"/>
                    </a:lnTo>
                    <a:lnTo>
                      <a:pt x="109" y="403"/>
                    </a:lnTo>
                    <a:lnTo>
                      <a:pt x="105" y="405"/>
                    </a:lnTo>
                    <a:lnTo>
                      <a:pt x="105" y="406"/>
                    </a:lnTo>
                    <a:lnTo>
                      <a:pt x="108" y="407"/>
                    </a:lnTo>
                    <a:lnTo>
                      <a:pt x="112" y="407"/>
                    </a:lnTo>
                    <a:lnTo>
                      <a:pt x="117" y="406"/>
                    </a:lnTo>
                    <a:lnTo>
                      <a:pt x="121" y="403"/>
                    </a:lnTo>
                    <a:lnTo>
                      <a:pt x="121" y="406"/>
                    </a:lnTo>
                    <a:lnTo>
                      <a:pt x="126" y="408"/>
                    </a:lnTo>
                    <a:lnTo>
                      <a:pt x="134" y="411"/>
                    </a:lnTo>
                    <a:lnTo>
                      <a:pt x="140" y="410"/>
                    </a:lnTo>
                    <a:lnTo>
                      <a:pt x="143" y="409"/>
                    </a:lnTo>
                    <a:lnTo>
                      <a:pt x="146" y="409"/>
                    </a:lnTo>
                    <a:lnTo>
                      <a:pt x="148" y="405"/>
                    </a:lnTo>
                    <a:lnTo>
                      <a:pt x="146" y="402"/>
                    </a:lnTo>
                    <a:lnTo>
                      <a:pt x="143" y="401"/>
                    </a:lnTo>
                    <a:lnTo>
                      <a:pt x="145" y="400"/>
                    </a:lnTo>
                    <a:lnTo>
                      <a:pt x="150" y="401"/>
                    </a:lnTo>
                    <a:lnTo>
                      <a:pt x="148" y="399"/>
                    </a:lnTo>
                    <a:lnTo>
                      <a:pt x="148" y="396"/>
                    </a:lnTo>
                    <a:lnTo>
                      <a:pt x="146" y="395"/>
                    </a:lnTo>
                    <a:lnTo>
                      <a:pt x="146" y="394"/>
                    </a:lnTo>
                    <a:lnTo>
                      <a:pt x="147" y="394"/>
                    </a:lnTo>
                    <a:lnTo>
                      <a:pt x="148" y="393"/>
                    </a:lnTo>
                    <a:lnTo>
                      <a:pt x="150" y="393"/>
                    </a:lnTo>
                    <a:lnTo>
                      <a:pt x="150" y="394"/>
                    </a:lnTo>
                    <a:lnTo>
                      <a:pt x="150" y="395"/>
                    </a:lnTo>
                    <a:lnTo>
                      <a:pt x="152" y="395"/>
                    </a:lnTo>
                    <a:lnTo>
                      <a:pt x="154" y="394"/>
                    </a:lnTo>
                    <a:lnTo>
                      <a:pt x="155" y="392"/>
                    </a:lnTo>
                    <a:lnTo>
                      <a:pt x="156" y="392"/>
                    </a:lnTo>
                    <a:lnTo>
                      <a:pt x="157" y="389"/>
                    </a:lnTo>
                    <a:lnTo>
                      <a:pt x="160" y="386"/>
                    </a:lnTo>
                    <a:lnTo>
                      <a:pt x="160" y="384"/>
                    </a:lnTo>
                    <a:lnTo>
                      <a:pt x="163" y="380"/>
                    </a:lnTo>
                    <a:lnTo>
                      <a:pt x="164" y="381"/>
                    </a:lnTo>
                    <a:lnTo>
                      <a:pt x="162" y="384"/>
                    </a:lnTo>
                    <a:lnTo>
                      <a:pt x="162" y="387"/>
                    </a:lnTo>
                    <a:lnTo>
                      <a:pt x="159" y="389"/>
                    </a:lnTo>
                    <a:lnTo>
                      <a:pt x="158" y="393"/>
                    </a:lnTo>
                    <a:lnTo>
                      <a:pt x="157" y="394"/>
                    </a:lnTo>
                    <a:lnTo>
                      <a:pt x="154" y="396"/>
                    </a:lnTo>
                    <a:lnTo>
                      <a:pt x="152" y="397"/>
                    </a:lnTo>
                    <a:lnTo>
                      <a:pt x="151" y="398"/>
                    </a:lnTo>
                    <a:lnTo>
                      <a:pt x="152" y="399"/>
                    </a:lnTo>
                    <a:lnTo>
                      <a:pt x="163" y="403"/>
                    </a:lnTo>
                    <a:lnTo>
                      <a:pt x="171" y="403"/>
                    </a:lnTo>
                    <a:lnTo>
                      <a:pt x="176" y="405"/>
                    </a:lnTo>
                    <a:lnTo>
                      <a:pt x="179" y="405"/>
                    </a:lnTo>
                    <a:lnTo>
                      <a:pt x="186" y="403"/>
                    </a:lnTo>
                    <a:lnTo>
                      <a:pt x="185" y="405"/>
                    </a:lnTo>
                    <a:lnTo>
                      <a:pt x="183" y="406"/>
                    </a:lnTo>
                    <a:lnTo>
                      <a:pt x="179" y="407"/>
                    </a:lnTo>
                    <a:lnTo>
                      <a:pt x="179" y="408"/>
                    </a:lnTo>
                    <a:lnTo>
                      <a:pt x="181" y="410"/>
                    </a:lnTo>
                    <a:lnTo>
                      <a:pt x="183" y="411"/>
                    </a:lnTo>
                    <a:lnTo>
                      <a:pt x="186" y="409"/>
                    </a:lnTo>
                    <a:lnTo>
                      <a:pt x="191" y="409"/>
                    </a:lnTo>
                    <a:lnTo>
                      <a:pt x="197" y="407"/>
                    </a:lnTo>
                    <a:lnTo>
                      <a:pt x="198" y="406"/>
                    </a:lnTo>
                    <a:lnTo>
                      <a:pt x="199" y="405"/>
                    </a:lnTo>
                    <a:lnTo>
                      <a:pt x="203" y="403"/>
                    </a:lnTo>
                    <a:lnTo>
                      <a:pt x="207" y="405"/>
                    </a:lnTo>
                    <a:lnTo>
                      <a:pt x="209" y="405"/>
                    </a:lnTo>
                    <a:lnTo>
                      <a:pt x="214" y="403"/>
                    </a:lnTo>
                    <a:lnTo>
                      <a:pt x="211" y="401"/>
                    </a:lnTo>
                    <a:lnTo>
                      <a:pt x="209" y="399"/>
                    </a:lnTo>
                    <a:lnTo>
                      <a:pt x="209" y="397"/>
                    </a:lnTo>
                    <a:lnTo>
                      <a:pt x="208" y="394"/>
                    </a:lnTo>
                    <a:lnTo>
                      <a:pt x="208" y="393"/>
                    </a:lnTo>
                    <a:lnTo>
                      <a:pt x="204" y="391"/>
                    </a:lnTo>
                    <a:lnTo>
                      <a:pt x="205" y="390"/>
                    </a:lnTo>
                    <a:lnTo>
                      <a:pt x="210" y="385"/>
                    </a:lnTo>
                    <a:lnTo>
                      <a:pt x="209" y="383"/>
                    </a:lnTo>
                    <a:lnTo>
                      <a:pt x="206" y="381"/>
                    </a:lnTo>
                    <a:lnTo>
                      <a:pt x="207" y="381"/>
                    </a:lnTo>
                    <a:lnTo>
                      <a:pt x="210" y="383"/>
                    </a:lnTo>
                    <a:lnTo>
                      <a:pt x="212" y="383"/>
                    </a:lnTo>
                    <a:lnTo>
                      <a:pt x="213" y="381"/>
                    </a:lnTo>
                    <a:lnTo>
                      <a:pt x="217" y="379"/>
                    </a:lnTo>
                    <a:lnTo>
                      <a:pt x="219" y="377"/>
                    </a:lnTo>
                    <a:lnTo>
                      <a:pt x="231" y="372"/>
                    </a:lnTo>
                    <a:lnTo>
                      <a:pt x="228" y="374"/>
                    </a:lnTo>
                    <a:lnTo>
                      <a:pt x="222" y="377"/>
                    </a:lnTo>
                    <a:lnTo>
                      <a:pt x="220" y="380"/>
                    </a:lnTo>
                    <a:lnTo>
                      <a:pt x="214" y="384"/>
                    </a:lnTo>
                    <a:lnTo>
                      <a:pt x="214" y="387"/>
                    </a:lnTo>
                    <a:lnTo>
                      <a:pt x="210" y="391"/>
                    </a:lnTo>
                    <a:lnTo>
                      <a:pt x="209" y="392"/>
                    </a:lnTo>
                    <a:lnTo>
                      <a:pt x="210" y="392"/>
                    </a:lnTo>
                    <a:lnTo>
                      <a:pt x="211" y="394"/>
                    </a:lnTo>
                    <a:lnTo>
                      <a:pt x="212" y="394"/>
                    </a:lnTo>
                    <a:lnTo>
                      <a:pt x="213" y="399"/>
                    </a:lnTo>
                    <a:lnTo>
                      <a:pt x="215" y="401"/>
                    </a:lnTo>
                    <a:lnTo>
                      <a:pt x="218" y="402"/>
                    </a:lnTo>
                    <a:lnTo>
                      <a:pt x="233" y="401"/>
                    </a:lnTo>
                    <a:lnTo>
                      <a:pt x="236" y="399"/>
                    </a:lnTo>
                    <a:lnTo>
                      <a:pt x="240" y="398"/>
                    </a:lnTo>
                    <a:lnTo>
                      <a:pt x="239" y="399"/>
                    </a:lnTo>
                    <a:lnTo>
                      <a:pt x="237" y="401"/>
                    </a:lnTo>
                    <a:lnTo>
                      <a:pt x="233" y="401"/>
                    </a:lnTo>
                    <a:lnTo>
                      <a:pt x="220" y="403"/>
                    </a:lnTo>
                    <a:lnTo>
                      <a:pt x="217" y="405"/>
                    </a:lnTo>
                    <a:lnTo>
                      <a:pt x="213" y="406"/>
                    </a:lnTo>
                    <a:lnTo>
                      <a:pt x="213" y="407"/>
                    </a:lnTo>
                    <a:lnTo>
                      <a:pt x="215" y="409"/>
                    </a:lnTo>
                    <a:lnTo>
                      <a:pt x="216" y="411"/>
                    </a:lnTo>
                    <a:lnTo>
                      <a:pt x="220" y="412"/>
                    </a:lnTo>
                    <a:lnTo>
                      <a:pt x="215" y="411"/>
                    </a:lnTo>
                    <a:lnTo>
                      <a:pt x="210" y="409"/>
                    </a:lnTo>
                    <a:lnTo>
                      <a:pt x="203" y="407"/>
                    </a:lnTo>
                    <a:lnTo>
                      <a:pt x="202" y="408"/>
                    </a:lnTo>
                    <a:lnTo>
                      <a:pt x="200" y="411"/>
                    </a:lnTo>
                    <a:lnTo>
                      <a:pt x="185" y="412"/>
                    </a:lnTo>
                    <a:lnTo>
                      <a:pt x="185" y="414"/>
                    </a:lnTo>
                    <a:lnTo>
                      <a:pt x="186" y="415"/>
                    </a:lnTo>
                    <a:lnTo>
                      <a:pt x="187" y="418"/>
                    </a:lnTo>
                    <a:lnTo>
                      <a:pt x="190" y="421"/>
                    </a:lnTo>
                    <a:lnTo>
                      <a:pt x="191" y="425"/>
                    </a:lnTo>
                    <a:lnTo>
                      <a:pt x="194" y="427"/>
                    </a:lnTo>
                    <a:lnTo>
                      <a:pt x="198" y="427"/>
                    </a:lnTo>
                    <a:lnTo>
                      <a:pt x="199" y="429"/>
                    </a:lnTo>
                    <a:lnTo>
                      <a:pt x="199" y="431"/>
                    </a:lnTo>
                    <a:lnTo>
                      <a:pt x="197" y="435"/>
                    </a:lnTo>
                    <a:lnTo>
                      <a:pt x="194" y="437"/>
                    </a:lnTo>
                    <a:lnTo>
                      <a:pt x="194" y="436"/>
                    </a:lnTo>
                    <a:lnTo>
                      <a:pt x="195" y="433"/>
                    </a:lnTo>
                    <a:lnTo>
                      <a:pt x="196" y="430"/>
                    </a:lnTo>
                    <a:lnTo>
                      <a:pt x="194" y="429"/>
                    </a:lnTo>
                    <a:lnTo>
                      <a:pt x="190" y="427"/>
                    </a:lnTo>
                    <a:lnTo>
                      <a:pt x="187" y="425"/>
                    </a:lnTo>
                    <a:lnTo>
                      <a:pt x="175" y="429"/>
                    </a:lnTo>
                    <a:lnTo>
                      <a:pt x="183" y="425"/>
                    </a:lnTo>
                    <a:lnTo>
                      <a:pt x="186" y="422"/>
                    </a:lnTo>
                    <a:lnTo>
                      <a:pt x="186" y="421"/>
                    </a:lnTo>
                    <a:lnTo>
                      <a:pt x="184" y="418"/>
                    </a:lnTo>
                    <a:lnTo>
                      <a:pt x="184" y="417"/>
                    </a:lnTo>
                    <a:lnTo>
                      <a:pt x="182" y="413"/>
                    </a:lnTo>
                    <a:lnTo>
                      <a:pt x="178" y="414"/>
                    </a:lnTo>
                    <a:lnTo>
                      <a:pt x="175" y="413"/>
                    </a:lnTo>
                    <a:lnTo>
                      <a:pt x="175" y="412"/>
                    </a:lnTo>
                    <a:lnTo>
                      <a:pt x="174" y="409"/>
                    </a:lnTo>
                    <a:lnTo>
                      <a:pt x="172" y="407"/>
                    </a:lnTo>
                    <a:lnTo>
                      <a:pt x="159" y="406"/>
                    </a:lnTo>
                    <a:lnTo>
                      <a:pt x="155" y="404"/>
                    </a:lnTo>
                    <a:lnTo>
                      <a:pt x="154" y="405"/>
                    </a:lnTo>
                    <a:lnTo>
                      <a:pt x="152" y="409"/>
                    </a:lnTo>
                    <a:lnTo>
                      <a:pt x="150" y="412"/>
                    </a:lnTo>
                    <a:lnTo>
                      <a:pt x="147" y="412"/>
                    </a:lnTo>
                    <a:lnTo>
                      <a:pt x="139" y="415"/>
                    </a:lnTo>
                    <a:lnTo>
                      <a:pt x="137" y="419"/>
                    </a:lnTo>
                    <a:lnTo>
                      <a:pt x="136" y="420"/>
                    </a:lnTo>
                    <a:lnTo>
                      <a:pt x="137" y="421"/>
                    </a:lnTo>
                    <a:lnTo>
                      <a:pt x="136" y="421"/>
                    </a:lnTo>
                    <a:lnTo>
                      <a:pt x="134" y="421"/>
                    </a:lnTo>
                    <a:lnTo>
                      <a:pt x="134" y="420"/>
                    </a:lnTo>
                    <a:lnTo>
                      <a:pt x="136" y="417"/>
                    </a:lnTo>
                    <a:lnTo>
                      <a:pt x="136" y="415"/>
                    </a:lnTo>
                    <a:lnTo>
                      <a:pt x="132" y="415"/>
                    </a:lnTo>
                    <a:lnTo>
                      <a:pt x="129" y="417"/>
                    </a:lnTo>
                    <a:lnTo>
                      <a:pt x="127" y="418"/>
                    </a:lnTo>
                    <a:lnTo>
                      <a:pt x="128" y="417"/>
                    </a:lnTo>
                    <a:lnTo>
                      <a:pt x="129" y="414"/>
                    </a:lnTo>
                    <a:lnTo>
                      <a:pt x="128" y="413"/>
                    </a:lnTo>
                    <a:lnTo>
                      <a:pt x="127" y="412"/>
                    </a:lnTo>
                    <a:lnTo>
                      <a:pt x="121" y="412"/>
                    </a:lnTo>
                    <a:lnTo>
                      <a:pt x="117" y="410"/>
                    </a:lnTo>
                    <a:lnTo>
                      <a:pt x="108" y="411"/>
                    </a:lnTo>
                    <a:lnTo>
                      <a:pt x="99" y="409"/>
                    </a:lnTo>
                    <a:lnTo>
                      <a:pt x="94" y="411"/>
                    </a:lnTo>
                    <a:lnTo>
                      <a:pt x="95" y="413"/>
                    </a:lnTo>
                    <a:lnTo>
                      <a:pt x="91" y="415"/>
                    </a:lnTo>
                    <a:lnTo>
                      <a:pt x="90" y="415"/>
                    </a:lnTo>
                    <a:lnTo>
                      <a:pt x="91" y="411"/>
                    </a:lnTo>
                    <a:lnTo>
                      <a:pt x="89" y="410"/>
                    </a:lnTo>
                    <a:lnTo>
                      <a:pt x="86" y="412"/>
                    </a:lnTo>
                    <a:lnTo>
                      <a:pt x="83" y="413"/>
                    </a:lnTo>
                    <a:lnTo>
                      <a:pt x="77" y="413"/>
                    </a:lnTo>
                    <a:lnTo>
                      <a:pt x="76" y="414"/>
                    </a:lnTo>
                    <a:lnTo>
                      <a:pt x="76" y="415"/>
                    </a:lnTo>
                    <a:lnTo>
                      <a:pt x="79" y="415"/>
                    </a:lnTo>
                    <a:lnTo>
                      <a:pt x="79" y="416"/>
                    </a:lnTo>
                    <a:lnTo>
                      <a:pt x="73" y="415"/>
                    </a:lnTo>
                    <a:lnTo>
                      <a:pt x="67" y="416"/>
                    </a:lnTo>
                    <a:lnTo>
                      <a:pt x="65" y="417"/>
                    </a:lnTo>
                    <a:lnTo>
                      <a:pt x="65" y="419"/>
                    </a:lnTo>
                    <a:lnTo>
                      <a:pt x="66" y="422"/>
                    </a:lnTo>
                    <a:lnTo>
                      <a:pt x="65" y="423"/>
                    </a:lnTo>
                    <a:lnTo>
                      <a:pt x="63" y="419"/>
                    </a:lnTo>
                    <a:lnTo>
                      <a:pt x="60" y="420"/>
                    </a:lnTo>
                    <a:lnTo>
                      <a:pt x="56" y="419"/>
                    </a:lnTo>
                    <a:lnTo>
                      <a:pt x="52" y="419"/>
                    </a:lnTo>
                    <a:lnTo>
                      <a:pt x="50" y="419"/>
                    </a:lnTo>
                    <a:lnTo>
                      <a:pt x="49" y="417"/>
                    </a:lnTo>
                    <a:lnTo>
                      <a:pt x="43" y="415"/>
                    </a:lnTo>
                    <a:lnTo>
                      <a:pt x="38" y="415"/>
                    </a:lnTo>
                    <a:lnTo>
                      <a:pt x="33" y="416"/>
                    </a:lnTo>
                    <a:lnTo>
                      <a:pt x="30" y="418"/>
                    </a:lnTo>
                    <a:lnTo>
                      <a:pt x="30" y="419"/>
                    </a:lnTo>
                    <a:lnTo>
                      <a:pt x="30" y="424"/>
                    </a:lnTo>
                    <a:lnTo>
                      <a:pt x="37" y="425"/>
                    </a:lnTo>
                    <a:lnTo>
                      <a:pt x="38" y="425"/>
                    </a:lnTo>
                    <a:lnTo>
                      <a:pt x="40" y="423"/>
                    </a:lnTo>
                    <a:lnTo>
                      <a:pt x="41" y="425"/>
                    </a:lnTo>
                    <a:lnTo>
                      <a:pt x="37" y="427"/>
                    </a:lnTo>
                    <a:lnTo>
                      <a:pt x="37" y="434"/>
                    </a:lnTo>
                    <a:lnTo>
                      <a:pt x="36" y="435"/>
                    </a:lnTo>
                    <a:lnTo>
                      <a:pt x="35" y="433"/>
                    </a:lnTo>
                    <a:lnTo>
                      <a:pt x="36" y="428"/>
                    </a:lnTo>
                    <a:lnTo>
                      <a:pt x="35" y="427"/>
                    </a:lnTo>
                    <a:lnTo>
                      <a:pt x="28" y="427"/>
                    </a:lnTo>
                    <a:lnTo>
                      <a:pt x="28" y="428"/>
                    </a:lnTo>
                    <a:lnTo>
                      <a:pt x="30" y="430"/>
                    </a:lnTo>
                    <a:lnTo>
                      <a:pt x="30" y="433"/>
                    </a:lnTo>
                    <a:lnTo>
                      <a:pt x="32" y="435"/>
                    </a:lnTo>
                    <a:lnTo>
                      <a:pt x="32" y="438"/>
                    </a:lnTo>
                    <a:lnTo>
                      <a:pt x="34" y="440"/>
                    </a:lnTo>
                    <a:lnTo>
                      <a:pt x="36" y="440"/>
                    </a:lnTo>
                    <a:lnTo>
                      <a:pt x="39" y="440"/>
                    </a:lnTo>
                    <a:lnTo>
                      <a:pt x="39" y="441"/>
                    </a:lnTo>
                    <a:lnTo>
                      <a:pt x="41" y="442"/>
                    </a:lnTo>
                    <a:lnTo>
                      <a:pt x="43" y="440"/>
                    </a:lnTo>
                    <a:lnTo>
                      <a:pt x="50" y="442"/>
                    </a:lnTo>
                    <a:lnTo>
                      <a:pt x="54" y="440"/>
                    </a:lnTo>
                    <a:lnTo>
                      <a:pt x="56" y="436"/>
                    </a:lnTo>
                    <a:lnTo>
                      <a:pt x="63" y="434"/>
                    </a:lnTo>
                    <a:lnTo>
                      <a:pt x="67" y="432"/>
                    </a:lnTo>
                    <a:lnTo>
                      <a:pt x="68" y="432"/>
                    </a:lnTo>
                    <a:lnTo>
                      <a:pt x="66" y="433"/>
                    </a:lnTo>
                    <a:lnTo>
                      <a:pt x="66" y="435"/>
                    </a:lnTo>
                    <a:lnTo>
                      <a:pt x="71" y="435"/>
                    </a:lnTo>
                    <a:lnTo>
                      <a:pt x="68" y="437"/>
                    </a:lnTo>
                    <a:lnTo>
                      <a:pt x="64" y="436"/>
                    </a:lnTo>
                    <a:lnTo>
                      <a:pt x="58" y="437"/>
                    </a:lnTo>
                    <a:lnTo>
                      <a:pt x="56" y="439"/>
                    </a:lnTo>
                    <a:lnTo>
                      <a:pt x="57" y="442"/>
                    </a:lnTo>
                    <a:lnTo>
                      <a:pt x="51" y="444"/>
                    </a:lnTo>
                    <a:lnTo>
                      <a:pt x="48" y="446"/>
                    </a:lnTo>
                    <a:lnTo>
                      <a:pt x="48" y="447"/>
                    </a:lnTo>
                    <a:lnTo>
                      <a:pt x="49" y="448"/>
                    </a:lnTo>
                    <a:lnTo>
                      <a:pt x="55" y="450"/>
                    </a:lnTo>
                    <a:lnTo>
                      <a:pt x="57" y="450"/>
                    </a:lnTo>
                    <a:lnTo>
                      <a:pt x="58" y="452"/>
                    </a:lnTo>
                    <a:lnTo>
                      <a:pt x="59" y="453"/>
                    </a:lnTo>
                    <a:lnTo>
                      <a:pt x="61" y="453"/>
                    </a:lnTo>
                    <a:lnTo>
                      <a:pt x="62" y="456"/>
                    </a:lnTo>
                    <a:lnTo>
                      <a:pt x="63" y="458"/>
                    </a:lnTo>
                    <a:lnTo>
                      <a:pt x="62" y="458"/>
                    </a:lnTo>
                    <a:lnTo>
                      <a:pt x="60" y="456"/>
                    </a:lnTo>
                    <a:lnTo>
                      <a:pt x="58" y="456"/>
                    </a:lnTo>
                    <a:lnTo>
                      <a:pt x="58" y="457"/>
                    </a:lnTo>
                    <a:lnTo>
                      <a:pt x="63" y="462"/>
                    </a:lnTo>
                    <a:lnTo>
                      <a:pt x="57" y="458"/>
                    </a:lnTo>
                    <a:lnTo>
                      <a:pt x="57" y="459"/>
                    </a:lnTo>
                    <a:lnTo>
                      <a:pt x="59" y="461"/>
                    </a:lnTo>
                    <a:lnTo>
                      <a:pt x="56" y="460"/>
                    </a:lnTo>
                    <a:lnTo>
                      <a:pt x="54" y="456"/>
                    </a:lnTo>
                    <a:lnTo>
                      <a:pt x="54" y="453"/>
                    </a:lnTo>
                    <a:lnTo>
                      <a:pt x="51" y="452"/>
                    </a:lnTo>
                    <a:lnTo>
                      <a:pt x="43" y="450"/>
                    </a:lnTo>
                    <a:lnTo>
                      <a:pt x="37" y="447"/>
                    </a:lnTo>
                    <a:lnTo>
                      <a:pt x="34" y="446"/>
                    </a:lnTo>
                    <a:lnTo>
                      <a:pt x="29" y="443"/>
                    </a:lnTo>
                    <a:lnTo>
                      <a:pt x="24" y="444"/>
                    </a:lnTo>
                    <a:lnTo>
                      <a:pt x="31" y="447"/>
                    </a:lnTo>
                    <a:lnTo>
                      <a:pt x="32" y="450"/>
                    </a:lnTo>
                    <a:lnTo>
                      <a:pt x="33" y="451"/>
                    </a:lnTo>
                    <a:lnTo>
                      <a:pt x="36" y="451"/>
                    </a:lnTo>
                    <a:lnTo>
                      <a:pt x="40" y="452"/>
                    </a:lnTo>
                    <a:lnTo>
                      <a:pt x="41" y="453"/>
                    </a:lnTo>
                    <a:lnTo>
                      <a:pt x="37" y="453"/>
                    </a:lnTo>
                    <a:lnTo>
                      <a:pt x="36" y="453"/>
                    </a:lnTo>
                    <a:lnTo>
                      <a:pt x="44" y="458"/>
                    </a:lnTo>
                    <a:lnTo>
                      <a:pt x="44" y="460"/>
                    </a:lnTo>
                    <a:lnTo>
                      <a:pt x="47" y="462"/>
                    </a:lnTo>
                    <a:lnTo>
                      <a:pt x="46" y="463"/>
                    </a:lnTo>
                    <a:lnTo>
                      <a:pt x="43" y="462"/>
                    </a:lnTo>
                    <a:lnTo>
                      <a:pt x="41" y="458"/>
                    </a:lnTo>
                    <a:lnTo>
                      <a:pt x="39" y="458"/>
                    </a:lnTo>
                    <a:lnTo>
                      <a:pt x="36" y="458"/>
                    </a:lnTo>
                    <a:lnTo>
                      <a:pt x="37" y="460"/>
                    </a:lnTo>
                    <a:lnTo>
                      <a:pt x="41" y="462"/>
                    </a:lnTo>
                    <a:lnTo>
                      <a:pt x="45" y="467"/>
                    </a:lnTo>
                    <a:lnTo>
                      <a:pt x="48" y="469"/>
                    </a:lnTo>
                    <a:lnTo>
                      <a:pt x="51" y="470"/>
                    </a:lnTo>
                    <a:lnTo>
                      <a:pt x="57" y="468"/>
                    </a:lnTo>
                    <a:lnTo>
                      <a:pt x="58" y="468"/>
                    </a:lnTo>
                    <a:lnTo>
                      <a:pt x="58" y="467"/>
                    </a:lnTo>
                    <a:lnTo>
                      <a:pt x="59" y="467"/>
                    </a:lnTo>
                    <a:lnTo>
                      <a:pt x="60" y="465"/>
                    </a:lnTo>
                    <a:lnTo>
                      <a:pt x="65" y="463"/>
                    </a:lnTo>
                    <a:lnTo>
                      <a:pt x="69" y="462"/>
                    </a:lnTo>
                    <a:lnTo>
                      <a:pt x="71" y="461"/>
                    </a:lnTo>
                    <a:lnTo>
                      <a:pt x="70" y="456"/>
                    </a:lnTo>
                    <a:lnTo>
                      <a:pt x="71" y="455"/>
                    </a:lnTo>
                    <a:lnTo>
                      <a:pt x="76" y="454"/>
                    </a:lnTo>
                    <a:lnTo>
                      <a:pt x="80" y="451"/>
                    </a:lnTo>
                    <a:lnTo>
                      <a:pt x="83" y="448"/>
                    </a:lnTo>
                    <a:lnTo>
                      <a:pt x="81" y="452"/>
                    </a:lnTo>
                    <a:lnTo>
                      <a:pt x="81" y="453"/>
                    </a:lnTo>
                    <a:lnTo>
                      <a:pt x="84" y="454"/>
                    </a:lnTo>
                    <a:lnTo>
                      <a:pt x="87" y="453"/>
                    </a:lnTo>
                    <a:lnTo>
                      <a:pt x="88" y="452"/>
                    </a:lnTo>
                    <a:lnTo>
                      <a:pt x="86" y="456"/>
                    </a:lnTo>
                    <a:lnTo>
                      <a:pt x="86" y="458"/>
                    </a:lnTo>
                    <a:lnTo>
                      <a:pt x="87" y="459"/>
                    </a:lnTo>
                    <a:lnTo>
                      <a:pt x="85" y="460"/>
                    </a:lnTo>
                    <a:lnTo>
                      <a:pt x="85" y="466"/>
                    </a:lnTo>
                    <a:lnTo>
                      <a:pt x="84" y="470"/>
                    </a:lnTo>
                    <a:lnTo>
                      <a:pt x="85" y="470"/>
                    </a:lnTo>
                    <a:lnTo>
                      <a:pt x="84" y="472"/>
                    </a:lnTo>
                    <a:lnTo>
                      <a:pt x="85" y="475"/>
                    </a:lnTo>
                    <a:lnTo>
                      <a:pt x="85" y="478"/>
                    </a:lnTo>
                    <a:lnTo>
                      <a:pt x="84" y="480"/>
                    </a:lnTo>
                    <a:lnTo>
                      <a:pt x="80" y="480"/>
                    </a:lnTo>
                    <a:lnTo>
                      <a:pt x="80" y="482"/>
                    </a:lnTo>
                    <a:lnTo>
                      <a:pt x="79" y="484"/>
                    </a:lnTo>
                    <a:lnTo>
                      <a:pt x="68" y="484"/>
                    </a:lnTo>
                    <a:lnTo>
                      <a:pt x="54" y="473"/>
                    </a:lnTo>
                    <a:lnTo>
                      <a:pt x="52" y="472"/>
                    </a:lnTo>
                    <a:lnTo>
                      <a:pt x="48" y="476"/>
                    </a:lnTo>
                    <a:lnTo>
                      <a:pt x="47" y="478"/>
                    </a:lnTo>
                    <a:lnTo>
                      <a:pt x="48" y="479"/>
                    </a:lnTo>
                    <a:lnTo>
                      <a:pt x="50" y="480"/>
                    </a:lnTo>
                    <a:lnTo>
                      <a:pt x="49" y="482"/>
                    </a:lnTo>
                    <a:lnTo>
                      <a:pt x="50" y="484"/>
                    </a:lnTo>
                    <a:lnTo>
                      <a:pt x="53" y="486"/>
                    </a:lnTo>
                    <a:lnTo>
                      <a:pt x="46" y="486"/>
                    </a:lnTo>
                    <a:lnTo>
                      <a:pt x="41" y="489"/>
                    </a:lnTo>
                    <a:lnTo>
                      <a:pt x="41" y="492"/>
                    </a:lnTo>
                    <a:lnTo>
                      <a:pt x="44" y="492"/>
                    </a:lnTo>
                    <a:lnTo>
                      <a:pt x="47" y="494"/>
                    </a:lnTo>
                    <a:lnTo>
                      <a:pt x="42" y="495"/>
                    </a:lnTo>
                    <a:lnTo>
                      <a:pt x="42" y="498"/>
                    </a:lnTo>
                    <a:lnTo>
                      <a:pt x="43" y="498"/>
                    </a:lnTo>
                    <a:lnTo>
                      <a:pt x="43" y="499"/>
                    </a:lnTo>
                    <a:lnTo>
                      <a:pt x="54" y="500"/>
                    </a:lnTo>
                    <a:lnTo>
                      <a:pt x="48" y="504"/>
                    </a:lnTo>
                    <a:lnTo>
                      <a:pt x="46" y="506"/>
                    </a:lnTo>
                    <a:lnTo>
                      <a:pt x="51" y="505"/>
                    </a:lnTo>
                    <a:lnTo>
                      <a:pt x="57" y="505"/>
                    </a:lnTo>
                    <a:lnTo>
                      <a:pt x="57" y="506"/>
                    </a:lnTo>
                    <a:lnTo>
                      <a:pt x="55" y="506"/>
                    </a:lnTo>
                    <a:lnTo>
                      <a:pt x="53" y="508"/>
                    </a:lnTo>
                    <a:lnTo>
                      <a:pt x="56" y="510"/>
                    </a:lnTo>
                    <a:lnTo>
                      <a:pt x="58" y="510"/>
                    </a:lnTo>
                    <a:lnTo>
                      <a:pt x="59" y="511"/>
                    </a:lnTo>
                    <a:lnTo>
                      <a:pt x="57" y="511"/>
                    </a:lnTo>
                    <a:lnTo>
                      <a:pt x="57" y="512"/>
                    </a:lnTo>
                    <a:lnTo>
                      <a:pt x="62" y="514"/>
                    </a:lnTo>
                    <a:lnTo>
                      <a:pt x="63" y="510"/>
                    </a:lnTo>
                    <a:lnTo>
                      <a:pt x="67" y="508"/>
                    </a:lnTo>
                    <a:lnTo>
                      <a:pt x="70" y="506"/>
                    </a:lnTo>
                    <a:lnTo>
                      <a:pt x="71" y="504"/>
                    </a:lnTo>
                    <a:lnTo>
                      <a:pt x="71" y="502"/>
                    </a:lnTo>
                    <a:lnTo>
                      <a:pt x="72" y="500"/>
                    </a:lnTo>
                    <a:lnTo>
                      <a:pt x="75" y="497"/>
                    </a:lnTo>
                    <a:lnTo>
                      <a:pt x="77" y="492"/>
                    </a:lnTo>
                    <a:lnTo>
                      <a:pt x="79" y="490"/>
                    </a:lnTo>
                    <a:lnTo>
                      <a:pt x="79" y="492"/>
                    </a:lnTo>
                    <a:lnTo>
                      <a:pt x="81" y="489"/>
                    </a:lnTo>
                    <a:lnTo>
                      <a:pt x="85" y="487"/>
                    </a:lnTo>
                    <a:lnTo>
                      <a:pt x="86" y="486"/>
                    </a:lnTo>
                    <a:lnTo>
                      <a:pt x="87" y="487"/>
                    </a:lnTo>
                    <a:lnTo>
                      <a:pt x="87" y="488"/>
                    </a:lnTo>
                    <a:lnTo>
                      <a:pt x="86" y="489"/>
                    </a:lnTo>
                    <a:lnTo>
                      <a:pt x="82" y="490"/>
                    </a:lnTo>
                    <a:lnTo>
                      <a:pt x="81" y="492"/>
                    </a:lnTo>
                    <a:lnTo>
                      <a:pt x="79" y="495"/>
                    </a:lnTo>
                    <a:lnTo>
                      <a:pt x="78" y="497"/>
                    </a:lnTo>
                    <a:lnTo>
                      <a:pt x="74" y="502"/>
                    </a:lnTo>
                    <a:lnTo>
                      <a:pt x="74" y="503"/>
                    </a:lnTo>
                    <a:lnTo>
                      <a:pt x="76" y="501"/>
                    </a:lnTo>
                    <a:lnTo>
                      <a:pt x="78" y="499"/>
                    </a:lnTo>
                    <a:lnTo>
                      <a:pt x="79" y="499"/>
                    </a:lnTo>
                    <a:lnTo>
                      <a:pt x="79" y="500"/>
                    </a:lnTo>
                    <a:lnTo>
                      <a:pt x="76" y="504"/>
                    </a:lnTo>
                    <a:lnTo>
                      <a:pt x="80" y="502"/>
                    </a:lnTo>
                    <a:lnTo>
                      <a:pt x="85" y="503"/>
                    </a:lnTo>
                    <a:lnTo>
                      <a:pt x="84" y="504"/>
                    </a:lnTo>
                    <a:lnTo>
                      <a:pt x="79" y="504"/>
                    </a:lnTo>
                    <a:lnTo>
                      <a:pt x="77" y="506"/>
                    </a:lnTo>
                    <a:lnTo>
                      <a:pt x="73" y="506"/>
                    </a:lnTo>
                    <a:lnTo>
                      <a:pt x="74" y="509"/>
                    </a:lnTo>
                    <a:lnTo>
                      <a:pt x="72" y="511"/>
                    </a:lnTo>
                    <a:lnTo>
                      <a:pt x="72" y="512"/>
                    </a:lnTo>
                    <a:lnTo>
                      <a:pt x="73" y="513"/>
                    </a:lnTo>
                    <a:lnTo>
                      <a:pt x="79" y="513"/>
                    </a:lnTo>
                    <a:lnTo>
                      <a:pt x="80" y="512"/>
                    </a:lnTo>
                    <a:lnTo>
                      <a:pt x="81" y="508"/>
                    </a:lnTo>
                    <a:lnTo>
                      <a:pt x="91" y="506"/>
                    </a:lnTo>
                    <a:lnTo>
                      <a:pt x="88" y="508"/>
                    </a:lnTo>
                    <a:lnTo>
                      <a:pt x="86" y="509"/>
                    </a:lnTo>
                    <a:lnTo>
                      <a:pt x="84" y="510"/>
                    </a:lnTo>
                    <a:lnTo>
                      <a:pt x="86" y="514"/>
                    </a:lnTo>
                    <a:lnTo>
                      <a:pt x="86" y="515"/>
                    </a:lnTo>
                    <a:lnTo>
                      <a:pt x="84" y="516"/>
                    </a:lnTo>
                    <a:lnTo>
                      <a:pt x="85" y="519"/>
                    </a:lnTo>
                    <a:lnTo>
                      <a:pt x="88" y="520"/>
                    </a:lnTo>
                    <a:lnTo>
                      <a:pt x="88" y="519"/>
                    </a:lnTo>
                    <a:lnTo>
                      <a:pt x="90" y="519"/>
                    </a:lnTo>
                    <a:lnTo>
                      <a:pt x="91" y="518"/>
                    </a:lnTo>
                    <a:lnTo>
                      <a:pt x="91" y="519"/>
                    </a:lnTo>
                    <a:lnTo>
                      <a:pt x="91" y="520"/>
                    </a:lnTo>
                    <a:lnTo>
                      <a:pt x="89" y="521"/>
                    </a:lnTo>
                    <a:lnTo>
                      <a:pt x="87" y="522"/>
                    </a:lnTo>
                    <a:lnTo>
                      <a:pt x="84" y="520"/>
                    </a:lnTo>
                    <a:lnTo>
                      <a:pt x="83" y="521"/>
                    </a:lnTo>
                    <a:lnTo>
                      <a:pt x="83" y="524"/>
                    </a:lnTo>
                    <a:lnTo>
                      <a:pt x="84" y="527"/>
                    </a:lnTo>
                    <a:lnTo>
                      <a:pt x="88" y="529"/>
                    </a:lnTo>
                    <a:lnTo>
                      <a:pt x="89" y="526"/>
                    </a:lnTo>
                    <a:lnTo>
                      <a:pt x="91" y="526"/>
                    </a:lnTo>
                    <a:lnTo>
                      <a:pt x="91" y="527"/>
                    </a:lnTo>
                    <a:lnTo>
                      <a:pt x="92" y="528"/>
                    </a:lnTo>
                    <a:lnTo>
                      <a:pt x="96" y="526"/>
                    </a:lnTo>
                    <a:lnTo>
                      <a:pt x="98" y="523"/>
                    </a:lnTo>
                    <a:lnTo>
                      <a:pt x="98" y="519"/>
                    </a:lnTo>
                    <a:lnTo>
                      <a:pt x="96" y="513"/>
                    </a:lnTo>
                    <a:lnTo>
                      <a:pt x="96" y="511"/>
                    </a:lnTo>
                    <a:lnTo>
                      <a:pt x="98" y="510"/>
                    </a:lnTo>
                    <a:lnTo>
                      <a:pt x="99" y="512"/>
                    </a:lnTo>
                    <a:lnTo>
                      <a:pt x="100" y="511"/>
                    </a:lnTo>
                    <a:lnTo>
                      <a:pt x="105" y="504"/>
                    </a:lnTo>
                    <a:lnTo>
                      <a:pt x="107" y="500"/>
                    </a:lnTo>
                    <a:lnTo>
                      <a:pt x="109" y="500"/>
                    </a:lnTo>
                    <a:lnTo>
                      <a:pt x="115" y="502"/>
                    </a:lnTo>
                    <a:lnTo>
                      <a:pt x="117" y="502"/>
                    </a:lnTo>
                    <a:lnTo>
                      <a:pt x="118" y="502"/>
                    </a:lnTo>
                    <a:lnTo>
                      <a:pt x="120" y="498"/>
                    </a:lnTo>
                    <a:lnTo>
                      <a:pt x="118" y="496"/>
                    </a:lnTo>
                    <a:lnTo>
                      <a:pt x="122" y="491"/>
                    </a:lnTo>
                    <a:lnTo>
                      <a:pt x="117" y="489"/>
                    </a:lnTo>
                    <a:lnTo>
                      <a:pt x="123" y="488"/>
                    </a:lnTo>
                    <a:lnTo>
                      <a:pt x="126" y="488"/>
                    </a:lnTo>
                    <a:lnTo>
                      <a:pt x="123" y="483"/>
                    </a:lnTo>
                    <a:lnTo>
                      <a:pt x="121" y="480"/>
                    </a:lnTo>
                    <a:lnTo>
                      <a:pt x="121" y="478"/>
                    </a:lnTo>
                    <a:lnTo>
                      <a:pt x="123" y="479"/>
                    </a:lnTo>
                    <a:lnTo>
                      <a:pt x="123" y="482"/>
                    </a:lnTo>
                    <a:lnTo>
                      <a:pt x="126" y="486"/>
                    </a:lnTo>
                    <a:lnTo>
                      <a:pt x="130" y="487"/>
                    </a:lnTo>
                    <a:lnTo>
                      <a:pt x="139" y="482"/>
                    </a:lnTo>
                    <a:lnTo>
                      <a:pt x="152" y="479"/>
                    </a:lnTo>
                    <a:lnTo>
                      <a:pt x="160" y="474"/>
                    </a:lnTo>
                    <a:lnTo>
                      <a:pt x="161" y="473"/>
                    </a:lnTo>
                    <a:lnTo>
                      <a:pt x="162" y="474"/>
                    </a:lnTo>
                    <a:lnTo>
                      <a:pt x="154" y="480"/>
                    </a:lnTo>
                    <a:lnTo>
                      <a:pt x="154" y="481"/>
                    </a:lnTo>
                    <a:lnTo>
                      <a:pt x="155" y="482"/>
                    </a:lnTo>
                    <a:lnTo>
                      <a:pt x="157" y="482"/>
                    </a:lnTo>
                    <a:lnTo>
                      <a:pt x="159" y="482"/>
                    </a:lnTo>
                    <a:lnTo>
                      <a:pt x="167" y="477"/>
                    </a:lnTo>
                    <a:lnTo>
                      <a:pt x="175" y="476"/>
                    </a:lnTo>
                    <a:lnTo>
                      <a:pt x="177" y="472"/>
                    </a:lnTo>
                    <a:lnTo>
                      <a:pt x="182" y="468"/>
                    </a:lnTo>
                    <a:lnTo>
                      <a:pt x="186" y="465"/>
                    </a:lnTo>
                    <a:lnTo>
                      <a:pt x="187" y="466"/>
                    </a:lnTo>
                    <a:lnTo>
                      <a:pt x="184" y="470"/>
                    </a:lnTo>
                    <a:lnTo>
                      <a:pt x="181" y="472"/>
                    </a:lnTo>
                    <a:lnTo>
                      <a:pt x="180" y="473"/>
                    </a:lnTo>
                    <a:lnTo>
                      <a:pt x="178" y="475"/>
                    </a:lnTo>
                    <a:lnTo>
                      <a:pt x="185" y="474"/>
                    </a:lnTo>
                    <a:lnTo>
                      <a:pt x="189" y="476"/>
                    </a:lnTo>
                    <a:lnTo>
                      <a:pt x="193" y="475"/>
                    </a:lnTo>
                    <a:lnTo>
                      <a:pt x="194" y="476"/>
                    </a:lnTo>
                    <a:lnTo>
                      <a:pt x="190" y="478"/>
                    </a:lnTo>
                    <a:lnTo>
                      <a:pt x="180" y="476"/>
                    </a:lnTo>
                    <a:lnTo>
                      <a:pt x="175" y="478"/>
                    </a:lnTo>
                    <a:lnTo>
                      <a:pt x="170" y="478"/>
                    </a:lnTo>
                    <a:lnTo>
                      <a:pt x="166" y="482"/>
                    </a:lnTo>
                    <a:lnTo>
                      <a:pt x="164" y="484"/>
                    </a:lnTo>
                    <a:lnTo>
                      <a:pt x="162" y="486"/>
                    </a:lnTo>
                    <a:lnTo>
                      <a:pt x="162" y="487"/>
                    </a:lnTo>
                    <a:lnTo>
                      <a:pt x="159" y="488"/>
                    </a:lnTo>
                    <a:lnTo>
                      <a:pt x="155" y="494"/>
                    </a:lnTo>
                    <a:lnTo>
                      <a:pt x="154" y="497"/>
                    </a:lnTo>
                    <a:lnTo>
                      <a:pt x="152" y="500"/>
                    </a:lnTo>
                    <a:lnTo>
                      <a:pt x="153" y="503"/>
                    </a:lnTo>
                    <a:lnTo>
                      <a:pt x="149" y="510"/>
                    </a:lnTo>
                    <a:lnTo>
                      <a:pt x="148" y="520"/>
                    </a:lnTo>
                    <a:lnTo>
                      <a:pt x="147" y="516"/>
                    </a:lnTo>
                    <a:lnTo>
                      <a:pt x="147" y="512"/>
                    </a:lnTo>
                    <a:lnTo>
                      <a:pt x="149" y="505"/>
                    </a:lnTo>
                    <a:lnTo>
                      <a:pt x="149" y="500"/>
                    </a:lnTo>
                    <a:lnTo>
                      <a:pt x="152" y="496"/>
                    </a:lnTo>
                    <a:lnTo>
                      <a:pt x="152" y="494"/>
                    </a:lnTo>
                    <a:lnTo>
                      <a:pt x="153" y="492"/>
                    </a:lnTo>
                    <a:lnTo>
                      <a:pt x="158" y="484"/>
                    </a:lnTo>
                    <a:lnTo>
                      <a:pt x="152" y="482"/>
                    </a:lnTo>
                    <a:lnTo>
                      <a:pt x="147" y="483"/>
                    </a:lnTo>
                    <a:lnTo>
                      <a:pt x="144" y="484"/>
                    </a:lnTo>
                    <a:lnTo>
                      <a:pt x="142" y="487"/>
                    </a:lnTo>
                    <a:lnTo>
                      <a:pt x="141" y="488"/>
                    </a:lnTo>
                    <a:lnTo>
                      <a:pt x="133" y="490"/>
                    </a:lnTo>
                    <a:lnTo>
                      <a:pt x="134" y="492"/>
                    </a:lnTo>
                    <a:lnTo>
                      <a:pt x="129" y="495"/>
                    </a:lnTo>
                    <a:lnTo>
                      <a:pt x="123" y="496"/>
                    </a:lnTo>
                    <a:lnTo>
                      <a:pt x="124" y="499"/>
                    </a:lnTo>
                    <a:lnTo>
                      <a:pt x="121" y="502"/>
                    </a:lnTo>
                    <a:lnTo>
                      <a:pt x="120" y="505"/>
                    </a:lnTo>
                    <a:lnTo>
                      <a:pt x="114" y="507"/>
                    </a:lnTo>
                    <a:lnTo>
                      <a:pt x="113" y="508"/>
                    </a:lnTo>
                    <a:lnTo>
                      <a:pt x="114" y="511"/>
                    </a:lnTo>
                    <a:lnTo>
                      <a:pt x="117" y="514"/>
                    </a:lnTo>
                    <a:lnTo>
                      <a:pt x="117" y="516"/>
                    </a:lnTo>
                    <a:lnTo>
                      <a:pt x="116" y="516"/>
                    </a:lnTo>
                    <a:lnTo>
                      <a:pt x="117" y="517"/>
                    </a:lnTo>
                    <a:lnTo>
                      <a:pt x="121" y="516"/>
                    </a:lnTo>
                    <a:lnTo>
                      <a:pt x="127" y="511"/>
                    </a:lnTo>
                    <a:lnTo>
                      <a:pt x="128" y="511"/>
                    </a:lnTo>
                    <a:lnTo>
                      <a:pt x="127" y="514"/>
                    </a:lnTo>
                    <a:lnTo>
                      <a:pt x="130" y="515"/>
                    </a:lnTo>
                    <a:lnTo>
                      <a:pt x="115" y="519"/>
                    </a:lnTo>
                    <a:lnTo>
                      <a:pt x="110" y="520"/>
                    </a:lnTo>
                    <a:lnTo>
                      <a:pt x="108" y="522"/>
                    </a:lnTo>
                    <a:lnTo>
                      <a:pt x="104" y="528"/>
                    </a:lnTo>
                    <a:lnTo>
                      <a:pt x="106" y="531"/>
                    </a:lnTo>
                    <a:lnTo>
                      <a:pt x="105" y="533"/>
                    </a:lnTo>
                    <a:lnTo>
                      <a:pt x="98" y="533"/>
                    </a:lnTo>
                    <a:lnTo>
                      <a:pt x="90" y="536"/>
                    </a:lnTo>
                    <a:lnTo>
                      <a:pt x="86" y="538"/>
                    </a:lnTo>
                    <a:lnTo>
                      <a:pt x="87" y="541"/>
                    </a:lnTo>
                    <a:lnTo>
                      <a:pt x="84" y="542"/>
                    </a:lnTo>
                    <a:lnTo>
                      <a:pt x="80" y="544"/>
                    </a:lnTo>
                    <a:lnTo>
                      <a:pt x="81" y="545"/>
                    </a:lnTo>
                    <a:lnTo>
                      <a:pt x="82" y="545"/>
                    </a:lnTo>
                    <a:lnTo>
                      <a:pt x="86" y="543"/>
                    </a:lnTo>
                    <a:lnTo>
                      <a:pt x="84" y="545"/>
                    </a:lnTo>
                    <a:lnTo>
                      <a:pt x="84" y="546"/>
                    </a:lnTo>
                    <a:lnTo>
                      <a:pt x="88" y="547"/>
                    </a:lnTo>
                    <a:lnTo>
                      <a:pt x="93" y="552"/>
                    </a:lnTo>
                    <a:lnTo>
                      <a:pt x="95" y="552"/>
                    </a:lnTo>
                    <a:lnTo>
                      <a:pt x="101" y="550"/>
                    </a:lnTo>
                    <a:lnTo>
                      <a:pt x="101" y="549"/>
                    </a:lnTo>
                    <a:lnTo>
                      <a:pt x="103" y="545"/>
                    </a:lnTo>
                    <a:lnTo>
                      <a:pt x="104" y="543"/>
                    </a:lnTo>
                    <a:lnTo>
                      <a:pt x="105" y="543"/>
                    </a:lnTo>
                    <a:lnTo>
                      <a:pt x="104" y="545"/>
                    </a:lnTo>
                    <a:lnTo>
                      <a:pt x="105" y="548"/>
                    </a:lnTo>
                    <a:lnTo>
                      <a:pt x="102" y="550"/>
                    </a:lnTo>
                    <a:lnTo>
                      <a:pt x="103" y="552"/>
                    </a:lnTo>
                    <a:lnTo>
                      <a:pt x="106" y="554"/>
                    </a:lnTo>
                    <a:lnTo>
                      <a:pt x="112" y="552"/>
                    </a:lnTo>
                    <a:lnTo>
                      <a:pt x="114" y="551"/>
                    </a:lnTo>
                    <a:lnTo>
                      <a:pt x="116" y="550"/>
                    </a:lnTo>
                    <a:lnTo>
                      <a:pt x="121" y="546"/>
                    </a:lnTo>
                    <a:lnTo>
                      <a:pt x="123" y="545"/>
                    </a:lnTo>
                    <a:lnTo>
                      <a:pt x="132" y="543"/>
                    </a:lnTo>
                    <a:lnTo>
                      <a:pt x="131" y="544"/>
                    </a:lnTo>
                    <a:lnTo>
                      <a:pt x="124" y="547"/>
                    </a:lnTo>
                    <a:lnTo>
                      <a:pt x="123" y="548"/>
                    </a:lnTo>
                    <a:lnTo>
                      <a:pt x="121" y="549"/>
                    </a:lnTo>
                    <a:lnTo>
                      <a:pt x="112" y="555"/>
                    </a:lnTo>
                    <a:lnTo>
                      <a:pt x="104" y="556"/>
                    </a:lnTo>
                    <a:lnTo>
                      <a:pt x="102" y="555"/>
                    </a:lnTo>
                    <a:lnTo>
                      <a:pt x="100" y="552"/>
                    </a:lnTo>
                    <a:lnTo>
                      <a:pt x="99" y="553"/>
                    </a:lnTo>
                    <a:lnTo>
                      <a:pt x="99" y="555"/>
                    </a:lnTo>
                    <a:lnTo>
                      <a:pt x="92" y="557"/>
                    </a:lnTo>
                    <a:lnTo>
                      <a:pt x="91" y="559"/>
                    </a:lnTo>
                    <a:lnTo>
                      <a:pt x="88" y="561"/>
                    </a:lnTo>
                    <a:lnTo>
                      <a:pt x="87" y="562"/>
                    </a:lnTo>
                    <a:lnTo>
                      <a:pt x="88" y="563"/>
                    </a:lnTo>
                    <a:lnTo>
                      <a:pt x="90" y="563"/>
                    </a:lnTo>
                    <a:lnTo>
                      <a:pt x="98" y="562"/>
                    </a:lnTo>
                    <a:lnTo>
                      <a:pt x="98" y="563"/>
                    </a:lnTo>
                    <a:lnTo>
                      <a:pt x="97" y="563"/>
                    </a:lnTo>
                    <a:lnTo>
                      <a:pt x="98" y="565"/>
                    </a:lnTo>
                    <a:lnTo>
                      <a:pt x="90" y="565"/>
                    </a:lnTo>
                    <a:lnTo>
                      <a:pt x="89" y="565"/>
                    </a:lnTo>
                    <a:lnTo>
                      <a:pt x="89" y="567"/>
                    </a:lnTo>
                    <a:lnTo>
                      <a:pt x="89" y="569"/>
                    </a:lnTo>
                    <a:lnTo>
                      <a:pt x="85" y="569"/>
                    </a:lnTo>
                    <a:lnTo>
                      <a:pt x="86" y="568"/>
                    </a:lnTo>
                    <a:lnTo>
                      <a:pt x="87" y="567"/>
                    </a:lnTo>
                    <a:lnTo>
                      <a:pt x="87" y="565"/>
                    </a:lnTo>
                    <a:lnTo>
                      <a:pt x="86" y="564"/>
                    </a:lnTo>
                    <a:lnTo>
                      <a:pt x="82" y="563"/>
                    </a:lnTo>
                    <a:lnTo>
                      <a:pt x="77" y="563"/>
                    </a:lnTo>
                    <a:lnTo>
                      <a:pt x="75" y="562"/>
                    </a:lnTo>
                    <a:lnTo>
                      <a:pt x="73" y="562"/>
                    </a:lnTo>
                    <a:lnTo>
                      <a:pt x="71" y="564"/>
                    </a:lnTo>
                    <a:lnTo>
                      <a:pt x="71" y="565"/>
                    </a:lnTo>
                    <a:lnTo>
                      <a:pt x="71" y="567"/>
                    </a:lnTo>
                    <a:lnTo>
                      <a:pt x="71" y="568"/>
                    </a:lnTo>
                    <a:lnTo>
                      <a:pt x="70" y="568"/>
                    </a:lnTo>
                    <a:lnTo>
                      <a:pt x="71" y="571"/>
                    </a:lnTo>
                    <a:lnTo>
                      <a:pt x="70" y="575"/>
                    </a:lnTo>
                    <a:lnTo>
                      <a:pt x="68" y="577"/>
                    </a:lnTo>
                    <a:lnTo>
                      <a:pt x="63" y="579"/>
                    </a:lnTo>
                    <a:lnTo>
                      <a:pt x="62" y="580"/>
                    </a:lnTo>
                    <a:lnTo>
                      <a:pt x="62" y="579"/>
                    </a:lnTo>
                    <a:lnTo>
                      <a:pt x="62" y="577"/>
                    </a:lnTo>
                    <a:lnTo>
                      <a:pt x="65" y="576"/>
                    </a:lnTo>
                    <a:lnTo>
                      <a:pt x="65" y="575"/>
                    </a:lnTo>
                    <a:lnTo>
                      <a:pt x="68" y="573"/>
                    </a:lnTo>
                    <a:lnTo>
                      <a:pt x="67" y="568"/>
                    </a:lnTo>
                    <a:lnTo>
                      <a:pt x="67" y="567"/>
                    </a:lnTo>
                    <a:lnTo>
                      <a:pt x="68" y="565"/>
                    </a:lnTo>
                    <a:lnTo>
                      <a:pt x="69" y="563"/>
                    </a:lnTo>
                    <a:lnTo>
                      <a:pt x="69" y="559"/>
                    </a:lnTo>
                    <a:lnTo>
                      <a:pt x="67" y="558"/>
                    </a:lnTo>
                    <a:lnTo>
                      <a:pt x="68" y="556"/>
                    </a:lnTo>
                    <a:lnTo>
                      <a:pt x="62" y="560"/>
                    </a:lnTo>
                    <a:lnTo>
                      <a:pt x="60" y="563"/>
                    </a:lnTo>
                    <a:lnTo>
                      <a:pt x="60" y="564"/>
                    </a:lnTo>
                    <a:lnTo>
                      <a:pt x="62" y="565"/>
                    </a:lnTo>
                    <a:lnTo>
                      <a:pt x="63" y="567"/>
                    </a:lnTo>
                    <a:lnTo>
                      <a:pt x="62" y="569"/>
                    </a:lnTo>
                    <a:lnTo>
                      <a:pt x="62" y="571"/>
                    </a:lnTo>
                    <a:lnTo>
                      <a:pt x="61" y="571"/>
                    </a:lnTo>
                    <a:lnTo>
                      <a:pt x="61" y="569"/>
                    </a:lnTo>
                    <a:lnTo>
                      <a:pt x="60" y="567"/>
                    </a:lnTo>
                    <a:lnTo>
                      <a:pt x="60" y="566"/>
                    </a:lnTo>
                    <a:lnTo>
                      <a:pt x="59" y="565"/>
                    </a:lnTo>
                    <a:lnTo>
                      <a:pt x="57" y="565"/>
                    </a:lnTo>
                    <a:lnTo>
                      <a:pt x="54" y="567"/>
                    </a:lnTo>
                    <a:lnTo>
                      <a:pt x="53" y="567"/>
                    </a:lnTo>
                    <a:lnTo>
                      <a:pt x="53" y="569"/>
                    </a:lnTo>
                    <a:lnTo>
                      <a:pt x="51" y="571"/>
                    </a:lnTo>
                    <a:lnTo>
                      <a:pt x="48" y="575"/>
                    </a:lnTo>
                    <a:lnTo>
                      <a:pt x="45" y="576"/>
                    </a:lnTo>
                    <a:lnTo>
                      <a:pt x="45" y="577"/>
                    </a:lnTo>
                    <a:lnTo>
                      <a:pt x="48" y="577"/>
                    </a:lnTo>
                    <a:lnTo>
                      <a:pt x="48" y="578"/>
                    </a:lnTo>
                    <a:lnTo>
                      <a:pt x="45" y="578"/>
                    </a:lnTo>
                    <a:lnTo>
                      <a:pt x="43" y="579"/>
                    </a:lnTo>
                    <a:lnTo>
                      <a:pt x="45" y="583"/>
                    </a:lnTo>
                    <a:lnTo>
                      <a:pt x="45" y="588"/>
                    </a:lnTo>
                    <a:lnTo>
                      <a:pt x="50" y="592"/>
                    </a:lnTo>
                    <a:lnTo>
                      <a:pt x="51" y="595"/>
                    </a:lnTo>
                    <a:lnTo>
                      <a:pt x="53" y="597"/>
                    </a:lnTo>
                    <a:lnTo>
                      <a:pt x="54" y="597"/>
                    </a:lnTo>
                    <a:lnTo>
                      <a:pt x="56" y="589"/>
                    </a:lnTo>
                    <a:lnTo>
                      <a:pt x="57" y="590"/>
                    </a:lnTo>
                    <a:lnTo>
                      <a:pt x="57" y="591"/>
                    </a:lnTo>
                    <a:lnTo>
                      <a:pt x="57" y="596"/>
                    </a:lnTo>
                    <a:lnTo>
                      <a:pt x="59" y="602"/>
                    </a:lnTo>
                    <a:lnTo>
                      <a:pt x="60" y="602"/>
                    </a:lnTo>
                    <a:lnTo>
                      <a:pt x="62" y="601"/>
                    </a:lnTo>
                    <a:lnTo>
                      <a:pt x="61" y="595"/>
                    </a:lnTo>
                    <a:lnTo>
                      <a:pt x="62" y="591"/>
                    </a:lnTo>
                    <a:lnTo>
                      <a:pt x="63" y="590"/>
                    </a:lnTo>
                    <a:lnTo>
                      <a:pt x="64" y="591"/>
                    </a:lnTo>
                    <a:lnTo>
                      <a:pt x="63" y="597"/>
                    </a:lnTo>
                    <a:lnTo>
                      <a:pt x="63" y="601"/>
                    </a:lnTo>
                    <a:lnTo>
                      <a:pt x="65" y="603"/>
                    </a:lnTo>
                    <a:lnTo>
                      <a:pt x="66" y="604"/>
                    </a:lnTo>
                    <a:lnTo>
                      <a:pt x="69" y="604"/>
                    </a:lnTo>
                    <a:lnTo>
                      <a:pt x="71" y="603"/>
                    </a:lnTo>
                    <a:lnTo>
                      <a:pt x="74" y="599"/>
                    </a:lnTo>
                    <a:lnTo>
                      <a:pt x="75" y="591"/>
                    </a:lnTo>
                    <a:lnTo>
                      <a:pt x="72" y="590"/>
                    </a:lnTo>
                    <a:lnTo>
                      <a:pt x="73" y="589"/>
                    </a:lnTo>
                    <a:lnTo>
                      <a:pt x="76" y="590"/>
                    </a:lnTo>
                    <a:lnTo>
                      <a:pt x="78" y="595"/>
                    </a:lnTo>
                    <a:lnTo>
                      <a:pt x="78" y="597"/>
                    </a:lnTo>
                    <a:lnTo>
                      <a:pt x="80" y="599"/>
                    </a:lnTo>
                    <a:lnTo>
                      <a:pt x="78" y="600"/>
                    </a:lnTo>
                    <a:lnTo>
                      <a:pt x="77" y="601"/>
                    </a:lnTo>
                    <a:lnTo>
                      <a:pt x="77" y="603"/>
                    </a:lnTo>
                    <a:lnTo>
                      <a:pt x="79" y="602"/>
                    </a:lnTo>
                    <a:lnTo>
                      <a:pt x="83" y="600"/>
                    </a:lnTo>
                    <a:lnTo>
                      <a:pt x="84" y="597"/>
                    </a:lnTo>
                    <a:lnTo>
                      <a:pt x="88" y="598"/>
                    </a:lnTo>
                    <a:lnTo>
                      <a:pt x="89" y="597"/>
                    </a:lnTo>
                    <a:lnTo>
                      <a:pt x="91" y="598"/>
                    </a:lnTo>
                    <a:lnTo>
                      <a:pt x="96" y="597"/>
                    </a:lnTo>
                    <a:lnTo>
                      <a:pt x="97" y="594"/>
                    </a:lnTo>
                    <a:lnTo>
                      <a:pt x="96" y="593"/>
                    </a:lnTo>
                    <a:lnTo>
                      <a:pt x="93" y="591"/>
                    </a:lnTo>
                    <a:lnTo>
                      <a:pt x="92" y="588"/>
                    </a:lnTo>
                    <a:lnTo>
                      <a:pt x="89" y="588"/>
                    </a:lnTo>
                    <a:lnTo>
                      <a:pt x="84" y="589"/>
                    </a:lnTo>
                    <a:lnTo>
                      <a:pt x="81" y="591"/>
                    </a:lnTo>
                    <a:lnTo>
                      <a:pt x="80" y="591"/>
                    </a:lnTo>
                    <a:lnTo>
                      <a:pt x="85" y="588"/>
                    </a:lnTo>
                    <a:lnTo>
                      <a:pt x="85" y="586"/>
                    </a:lnTo>
                    <a:lnTo>
                      <a:pt x="84" y="584"/>
                    </a:lnTo>
                    <a:lnTo>
                      <a:pt x="86" y="586"/>
                    </a:lnTo>
                    <a:lnTo>
                      <a:pt x="88" y="587"/>
                    </a:lnTo>
                    <a:lnTo>
                      <a:pt x="92" y="584"/>
                    </a:lnTo>
                    <a:lnTo>
                      <a:pt x="93" y="583"/>
                    </a:lnTo>
                    <a:lnTo>
                      <a:pt x="90" y="579"/>
                    </a:lnTo>
                    <a:lnTo>
                      <a:pt x="92" y="577"/>
                    </a:lnTo>
                    <a:lnTo>
                      <a:pt x="93" y="577"/>
                    </a:lnTo>
                    <a:lnTo>
                      <a:pt x="97" y="582"/>
                    </a:lnTo>
                    <a:lnTo>
                      <a:pt x="99" y="583"/>
                    </a:lnTo>
                    <a:lnTo>
                      <a:pt x="109" y="583"/>
                    </a:lnTo>
                    <a:lnTo>
                      <a:pt x="115" y="582"/>
                    </a:lnTo>
                    <a:lnTo>
                      <a:pt x="119" y="582"/>
                    </a:lnTo>
                    <a:lnTo>
                      <a:pt x="120" y="583"/>
                    </a:lnTo>
                    <a:lnTo>
                      <a:pt x="107" y="586"/>
                    </a:lnTo>
                    <a:lnTo>
                      <a:pt x="99" y="586"/>
                    </a:lnTo>
                    <a:lnTo>
                      <a:pt x="98" y="590"/>
                    </a:lnTo>
                    <a:lnTo>
                      <a:pt x="101" y="596"/>
                    </a:lnTo>
                    <a:lnTo>
                      <a:pt x="104" y="596"/>
                    </a:lnTo>
                    <a:lnTo>
                      <a:pt x="107" y="594"/>
                    </a:lnTo>
                    <a:lnTo>
                      <a:pt x="107" y="592"/>
                    </a:lnTo>
                    <a:lnTo>
                      <a:pt x="105" y="591"/>
                    </a:lnTo>
                    <a:lnTo>
                      <a:pt x="107" y="589"/>
                    </a:lnTo>
                    <a:lnTo>
                      <a:pt x="106" y="588"/>
                    </a:lnTo>
                    <a:lnTo>
                      <a:pt x="108" y="588"/>
                    </a:lnTo>
                    <a:lnTo>
                      <a:pt x="108" y="591"/>
                    </a:lnTo>
                    <a:lnTo>
                      <a:pt x="109" y="591"/>
                    </a:lnTo>
                    <a:lnTo>
                      <a:pt x="114" y="589"/>
                    </a:lnTo>
                    <a:lnTo>
                      <a:pt x="120" y="585"/>
                    </a:lnTo>
                    <a:lnTo>
                      <a:pt x="121" y="582"/>
                    </a:lnTo>
                    <a:lnTo>
                      <a:pt x="122" y="579"/>
                    </a:lnTo>
                    <a:lnTo>
                      <a:pt x="125" y="577"/>
                    </a:lnTo>
                    <a:lnTo>
                      <a:pt x="127" y="572"/>
                    </a:lnTo>
                    <a:lnTo>
                      <a:pt x="128" y="570"/>
                    </a:lnTo>
                    <a:lnTo>
                      <a:pt x="129" y="567"/>
                    </a:lnTo>
                    <a:lnTo>
                      <a:pt x="130" y="565"/>
                    </a:lnTo>
                    <a:lnTo>
                      <a:pt x="132" y="564"/>
                    </a:lnTo>
                    <a:lnTo>
                      <a:pt x="131" y="565"/>
                    </a:lnTo>
                    <a:lnTo>
                      <a:pt x="130" y="567"/>
                    </a:lnTo>
                    <a:lnTo>
                      <a:pt x="130" y="568"/>
                    </a:lnTo>
                    <a:lnTo>
                      <a:pt x="129" y="569"/>
                    </a:lnTo>
                    <a:lnTo>
                      <a:pt x="129" y="573"/>
                    </a:lnTo>
                    <a:lnTo>
                      <a:pt x="126" y="577"/>
                    </a:lnTo>
                    <a:lnTo>
                      <a:pt x="126" y="578"/>
                    </a:lnTo>
                    <a:lnTo>
                      <a:pt x="127" y="578"/>
                    </a:lnTo>
                    <a:lnTo>
                      <a:pt x="137" y="574"/>
                    </a:lnTo>
                    <a:lnTo>
                      <a:pt x="146" y="573"/>
                    </a:lnTo>
                    <a:lnTo>
                      <a:pt x="150" y="574"/>
                    </a:lnTo>
                    <a:lnTo>
                      <a:pt x="142" y="575"/>
                    </a:lnTo>
                    <a:lnTo>
                      <a:pt x="126" y="580"/>
                    </a:lnTo>
                    <a:lnTo>
                      <a:pt x="124" y="582"/>
                    </a:lnTo>
                    <a:lnTo>
                      <a:pt x="124" y="585"/>
                    </a:lnTo>
                    <a:lnTo>
                      <a:pt x="122" y="588"/>
                    </a:lnTo>
                    <a:lnTo>
                      <a:pt x="121" y="587"/>
                    </a:lnTo>
                    <a:lnTo>
                      <a:pt x="111" y="593"/>
                    </a:lnTo>
                    <a:lnTo>
                      <a:pt x="107" y="597"/>
                    </a:lnTo>
                    <a:lnTo>
                      <a:pt x="107" y="598"/>
                    </a:lnTo>
                    <a:lnTo>
                      <a:pt x="108" y="599"/>
                    </a:lnTo>
                    <a:lnTo>
                      <a:pt x="111" y="599"/>
                    </a:lnTo>
                    <a:lnTo>
                      <a:pt x="112" y="596"/>
                    </a:lnTo>
                    <a:lnTo>
                      <a:pt x="112" y="598"/>
                    </a:lnTo>
                    <a:lnTo>
                      <a:pt x="114" y="600"/>
                    </a:lnTo>
                    <a:lnTo>
                      <a:pt x="117" y="600"/>
                    </a:lnTo>
                    <a:lnTo>
                      <a:pt x="120" y="597"/>
                    </a:lnTo>
                    <a:lnTo>
                      <a:pt x="120" y="598"/>
                    </a:lnTo>
                    <a:lnTo>
                      <a:pt x="120" y="600"/>
                    </a:lnTo>
                    <a:lnTo>
                      <a:pt x="123" y="600"/>
                    </a:lnTo>
                    <a:lnTo>
                      <a:pt x="123" y="598"/>
                    </a:lnTo>
                    <a:lnTo>
                      <a:pt x="123" y="595"/>
                    </a:lnTo>
                    <a:lnTo>
                      <a:pt x="123" y="597"/>
                    </a:lnTo>
                    <a:lnTo>
                      <a:pt x="125" y="598"/>
                    </a:lnTo>
                    <a:lnTo>
                      <a:pt x="126" y="601"/>
                    </a:lnTo>
                    <a:lnTo>
                      <a:pt x="123" y="600"/>
                    </a:lnTo>
                    <a:lnTo>
                      <a:pt x="120" y="601"/>
                    </a:lnTo>
                    <a:lnTo>
                      <a:pt x="115" y="601"/>
                    </a:lnTo>
                    <a:lnTo>
                      <a:pt x="115" y="603"/>
                    </a:lnTo>
                    <a:lnTo>
                      <a:pt x="117" y="606"/>
                    </a:lnTo>
                    <a:lnTo>
                      <a:pt x="121" y="604"/>
                    </a:lnTo>
                    <a:lnTo>
                      <a:pt x="126" y="603"/>
                    </a:lnTo>
                    <a:lnTo>
                      <a:pt x="132" y="600"/>
                    </a:lnTo>
                    <a:lnTo>
                      <a:pt x="139" y="599"/>
                    </a:lnTo>
                    <a:lnTo>
                      <a:pt x="143" y="599"/>
                    </a:lnTo>
                    <a:lnTo>
                      <a:pt x="144" y="600"/>
                    </a:lnTo>
                    <a:lnTo>
                      <a:pt x="133" y="600"/>
                    </a:lnTo>
                    <a:lnTo>
                      <a:pt x="128" y="604"/>
                    </a:lnTo>
                    <a:lnTo>
                      <a:pt x="120" y="606"/>
                    </a:lnTo>
                    <a:lnTo>
                      <a:pt x="112" y="612"/>
                    </a:lnTo>
                    <a:lnTo>
                      <a:pt x="108" y="616"/>
                    </a:lnTo>
                    <a:lnTo>
                      <a:pt x="108" y="618"/>
                    </a:lnTo>
                    <a:lnTo>
                      <a:pt x="109" y="618"/>
                    </a:lnTo>
                    <a:lnTo>
                      <a:pt x="117" y="618"/>
                    </a:lnTo>
                    <a:lnTo>
                      <a:pt x="100" y="622"/>
                    </a:lnTo>
                    <a:lnTo>
                      <a:pt x="98" y="624"/>
                    </a:lnTo>
                    <a:lnTo>
                      <a:pt x="97" y="626"/>
                    </a:lnTo>
                    <a:lnTo>
                      <a:pt x="101" y="632"/>
                    </a:lnTo>
                    <a:lnTo>
                      <a:pt x="104" y="632"/>
                    </a:lnTo>
                    <a:lnTo>
                      <a:pt x="108" y="631"/>
                    </a:lnTo>
                    <a:lnTo>
                      <a:pt x="111" y="634"/>
                    </a:lnTo>
                    <a:lnTo>
                      <a:pt x="108" y="634"/>
                    </a:lnTo>
                    <a:lnTo>
                      <a:pt x="106" y="637"/>
                    </a:lnTo>
                    <a:lnTo>
                      <a:pt x="109" y="643"/>
                    </a:lnTo>
                    <a:lnTo>
                      <a:pt x="110" y="644"/>
                    </a:lnTo>
                    <a:lnTo>
                      <a:pt x="115" y="637"/>
                    </a:lnTo>
                    <a:lnTo>
                      <a:pt x="117" y="635"/>
                    </a:lnTo>
                    <a:lnTo>
                      <a:pt x="121" y="633"/>
                    </a:lnTo>
                    <a:lnTo>
                      <a:pt x="131" y="632"/>
                    </a:lnTo>
                    <a:lnTo>
                      <a:pt x="139" y="630"/>
                    </a:lnTo>
                    <a:lnTo>
                      <a:pt x="147" y="628"/>
                    </a:lnTo>
                    <a:lnTo>
                      <a:pt x="155" y="627"/>
                    </a:lnTo>
                    <a:lnTo>
                      <a:pt x="156" y="627"/>
                    </a:lnTo>
                    <a:lnTo>
                      <a:pt x="127" y="633"/>
                    </a:lnTo>
                    <a:lnTo>
                      <a:pt x="117" y="638"/>
                    </a:lnTo>
                    <a:lnTo>
                      <a:pt x="112" y="644"/>
                    </a:lnTo>
                    <a:lnTo>
                      <a:pt x="112" y="645"/>
                    </a:lnTo>
                    <a:lnTo>
                      <a:pt x="115" y="648"/>
                    </a:lnTo>
                    <a:lnTo>
                      <a:pt x="118" y="649"/>
                    </a:lnTo>
                    <a:lnTo>
                      <a:pt x="125" y="650"/>
                    </a:lnTo>
                    <a:lnTo>
                      <a:pt x="120" y="651"/>
                    </a:lnTo>
                    <a:lnTo>
                      <a:pt x="117" y="651"/>
                    </a:lnTo>
                    <a:lnTo>
                      <a:pt x="114" y="650"/>
                    </a:lnTo>
                    <a:lnTo>
                      <a:pt x="108" y="645"/>
                    </a:lnTo>
                    <a:lnTo>
                      <a:pt x="104" y="644"/>
                    </a:lnTo>
                    <a:lnTo>
                      <a:pt x="103" y="641"/>
                    </a:lnTo>
                    <a:lnTo>
                      <a:pt x="103" y="640"/>
                    </a:lnTo>
                    <a:lnTo>
                      <a:pt x="96" y="637"/>
                    </a:lnTo>
                    <a:lnTo>
                      <a:pt x="93" y="638"/>
                    </a:lnTo>
                    <a:lnTo>
                      <a:pt x="93" y="640"/>
                    </a:lnTo>
                    <a:lnTo>
                      <a:pt x="93" y="641"/>
                    </a:lnTo>
                    <a:lnTo>
                      <a:pt x="87" y="641"/>
                    </a:lnTo>
                    <a:lnTo>
                      <a:pt x="85" y="648"/>
                    </a:lnTo>
                    <a:lnTo>
                      <a:pt x="84" y="647"/>
                    </a:lnTo>
                    <a:lnTo>
                      <a:pt x="84" y="642"/>
                    </a:lnTo>
                    <a:lnTo>
                      <a:pt x="85" y="636"/>
                    </a:lnTo>
                    <a:lnTo>
                      <a:pt x="72" y="630"/>
                    </a:lnTo>
                    <a:lnTo>
                      <a:pt x="71" y="633"/>
                    </a:lnTo>
                    <a:lnTo>
                      <a:pt x="70" y="635"/>
                    </a:lnTo>
                    <a:lnTo>
                      <a:pt x="75" y="635"/>
                    </a:lnTo>
                    <a:lnTo>
                      <a:pt x="75" y="636"/>
                    </a:lnTo>
                    <a:lnTo>
                      <a:pt x="73" y="636"/>
                    </a:lnTo>
                    <a:lnTo>
                      <a:pt x="72" y="637"/>
                    </a:lnTo>
                    <a:lnTo>
                      <a:pt x="75" y="638"/>
                    </a:lnTo>
                    <a:lnTo>
                      <a:pt x="76" y="640"/>
                    </a:lnTo>
                    <a:lnTo>
                      <a:pt x="78" y="640"/>
                    </a:lnTo>
                    <a:lnTo>
                      <a:pt x="78" y="641"/>
                    </a:lnTo>
                    <a:lnTo>
                      <a:pt x="77" y="643"/>
                    </a:lnTo>
                    <a:lnTo>
                      <a:pt x="76" y="643"/>
                    </a:lnTo>
                    <a:lnTo>
                      <a:pt x="73" y="638"/>
                    </a:lnTo>
                    <a:lnTo>
                      <a:pt x="71" y="639"/>
                    </a:lnTo>
                    <a:lnTo>
                      <a:pt x="71" y="640"/>
                    </a:lnTo>
                    <a:lnTo>
                      <a:pt x="72" y="640"/>
                    </a:lnTo>
                    <a:lnTo>
                      <a:pt x="72" y="642"/>
                    </a:lnTo>
                    <a:lnTo>
                      <a:pt x="74" y="645"/>
                    </a:lnTo>
                    <a:lnTo>
                      <a:pt x="71" y="647"/>
                    </a:lnTo>
                    <a:lnTo>
                      <a:pt x="71" y="650"/>
                    </a:lnTo>
                    <a:lnTo>
                      <a:pt x="70" y="652"/>
                    </a:lnTo>
                    <a:lnTo>
                      <a:pt x="70" y="654"/>
                    </a:lnTo>
                    <a:lnTo>
                      <a:pt x="65" y="660"/>
                    </a:lnTo>
                    <a:lnTo>
                      <a:pt x="65" y="661"/>
                    </a:lnTo>
                    <a:lnTo>
                      <a:pt x="69" y="665"/>
                    </a:lnTo>
                    <a:lnTo>
                      <a:pt x="69" y="668"/>
                    </a:lnTo>
                    <a:lnTo>
                      <a:pt x="74" y="673"/>
                    </a:lnTo>
                    <a:lnTo>
                      <a:pt x="78" y="680"/>
                    </a:lnTo>
                    <a:lnTo>
                      <a:pt x="80" y="681"/>
                    </a:lnTo>
                    <a:lnTo>
                      <a:pt x="86" y="684"/>
                    </a:lnTo>
                    <a:lnTo>
                      <a:pt x="87" y="687"/>
                    </a:lnTo>
                    <a:lnTo>
                      <a:pt x="88" y="687"/>
                    </a:lnTo>
                    <a:lnTo>
                      <a:pt x="96" y="688"/>
                    </a:lnTo>
                    <a:lnTo>
                      <a:pt x="104" y="689"/>
                    </a:lnTo>
                    <a:lnTo>
                      <a:pt x="105" y="690"/>
                    </a:lnTo>
                    <a:lnTo>
                      <a:pt x="105" y="695"/>
                    </a:lnTo>
                    <a:lnTo>
                      <a:pt x="109" y="699"/>
                    </a:lnTo>
                    <a:lnTo>
                      <a:pt x="112" y="699"/>
                    </a:lnTo>
                    <a:lnTo>
                      <a:pt x="115" y="701"/>
                    </a:lnTo>
                    <a:lnTo>
                      <a:pt x="120" y="703"/>
                    </a:lnTo>
                    <a:lnTo>
                      <a:pt x="130" y="707"/>
                    </a:lnTo>
                    <a:lnTo>
                      <a:pt x="132" y="709"/>
                    </a:lnTo>
                    <a:lnTo>
                      <a:pt x="133" y="710"/>
                    </a:lnTo>
                    <a:lnTo>
                      <a:pt x="144" y="711"/>
                    </a:lnTo>
                    <a:lnTo>
                      <a:pt x="149" y="713"/>
                    </a:lnTo>
                    <a:lnTo>
                      <a:pt x="155" y="714"/>
                    </a:lnTo>
                    <a:lnTo>
                      <a:pt x="156" y="713"/>
                    </a:lnTo>
                    <a:lnTo>
                      <a:pt x="155" y="710"/>
                    </a:lnTo>
                    <a:lnTo>
                      <a:pt x="156" y="706"/>
                    </a:lnTo>
                    <a:lnTo>
                      <a:pt x="158" y="706"/>
                    </a:lnTo>
                    <a:lnTo>
                      <a:pt x="158" y="705"/>
                    </a:lnTo>
                    <a:lnTo>
                      <a:pt x="162" y="705"/>
                    </a:lnTo>
                    <a:lnTo>
                      <a:pt x="163" y="706"/>
                    </a:lnTo>
                    <a:lnTo>
                      <a:pt x="162" y="708"/>
                    </a:lnTo>
                    <a:lnTo>
                      <a:pt x="158" y="707"/>
                    </a:lnTo>
                    <a:lnTo>
                      <a:pt x="157" y="710"/>
                    </a:lnTo>
                    <a:lnTo>
                      <a:pt x="159" y="712"/>
                    </a:lnTo>
                    <a:lnTo>
                      <a:pt x="160" y="714"/>
                    </a:lnTo>
                    <a:lnTo>
                      <a:pt x="161" y="715"/>
                    </a:lnTo>
                    <a:lnTo>
                      <a:pt x="168" y="711"/>
                    </a:lnTo>
                    <a:lnTo>
                      <a:pt x="172" y="710"/>
                    </a:lnTo>
                    <a:lnTo>
                      <a:pt x="174" y="710"/>
                    </a:lnTo>
                    <a:lnTo>
                      <a:pt x="159" y="718"/>
                    </a:lnTo>
                    <a:lnTo>
                      <a:pt x="159" y="719"/>
                    </a:lnTo>
                    <a:lnTo>
                      <a:pt x="160" y="719"/>
                    </a:lnTo>
                    <a:lnTo>
                      <a:pt x="160" y="720"/>
                    </a:lnTo>
                    <a:lnTo>
                      <a:pt x="154" y="720"/>
                    </a:lnTo>
                    <a:lnTo>
                      <a:pt x="153" y="723"/>
                    </a:lnTo>
                    <a:lnTo>
                      <a:pt x="152" y="725"/>
                    </a:lnTo>
                    <a:lnTo>
                      <a:pt x="149" y="727"/>
                    </a:lnTo>
                    <a:lnTo>
                      <a:pt x="153" y="730"/>
                    </a:lnTo>
                    <a:lnTo>
                      <a:pt x="154" y="731"/>
                    </a:lnTo>
                    <a:lnTo>
                      <a:pt x="165" y="732"/>
                    </a:lnTo>
                    <a:lnTo>
                      <a:pt x="166" y="733"/>
                    </a:lnTo>
                    <a:lnTo>
                      <a:pt x="169" y="732"/>
                    </a:lnTo>
                    <a:lnTo>
                      <a:pt x="169" y="731"/>
                    </a:lnTo>
                    <a:lnTo>
                      <a:pt x="167" y="730"/>
                    </a:lnTo>
                    <a:lnTo>
                      <a:pt x="166" y="729"/>
                    </a:lnTo>
                    <a:lnTo>
                      <a:pt x="163" y="729"/>
                    </a:lnTo>
                    <a:lnTo>
                      <a:pt x="163" y="727"/>
                    </a:lnTo>
                    <a:lnTo>
                      <a:pt x="162" y="726"/>
                    </a:lnTo>
                    <a:lnTo>
                      <a:pt x="163" y="724"/>
                    </a:lnTo>
                    <a:lnTo>
                      <a:pt x="164" y="719"/>
                    </a:lnTo>
                    <a:lnTo>
                      <a:pt x="165" y="723"/>
                    </a:lnTo>
                    <a:lnTo>
                      <a:pt x="164" y="725"/>
                    </a:lnTo>
                    <a:lnTo>
                      <a:pt x="164" y="726"/>
                    </a:lnTo>
                    <a:lnTo>
                      <a:pt x="167" y="727"/>
                    </a:lnTo>
                    <a:lnTo>
                      <a:pt x="171" y="727"/>
                    </a:lnTo>
                    <a:lnTo>
                      <a:pt x="172" y="725"/>
                    </a:lnTo>
                    <a:lnTo>
                      <a:pt x="170" y="723"/>
                    </a:lnTo>
                    <a:lnTo>
                      <a:pt x="169" y="723"/>
                    </a:lnTo>
                    <a:lnTo>
                      <a:pt x="168" y="720"/>
                    </a:lnTo>
                    <a:lnTo>
                      <a:pt x="170" y="720"/>
                    </a:lnTo>
                    <a:lnTo>
                      <a:pt x="172" y="723"/>
                    </a:lnTo>
                    <a:lnTo>
                      <a:pt x="178" y="725"/>
                    </a:lnTo>
                    <a:lnTo>
                      <a:pt x="185" y="725"/>
                    </a:lnTo>
                    <a:lnTo>
                      <a:pt x="181" y="726"/>
                    </a:lnTo>
                    <a:lnTo>
                      <a:pt x="173" y="727"/>
                    </a:lnTo>
                    <a:lnTo>
                      <a:pt x="170" y="729"/>
                    </a:lnTo>
                    <a:lnTo>
                      <a:pt x="171" y="730"/>
                    </a:lnTo>
                    <a:lnTo>
                      <a:pt x="176" y="731"/>
                    </a:lnTo>
                    <a:lnTo>
                      <a:pt x="177" y="729"/>
                    </a:lnTo>
                    <a:lnTo>
                      <a:pt x="178" y="729"/>
                    </a:lnTo>
                    <a:lnTo>
                      <a:pt x="179" y="731"/>
                    </a:lnTo>
                    <a:lnTo>
                      <a:pt x="178" y="733"/>
                    </a:lnTo>
                    <a:lnTo>
                      <a:pt x="179" y="733"/>
                    </a:lnTo>
                    <a:lnTo>
                      <a:pt x="183" y="728"/>
                    </a:lnTo>
                    <a:lnTo>
                      <a:pt x="185" y="727"/>
                    </a:lnTo>
                    <a:lnTo>
                      <a:pt x="181" y="735"/>
                    </a:lnTo>
                    <a:lnTo>
                      <a:pt x="184" y="735"/>
                    </a:lnTo>
                    <a:lnTo>
                      <a:pt x="185" y="733"/>
                    </a:lnTo>
                    <a:lnTo>
                      <a:pt x="189" y="732"/>
                    </a:lnTo>
                    <a:lnTo>
                      <a:pt x="191" y="731"/>
                    </a:lnTo>
                    <a:lnTo>
                      <a:pt x="194" y="730"/>
                    </a:lnTo>
                    <a:lnTo>
                      <a:pt x="196" y="728"/>
                    </a:lnTo>
                    <a:lnTo>
                      <a:pt x="197" y="729"/>
                    </a:lnTo>
                    <a:lnTo>
                      <a:pt x="195" y="733"/>
                    </a:lnTo>
                    <a:lnTo>
                      <a:pt x="194" y="733"/>
                    </a:lnTo>
                    <a:lnTo>
                      <a:pt x="193" y="731"/>
                    </a:lnTo>
                    <a:lnTo>
                      <a:pt x="185" y="736"/>
                    </a:lnTo>
                    <a:lnTo>
                      <a:pt x="186" y="738"/>
                    </a:lnTo>
                    <a:lnTo>
                      <a:pt x="185" y="739"/>
                    </a:lnTo>
                    <a:lnTo>
                      <a:pt x="186" y="740"/>
                    </a:lnTo>
                    <a:lnTo>
                      <a:pt x="192" y="738"/>
                    </a:lnTo>
                    <a:lnTo>
                      <a:pt x="191" y="736"/>
                    </a:lnTo>
                    <a:lnTo>
                      <a:pt x="192" y="735"/>
                    </a:lnTo>
                    <a:lnTo>
                      <a:pt x="194" y="735"/>
                    </a:lnTo>
                    <a:lnTo>
                      <a:pt x="197" y="733"/>
                    </a:lnTo>
                    <a:lnTo>
                      <a:pt x="198" y="734"/>
                    </a:lnTo>
                    <a:lnTo>
                      <a:pt x="199" y="735"/>
                    </a:lnTo>
                    <a:lnTo>
                      <a:pt x="203" y="734"/>
                    </a:lnTo>
                    <a:lnTo>
                      <a:pt x="204" y="733"/>
                    </a:lnTo>
                    <a:lnTo>
                      <a:pt x="205" y="733"/>
                    </a:lnTo>
                    <a:lnTo>
                      <a:pt x="205" y="735"/>
                    </a:lnTo>
                    <a:lnTo>
                      <a:pt x="208" y="735"/>
                    </a:lnTo>
                    <a:lnTo>
                      <a:pt x="210" y="736"/>
                    </a:lnTo>
                    <a:lnTo>
                      <a:pt x="214" y="737"/>
                    </a:lnTo>
                    <a:lnTo>
                      <a:pt x="221" y="737"/>
                    </a:lnTo>
                    <a:lnTo>
                      <a:pt x="224" y="738"/>
                    </a:lnTo>
                    <a:lnTo>
                      <a:pt x="230" y="737"/>
                    </a:lnTo>
                    <a:lnTo>
                      <a:pt x="231" y="737"/>
                    </a:lnTo>
                    <a:lnTo>
                      <a:pt x="230" y="735"/>
                    </a:lnTo>
                    <a:lnTo>
                      <a:pt x="231" y="735"/>
                    </a:lnTo>
                    <a:lnTo>
                      <a:pt x="233" y="737"/>
                    </a:lnTo>
                    <a:lnTo>
                      <a:pt x="234" y="737"/>
                    </a:lnTo>
                    <a:lnTo>
                      <a:pt x="235" y="735"/>
                    </a:lnTo>
                    <a:lnTo>
                      <a:pt x="234" y="734"/>
                    </a:lnTo>
                    <a:lnTo>
                      <a:pt x="237" y="735"/>
                    </a:lnTo>
                    <a:lnTo>
                      <a:pt x="237" y="731"/>
                    </a:lnTo>
                    <a:lnTo>
                      <a:pt x="241" y="733"/>
                    </a:lnTo>
                    <a:lnTo>
                      <a:pt x="242" y="732"/>
                    </a:lnTo>
                    <a:lnTo>
                      <a:pt x="255" y="731"/>
                    </a:lnTo>
                    <a:lnTo>
                      <a:pt x="256" y="730"/>
                    </a:lnTo>
                    <a:lnTo>
                      <a:pt x="259" y="730"/>
                    </a:lnTo>
                    <a:lnTo>
                      <a:pt x="260" y="729"/>
                    </a:lnTo>
                    <a:lnTo>
                      <a:pt x="259" y="728"/>
                    </a:lnTo>
                    <a:lnTo>
                      <a:pt x="259" y="726"/>
                    </a:lnTo>
                    <a:lnTo>
                      <a:pt x="260" y="725"/>
                    </a:lnTo>
                    <a:lnTo>
                      <a:pt x="263" y="725"/>
                    </a:lnTo>
                    <a:lnTo>
                      <a:pt x="265" y="723"/>
                    </a:lnTo>
                    <a:lnTo>
                      <a:pt x="266" y="719"/>
                    </a:lnTo>
                    <a:lnTo>
                      <a:pt x="264" y="715"/>
                    </a:lnTo>
                    <a:lnTo>
                      <a:pt x="265" y="715"/>
                    </a:lnTo>
                    <a:lnTo>
                      <a:pt x="267" y="717"/>
                    </a:lnTo>
                    <a:lnTo>
                      <a:pt x="270" y="723"/>
                    </a:lnTo>
                    <a:lnTo>
                      <a:pt x="266" y="724"/>
                    </a:lnTo>
                    <a:lnTo>
                      <a:pt x="266" y="725"/>
                    </a:lnTo>
                    <a:lnTo>
                      <a:pt x="268" y="727"/>
                    </a:lnTo>
                    <a:lnTo>
                      <a:pt x="273" y="729"/>
                    </a:lnTo>
                    <a:lnTo>
                      <a:pt x="274" y="728"/>
                    </a:lnTo>
                    <a:lnTo>
                      <a:pt x="276" y="724"/>
                    </a:lnTo>
                    <a:lnTo>
                      <a:pt x="277" y="724"/>
                    </a:lnTo>
                    <a:lnTo>
                      <a:pt x="279" y="727"/>
                    </a:lnTo>
                    <a:lnTo>
                      <a:pt x="280" y="727"/>
                    </a:lnTo>
                    <a:lnTo>
                      <a:pt x="281" y="725"/>
                    </a:lnTo>
                    <a:lnTo>
                      <a:pt x="281" y="723"/>
                    </a:lnTo>
                    <a:lnTo>
                      <a:pt x="285" y="719"/>
                    </a:lnTo>
                    <a:lnTo>
                      <a:pt x="283" y="718"/>
                    </a:lnTo>
                    <a:lnTo>
                      <a:pt x="283" y="717"/>
                    </a:lnTo>
                    <a:lnTo>
                      <a:pt x="286" y="717"/>
                    </a:lnTo>
                    <a:lnTo>
                      <a:pt x="292" y="713"/>
                    </a:lnTo>
                    <a:lnTo>
                      <a:pt x="295" y="714"/>
                    </a:lnTo>
                    <a:lnTo>
                      <a:pt x="295" y="713"/>
                    </a:lnTo>
                    <a:lnTo>
                      <a:pt x="295" y="711"/>
                    </a:lnTo>
                    <a:lnTo>
                      <a:pt x="295" y="710"/>
                    </a:lnTo>
                    <a:lnTo>
                      <a:pt x="297" y="711"/>
                    </a:lnTo>
                    <a:lnTo>
                      <a:pt x="297" y="712"/>
                    </a:lnTo>
                    <a:lnTo>
                      <a:pt x="299" y="711"/>
                    </a:lnTo>
                    <a:lnTo>
                      <a:pt x="302" y="712"/>
                    </a:lnTo>
                    <a:lnTo>
                      <a:pt x="303" y="712"/>
                    </a:lnTo>
                    <a:lnTo>
                      <a:pt x="304" y="711"/>
                    </a:lnTo>
                    <a:lnTo>
                      <a:pt x="303" y="710"/>
                    </a:lnTo>
                    <a:lnTo>
                      <a:pt x="303" y="708"/>
                    </a:lnTo>
                    <a:lnTo>
                      <a:pt x="305" y="708"/>
                    </a:lnTo>
                    <a:lnTo>
                      <a:pt x="307" y="706"/>
                    </a:lnTo>
                    <a:lnTo>
                      <a:pt x="309" y="702"/>
                    </a:lnTo>
                    <a:lnTo>
                      <a:pt x="310" y="702"/>
                    </a:lnTo>
                    <a:lnTo>
                      <a:pt x="310" y="705"/>
                    </a:lnTo>
                    <a:lnTo>
                      <a:pt x="313" y="702"/>
                    </a:lnTo>
                    <a:lnTo>
                      <a:pt x="313" y="701"/>
                    </a:lnTo>
                    <a:lnTo>
                      <a:pt x="316" y="701"/>
                    </a:lnTo>
                    <a:lnTo>
                      <a:pt x="317" y="699"/>
                    </a:lnTo>
                    <a:lnTo>
                      <a:pt x="317" y="698"/>
                    </a:lnTo>
                    <a:lnTo>
                      <a:pt x="319" y="695"/>
                    </a:lnTo>
                    <a:lnTo>
                      <a:pt x="319" y="692"/>
                    </a:lnTo>
                    <a:lnTo>
                      <a:pt x="328" y="688"/>
                    </a:lnTo>
                    <a:lnTo>
                      <a:pt x="337" y="681"/>
                    </a:lnTo>
                    <a:lnTo>
                      <a:pt x="338" y="678"/>
                    </a:lnTo>
                    <a:lnTo>
                      <a:pt x="336" y="676"/>
                    </a:lnTo>
                    <a:lnTo>
                      <a:pt x="336" y="675"/>
                    </a:lnTo>
                    <a:lnTo>
                      <a:pt x="337" y="675"/>
                    </a:lnTo>
                    <a:lnTo>
                      <a:pt x="339" y="677"/>
                    </a:lnTo>
                    <a:lnTo>
                      <a:pt x="342" y="675"/>
                    </a:lnTo>
                    <a:lnTo>
                      <a:pt x="357" y="669"/>
                    </a:lnTo>
                    <a:lnTo>
                      <a:pt x="358" y="667"/>
                    </a:lnTo>
                    <a:lnTo>
                      <a:pt x="355" y="666"/>
                    </a:lnTo>
                    <a:lnTo>
                      <a:pt x="346" y="667"/>
                    </a:lnTo>
                    <a:lnTo>
                      <a:pt x="348" y="666"/>
                    </a:lnTo>
                    <a:lnTo>
                      <a:pt x="358" y="665"/>
                    </a:lnTo>
                    <a:lnTo>
                      <a:pt x="360" y="664"/>
                    </a:lnTo>
                    <a:lnTo>
                      <a:pt x="358" y="662"/>
                    </a:lnTo>
                    <a:lnTo>
                      <a:pt x="349" y="662"/>
                    </a:lnTo>
                    <a:lnTo>
                      <a:pt x="355" y="664"/>
                    </a:lnTo>
                    <a:lnTo>
                      <a:pt x="350" y="664"/>
                    </a:lnTo>
                    <a:lnTo>
                      <a:pt x="347" y="662"/>
                    </a:lnTo>
                    <a:lnTo>
                      <a:pt x="347" y="661"/>
                    </a:lnTo>
                    <a:lnTo>
                      <a:pt x="363" y="661"/>
                    </a:lnTo>
                    <a:lnTo>
                      <a:pt x="368" y="660"/>
                    </a:lnTo>
                    <a:lnTo>
                      <a:pt x="370" y="657"/>
                    </a:lnTo>
                    <a:lnTo>
                      <a:pt x="374" y="655"/>
                    </a:lnTo>
                    <a:lnTo>
                      <a:pt x="373" y="655"/>
                    </a:lnTo>
                    <a:lnTo>
                      <a:pt x="370" y="656"/>
                    </a:lnTo>
                    <a:lnTo>
                      <a:pt x="373" y="654"/>
                    </a:lnTo>
                    <a:lnTo>
                      <a:pt x="376" y="652"/>
                    </a:lnTo>
                    <a:lnTo>
                      <a:pt x="377" y="652"/>
                    </a:lnTo>
                    <a:lnTo>
                      <a:pt x="373" y="650"/>
                    </a:lnTo>
                    <a:lnTo>
                      <a:pt x="366" y="652"/>
                    </a:lnTo>
                    <a:lnTo>
                      <a:pt x="364" y="651"/>
                    </a:lnTo>
                    <a:lnTo>
                      <a:pt x="363" y="650"/>
                    </a:lnTo>
                    <a:lnTo>
                      <a:pt x="365" y="646"/>
                    </a:lnTo>
                    <a:lnTo>
                      <a:pt x="367" y="648"/>
                    </a:lnTo>
                    <a:lnTo>
                      <a:pt x="370" y="648"/>
                    </a:lnTo>
                    <a:lnTo>
                      <a:pt x="373" y="646"/>
                    </a:lnTo>
                    <a:lnTo>
                      <a:pt x="372" y="646"/>
                    </a:lnTo>
                    <a:lnTo>
                      <a:pt x="370" y="646"/>
                    </a:lnTo>
                    <a:lnTo>
                      <a:pt x="371" y="645"/>
                    </a:lnTo>
                    <a:lnTo>
                      <a:pt x="372" y="644"/>
                    </a:lnTo>
                    <a:lnTo>
                      <a:pt x="374" y="644"/>
                    </a:lnTo>
                    <a:lnTo>
                      <a:pt x="377" y="646"/>
                    </a:lnTo>
                    <a:lnTo>
                      <a:pt x="377" y="644"/>
                    </a:lnTo>
                    <a:lnTo>
                      <a:pt x="378" y="644"/>
                    </a:lnTo>
                    <a:lnTo>
                      <a:pt x="380" y="645"/>
                    </a:lnTo>
                    <a:lnTo>
                      <a:pt x="382" y="644"/>
                    </a:lnTo>
                    <a:lnTo>
                      <a:pt x="383" y="644"/>
                    </a:lnTo>
                    <a:lnTo>
                      <a:pt x="379" y="642"/>
                    </a:lnTo>
                    <a:lnTo>
                      <a:pt x="379" y="641"/>
                    </a:lnTo>
                    <a:lnTo>
                      <a:pt x="387" y="642"/>
                    </a:lnTo>
                    <a:lnTo>
                      <a:pt x="389" y="641"/>
                    </a:lnTo>
                    <a:lnTo>
                      <a:pt x="388" y="640"/>
                    </a:lnTo>
                    <a:lnTo>
                      <a:pt x="391" y="639"/>
                    </a:lnTo>
                    <a:lnTo>
                      <a:pt x="392" y="638"/>
                    </a:lnTo>
                    <a:lnTo>
                      <a:pt x="396" y="638"/>
                    </a:lnTo>
                    <a:lnTo>
                      <a:pt x="396" y="637"/>
                    </a:lnTo>
                    <a:lnTo>
                      <a:pt x="393" y="636"/>
                    </a:lnTo>
                    <a:lnTo>
                      <a:pt x="396" y="636"/>
                    </a:lnTo>
                    <a:lnTo>
                      <a:pt x="397" y="633"/>
                    </a:lnTo>
                    <a:lnTo>
                      <a:pt x="398" y="636"/>
                    </a:lnTo>
                    <a:lnTo>
                      <a:pt x="399" y="633"/>
                    </a:lnTo>
                    <a:lnTo>
                      <a:pt x="398" y="632"/>
                    </a:lnTo>
                    <a:lnTo>
                      <a:pt x="396" y="630"/>
                    </a:lnTo>
                    <a:lnTo>
                      <a:pt x="392" y="629"/>
                    </a:lnTo>
                    <a:lnTo>
                      <a:pt x="390" y="625"/>
                    </a:lnTo>
                    <a:lnTo>
                      <a:pt x="384" y="622"/>
                    </a:lnTo>
                    <a:lnTo>
                      <a:pt x="384" y="621"/>
                    </a:lnTo>
                    <a:lnTo>
                      <a:pt x="388" y="621"/>
                    </a:lnTo>
                    <a:lnTo>
                      <a:pt x="391" y="620"/>
                    </a:lnTo>
                    <a:lnTo>
                      <a:pt x="392" y="620"/>
                    </a:lnTo>
                    <a:lnTo>
                      <a:pt x="392" y="621"/>
                    </a:lnTo>
                    <a:lnTo>
                      <a:pt x="391" y="622"/>
                    </a:lnTo>
                    <a:lnTo>
                      <a:pt x="392" y="623"/>
                    </a:lnTo>
                    <a:lnTo>
                      <a:pt x="393" y="627"/>
                    </a:lnTo>
                    <a:lnTo>
                      <a:pt x="396" y="628"/>
                    </a:lnTo>
                    <a:lnTo>
                      <a:pt x="395" y="625"/>
                    </a:lnTo>
                    <a:lnTo>
                      <a:pt x="396" y="624"/>
                    </a:lnTo>
                    <a:lnTo>
                      <a:pt x="397" y="624"/>
                    </a:lnTo>
                    <a:lnTo>
                      <a:pt x="397" y="627"/>
                    </a:lnTo>
                    <a:lnTo>
                      <a:pt x="401" y="630"/>
                    </a:lnTo>
                    <a:lnTo>
                      <a:pt x="402" y="628"/>
                    </a:lnTo>
                    <a:lnTo>
                      <a:pt x="402" y="627"/>
                    </a:lnTo>
                    <a:lnTo>
                      <a:pt x="404" y="630"/>
                    </a:lnTo>
                    <a:lnTo>
                      <a:pt x="407" y="632"/>
                    </a:lnTo>
                    <a:lnTo>
                      <a:pt x="408" y="633"/>
                    </a:lnTo>
                    <a:lnTo>
                      <a:pt x="408" y="636"/>
                    </a:lnTo>
                    <a:lnTo>
                      <a:pt x="407" y="637"/>
                    </a:lnTo>
                    <a:lnTo>
                      <a:pt x="405" y="637"/>
                    </a:lnTo>
                    <a:lnTo>
                      <a:pt x="407" y="639"/>
                    </a:lnTo>
                    <a:lnTo>
                      <a:pt x="413" y="638"/>
                    </a:lnTo>
                    <a:lnTo>
                      <a:pt x="416" y="638"/>
                    </a:lnTo>
                    <a:lnTo>
                      <a:pt x="418" y="637"/>
                    </a:lnTo>
                    <a:lnTo>
                      <a:pt x="420" y="638"/>
                    </a:lnTo>
                    <a:lnTo>
                      <a:pt x="421" y="637"/>
                    </a:lnTo>
                    <a:lnTo>
                      <a:pt x="422" y="635"/>
                    </a:lnTo>
                    <a:lnTo>
                      <a:pt x="421" y="631"/>
                    </a:lnTo>
                    <a:lnTo>
                      <a:pt x="422" y="630"/>
                    </a:lnTo>
                    <a:lnTo>
                      <a:pt x="423" y="630"/>
                    </a:lnTo>
                    <a:lnTo>
                      <a:pt x="424" y="632"/>
                    </a:lnTo>
                    <a:lnTo>
                      <a:pt x="426" y="632"/>
                    </a:lnTo>
                    <a:lnTo>
                      <a:pt x="429" y="629"/>
                    </a:lnTo>
                    <a:lnTo>
                      <a:pt x="432" y="628"/>
                    </a:lnTo>
                    <a:lnTo>
                      <a:pt x="433" y="629"/>
                    </a:lnTo>
                    <a:lnTo>
                      <a:pt x="433" y="630"/>
                    </a:lnTo>
                    <a:lnTo>
                      <a:pt x="429" y="632"/>
                    </a:lnTo>
                    <a:lnTo>
                      <a:pt x="429" y="633"/>
                    </a:lnTo>
                    <a:lnTo>
                      <a:pt x="431" y="633"/>
                    </a:lnTo>
                    <a:lnTo>
                      <a:pt x="437" y="632"/>
                    </a:lnTo>
                    <a:lnTo>
                      <a:pt x="438" y="630"/>
                    </a:lnTo>
                    <a:lnTo>
                      <a:pt x="436" y="626"/>
                    </a:lnTo>
                    <a:lnTo>
                      <a:pt x="437" y="625"/>
                    </a:lnTo>
                    <a:lnTo>
                      <a:pt x="438" y="621"/>
                    </a:lnTo>
                    <a:lnTo>
                      <a:pt x="438" y="622"/>
                    </a:lnTo>
                    <a:lnTo>
                      <a:pt x="440" y="625"/>
                    </a:lnTo>
                    <a:lnTo>
                      <a:pt x="440" y="630"/>
                    </a:lnTo>
                    <a:lnTo>
                      <a:pt x="441" y="630"/>
                    </a:lnTo>
                    <a:lnTo>
                      <a:pt x="441" y="628"/>
                    </a:lnTo>
                    <a:lnTo>
                      <a:pt x="440" y="624"/>
                    </a:lnTo>
                    <a:lnTo>
                      <a:pt x="441" y="622"/>
                    </a:lnTo>
                    <a:lnTo>
                      <a:pt x="441" y="621"/>
                    </a:lnTo>
                    <a:lnTo>
                      <a:pt x="442" y="623"/>
                    </a:lnTo>
                    <a:lnTo>
                      <a:pt x="443" y="627"/>
                    </a:lnTo>
                    <a:lnTo>
                      <a:pt x="444" y="627"/>
                    </a:lnTo>
                    <a:lnTo>
                      <a:pt x="443" y="624"/>
                    </a:lnTo>
                    <a:lnTo>
                      <a:pt x="442" y="620"/>
                    </a:lnTo>
                    <a:lnTo>
                      <a:pt x="443" y="620"/>
                    </a:lnTo>
                    <a:lnTo>
                      <a:pt x="444" y="620"/>
                    </a:lnTo>
                    <a:lnTo>
                      <a:pt x="444" y="618"/>
                    </a:lnTo>
                    <a:lnTo>
                      <a:pt x="445" y="616"/>
                    </a:lnTo>
                    <a:lnTo>
                      <a:pt x="446" y="612"/>
                    </a:lnTo>
                    <a:lnTo>
                      <a:pt x="449" y="610"/>
                    </a:lnTo>
                    <a:lnTo>
                      <a:pt x="448" y="606"/>
                    </a:lnTo>
                    <a:lnTo>
                      <a:pt x="450" y="605"/>
                    </a:lnTo>
                    <a:lnTo>
                      <a:pt x="454" y="606"/>
                    </a:lnTo>
                    <a:lnTo>
                      <a:pt x="455" y="608"/>
                    </a:lnTo>
                    <a:lnTo>
                      <a:pt x="457" y="606"/>
                    </a:lnTo>
                    <a:lnTo>
                      <a:pt x="460" y="601"/>
                    </a:lnTo>
                    <a:lnTo>
                      <a:pt x="460" y="600"/>
                    </a:lnTo>
                    <a:lnTo>
                      <a:pt x="457" y="599"/>
                    </a:lnTo>
                    <a:lnTo>
                      <a:pt x="455" y="597"/>
                    </a:lnTo>
                    <a:lnTo>
                      <a:pt x="455" y="594"/>
                    </a:lnTo>
                    <a:lnTo>
                      <a:pt x="458" y="590"/>
                    </a:lnTo>
                    <a:lnTo>
                      <a:pt x="457" y="589"/>
                    </a:lnTo>
                    <a:lnTo>
                      <a:pt x="455" y="588"/>
                    </a:lnTo>
                    <a:lnTo>
                      <a:pt x="454" y="586"/>
                    </a:lnTo>
                    <a:lnTo>
                      <a:pt x="452" y="587"/>
                    </a:lnTo>
                    <a:lnTo>
                      <a:pt x="449" y="586"/>
                    </a:lnTo>
                    <a:lnTo>
                      <a:pt x="447" y="583"/>
                    </a:lnTo>
                    <a:lnTo>
                      <a:pt x="438" y="575"/>
                    </a:lnTo>
                    <a:lnTo>
                      <a:pt x="438" y="574"/>
                    </a:lnTo>
                    <a:lnTo>
                      <a:pt x="440" y="575"/>
                    </a:lnTo>
                    <a:lnTo>
                      <a:pt x="446" y="577"/>
                    </a:lnTo>
                    <a:lnTo>
                      <a:pt x="449" y="578"/>
                    </a:lnTo>
                    <a:lnTo>
                      <a:pt x="450" y="577"/>
                    </a:lnTo>
                    <a:lnTo>
                      <a:pt x="450" y="574"/>
                    </a:lnTo>
                    <a:lnTo>
                      <a:pt x="451" y="573"/>
                    </a:lnTo>
                    <a:lnTo>
                      <a:pt x="451" y="569"/>
                    </a:lnTo>
                    <a:lnTo>
                      <a:pt x="451" y="568"/>
                    </a:lnTo>
                    <a:lnTo>
                      <a:pt x="451" y="567"/>
                    </a:lnTo>
                    <a:lnTo>
                      <a:pt x="450" y="566"/>
                    </a:lnTo>
                    <a:lnTo>
                      <a:pt x="450" y="565"/>
                    </a:lnTo>
                    <a:lnTo>
                      <a:pt x="449" y="563"/>
                    </a:lnTo>
                    <a:lnTo>
                      <a:pt x="445" y="561"/>
                    </a:lnTo>
                    <a:lnTo>
                      <a:pt x="441" y="560"/>
                    </a:lnTo>
                    <a:lnTo>
                      <a:pt x="437" y="557"/>
                    </a:lnTo>
                    <a:lnTo>
                      <a:pt x="441" y="555"/>
                    </a:lnTo>
                    <a:lnTo>
                      <a:pt x="443" y="556"/>
                    </a:lnTo>
                    <a:lnTo>
                      <a:pt x="446" y="559"/>
                    </a:lnTo>
                    <a:lnTo>
                      <a:pt x="449" y="559"/>
                    </a:lnTo>
                    <a:lnTo>
                      <a:pt x="450" y="559"/>
                    </a:lnTo>
                    <a:lnTo>
                      <a:pt x="453" y="563"/>
                    </a:lnTo>
                    <a:lnTo>
                      <a:pt x="452" y="565"/>
                    </a:lnTo>
                    <a:lnTo>
                      <a:pt x="452" y="566"/>
                    </a:lnTo>
                    <a:lnTo>
                      <a:pt x="453" y="567"/>
                    </a:lnTo>
                    <a:lnTo>
                      <a:pt x="453" y="569"/>
                    </a:lnTo>
                    <a:lnTo>
                      <a:pt x="454" y="571"/>
                    </a:lnTo>
                    <a:lnTo>
                      <a:pt x="453" y="577"/>
                    </a:lnTo>
                    <a:lnTo>
                      <a:pt x="455" y="579"/>
                    </a:lnTo>
                    <a:lnTo>
                      <a:pt x="458" y="579"/>
                    </a:lnTo>
                    <a:lnTo>
                      <a:pt x="465" y="574"/>
                    </a:lnTo>
                    <a:lnTo>
                      <a:pt x="468" y="572"/>
                    </a:lnTo>
                    <a:lnTo>
                      <a:pt x="468" y="570"/>
                    </a:lnTo>
                    <a:lnTo>
                      <a:pt x="467" y="569"/>
                    </a:lnTo>
                    <a:lnTo>
                      <a:pt x="467" y="567"/>
                    </a:lnTo>
                    <a:lnTo>
                      <a:pt x="465" y="564"/>
                    </a:lnTo>
                    <a:lnTo>
                      <a:pt x="460" y="561"/>
                    </a:lnTo>
                    <a:lnTo>
                      <a:pt x="459" y="557"/>
                    </a:lnTo>
                    <a:lnTo>
                      <a:pt x="459" y="551"/>
                    </a:lnTo>
                    <a:lnTo>
                      <a:pt x="457" y="549"/>
                    </a:lnTo>
                    <a:lnTo>
                      <a:pt x="457" y="547"/>
                    </a:lnTo>
                    <a:lnTo>
                      <a:pt x="459" y="546"/>
                    </a:lnTo>
                    <a:lnTo>
                      <a:pt x="457" y="545"/>
                    </a:lnTo>
                    <a:lnTo>
                      <a:pt x="457" y="544"/>
                    </a:lnTo>
                    <a:lnTo>
                      <a:pt x="459" y="542"/>
                    </a:lnTo>
                    <a:lnTo>
                      <a:pt x="463" y="540"/>
                    </a:lnTo>
                    <a:lnTo>
                      <a:pt x="465" y="540"/>
                    </a:lnTo>
                    <a:lnTo>
                      <a:pt x="466" y="541"/>
                    </a:lnTo>
                    <a:lnTo>
                      <a:pt x="469" y="539"/>
                    </a:lnTo>
                    <a:lnTo>
                      <a:pt x="472" y="540"/>
                    </a:lnTo>
                    <a:lnTo>
                      <a:pt x="473" y="538"/>
                    </a:lnTo>
                    <a:lnTo>
                      <a:pt x="478" y="539"/>
                    </a:lnTo>
                    <a:lnTo>
                      <a:pt x="479" y="540"/>
                    </a:lnTo>
                    <a:lnTo>
                      <a:pt x="479" y="546"/>
                    </a:lnTo>
                    <a:lnTo>
                      <a:pt x="476" y="551"/>
                    </a:lnTo>
                    <a:lnTo>
                      <a:pt x="476" y="555"/>
                    </a:lnTo>
                    <a:lnTo>
                      <a:pt x="474" y="553"/>
                    </a:lnTo>
                    <a:lnTo>
                      <a:pt x="474" y="549"/>
                    </a:lnTo>
                    <a:lnTo>
                      <a:pt x="473" y="545"/>
                    </a:lnTo>
                    <a:lnTo>
                      <a:pt x="470" y="543"/>
                    </a:lnTo>
                    <a:lnTo>
                      <a:pt x="465" y="550"/>
                    </a:lnTo>
                    <a:lnTo>
                      <a:pt x="463" y="555"/>
                    </a:lnTo>
                    <a:lnTo>
                      <a:pt x="463" y="557"/>
                    </a:lnTo>
                    <a:lnTo>
                      <a:pt x="466" y="561"/>
                    </a:lnTo>
                    <a:lnTo>
                      <a:pt x="467" y="562"/>
                    </a:lnTo>
                    <a:lnTo>
                      <a:pt x="468" y="560"/>
                    </a:lnTo>
                    <a:lnTo>
                      <a:pt x="468" y="565"/>
                    </a:lnTo>
                    <a:lnTo>
                      <a:pt x="469" y="566"/>
                    </a:lnTo>
                    <a:lnTo>
                      <a:pt x="469" y="567"/>
                    </a:lnTo>
                    <a:lnTo>
                      <a:pt x="470" y="569"/>
                    </a:lnTo>
                    <a:lnTo>
                      <a:pt x="471" y="571"/>
                    </a:lnTo>
                    <a:lnTo>
                      <a:pt x="470" y="575"/>
                    </a:lnTo>
                    <a:lnTo>
                      <a:pt x="471" y="579"/>
                    </a:lnTo>
                    <a:lnTo>
                      <a:pt x="474" y="582"/>
                    </a:lnTo>
                    <a:lnTo>
                      <a:pt x="474" y="583"/>
                    </a:lnTo>
                    <a:lnTo>
                      <a:pt x="473" y="588"/>
                    </a:lnTo>
                    <a:lnTo>
                      <a:pt x="471" y="588"/>
                    </a:lnTo>
                    <a:lnTo>
                      <a:pt x="472" y="583"/>
                    </a:lnTo>
                    <a:lnTo>
                      <a:pt x="471" y="582"/>
                    </a:lnTo>
                    <a:lnTo>
                      <a:pt x="471" y="581"/>
                    </a:lnTo>
                    <a:lnTo>
                      <a:pt x="465" y="589"/>
                    </a:lnTo>
                    <a:lnTo>
                      <a:pt x="467" y="589"/>
                    </a:lnTo>
                    <a:lnTo>
                      <a:pt x="470" y="589"/>
                    </a:lnTo>
                    <a:lnTo>
                      <a:pt x="471" y="590"/>
                    </a:lnTo>
                    <a:lnTo>
                      <a:pt x="471" y="592"/>
                    </a:lnTo>
                    <a:lnTo>
                      <a:pt x="471" y="594"/>
                    </a:lnTo>
                    <a:lnTo>
                      <a:pt x="472" y="595"/>
                    </a:lnTo>
                    <a:lnTo>
                      <a:pt x="472" y="599"/>
                    </a:lnTo>
                    <a:lnTo>
                      <a:pt x="473" y="601"/>
                    </a:lnTo>
                    <a:lnTo>
                      <a:pt x="475" y="601"/>
                    </a:lnTo>
                    <a:lnTo>
                      <a:pt x="477" y="599"/>
                    </a:lnTo>
                    <a:lnTo>
                      <a:pt x="478" y="599"/>
                    </a:lnTo>
                    <a:lnTo>
                      <a:pt x="479" y="600"/>
                    </a:lnTo>
                    <a:lnTo>
                      <a:pt x="481" y="601"/>
                    </a:lnTo>
                    <a:lnTo>
                      <a:pt x="479" y="604"/>
                    </a:lnTo>
                    <a:lnTo>
                      <a:pt x="477" y="609"/>
                    </a:lnTo>
                    <a:lnTo>
                      <a:pt x="479" y="610"/>
                    </a:lnTo>
                    <a:lnTo>
                      <a:pt x="479" y="607"/>
                    </a:lnTo>
                    <a:lnTo>
                      <a:pt x="480" y="607"/>
                    </a:lnTo>
                    <a:lnTo>
                      <a:pt x="479" y="609"/>
                    </a:lnTo>
                    <a:lnTo>
                      <a:pt x="481" y="612"/>
                    </a:lnTo>
                    <a:lnTo>
                      <a:pt x="481" y="614"/>
                    </a:lnTo>
                    <a:lnTo>
                      <a:pt x="483" y="614"/>
                    </a:lnTo>
                    <a:lnTo>
                      <a:pt x="484" y="618"/>
                    </a:lnTo>
                    <a:lnTo>
                      <a:pt x="486" y="616"/>
                    </a:lnTo>
                    <a:lnTo>
                      <a:pt x="487" y="614"/>
                    </a:lnTo>
                    <a:lnTo>
                      <a:pt x="489" y="614"/>
                    </a:lnTo>
                    <a:lnTo>
                      <a:pt x="491" y="613"/>
                    </a:lnTo>
                    <a:lnTo>
                      <a:pt x="490" y="615"/>
                    </a:lnTo>
                    <a:lnTo>
                      <a:pt x="491" y="617"/>
                    </a:lnTo>
                    <a:lnTo>
                      <a:pt x="490" y="618"/>
                    </a:lnTo>
                    <a:lnTo>
                      <a:pt x="493" y="620"/>
                    </a:lnTo>
                    <a:lnTo>
                      <a:pt x="494" y="618"/>
                    </a:lnTo>
                    <a:lnTo>
                      <a:pt x="494" y="614"/>
                    </a:lnTo>
                    <a:lnTo>
                      <a:pt x="495" y="615"/>
                    </a:lnTo>
                    <a:lnTo>
                      <a:pt x="498" y="615"/>
                    </a:lnTo>
                    <a:lnTo>
                      <a:pt x="498" y="617"/>
                    </a:lnTo>
                    <a:lnTo>
                      <a:pt x="501" y="618"/>
                    </a:lnTo>
                    <a:lnTo>
                      <a:pt x="501" y="619"/>
                    </a:lnTo>
                    <a:lnTo>
                      <a:pt x="501" y="620"/>
                    </a:lnTo>
                    <a:lnTo>
                      <a:pt x="504" y="621"/>
                    </a:lnTo>
                    <a:lnTo>
                      <a:pt x="505" y="620"/>
                    </a:lnTo>
                    <a:lnTo>
                      <a:pt x="506" y="618"/>
                    </a:lnTo>
                    <a:lnTo>
                      <a:pt x="505" y="615"/>
                    </a:lnTo>
                    <a:lnTo>
                      <a:pt x="506" y="615"/>
                    </a:lnTo>
                    <a:lnTo>
                      <a:pt x="507" y="618"/>
                    </a:lnTo>
                    <a:lnTo>
                      <a:pt x="508" y="618"/>
                    </a:lnTo>
                    <a:lnTo>
                      <a:pt x="509" y="618"/>
                    </a:lnTo>
                    <a:lnTo>
                      <a:pt x="510" y="616"/>
                    </a:lnTo>
                    <a:lnTo>
                      <a:pt x="509" y="614"/>
                    </a:lnTo>
                    <a:lnTo>
                      <a:pt x="511" y="614"/>
                    </a:lnTo>
                    <a:lnTo>
                      <a:pt x="512" y="613"/>
                    </a:lnTo>
                    <a:lnTo>
                      <a:pt x="513" y="614"/>
                    </a:lnTo>
                    <a:lnTo>
                      <a:pt x="512" y="617"/>
                    </a:lnTo>
                    <a:lnTo>
                      <a:pt x="514" y="618"/>
                    </a:lnTo>
                    <a:lnTo>
                      <a:pt x="512" y="620"/>
                    </a:lnTo>
                    <a:lnTo>
                      <a:pt x="515" y="622"/>
                    </a:lnTo>
                    <a:lnTo>
                      <a:pt x="522" y="621"/>
                    </a:lnTo>
                    <a:lnTo>
                      <a:pt x="526" y="621"/>
                    </a:lnTo>
                    <a:lnTo>
                      <a:pt x="529" y="625"/>
                    </a:lnTo>
                    <a:lnTo>
                      <a:pt x="529" y="627"/>
                    </a:lnTo>
                    <a:lnTo>
                      <a:pt x="531" y="631"/>
                    </a:lnTo>
                    <a:lnTo>
                      <a:pt x="532" y="633"/>
                    </a:lnTo>
                    <a:lnTo>
                      <a:pt x="531" y="634"/>
                    </a:lnTo>
                    <a:lnTo>
                      <a:pt x="531" y="644"/>
                    </a:lnTo>
                    <a:lnTo>
                      <a:pt x="532" y="645"/>
                    </a:lnTo>
                    <a:lnTo>
                      <a:pt x="537" y="646"/>
                    </a:lnTo>
                    <a:lnTo>
                      <a:pt x="547" y="643"/>
                    </a:lnTo>
                    <a:lnTo>
                      <a:pt x="549" y="639"/>
                    </a:lnTo>
                    <a:lnTo>
                      <a:pt x="551" y="630"/>
                    </a:lnTo>
                    <a:lnTo>
                      <a:pt x="557" y="624"/>
                    </a:lnTo>
                    <a:lnTo>
                      <a:pt x="557" y="622"/>
                    </a:lnTo>
                    <a:lnTo>
                      <a:pt x="556" y="620"/>
                    </a:lnTo>
                    <a:lnTo>
                      <a:pt x="557" y="618"/>
                    </a:lnTo>
                    <a:lnTo>
                      <a:pt x="557" y="615"/>
                    </a:lnTo>
                    <a:lnTo>
                      <a:pt x="557" y="614"/>
                    </a:lnTo>
                    <a:lnTo>
                      <a:pt x="559" y="609"/>
                    </a:lnTo>
                    <a:lnTo>
                      <a:pt x="561" y="607"/>
                    </a:lnTo>
                    <a:lnTo>
                      <a:pt x="560" y="604"/>
                    </a:lnTo>
                    <a:lnTo>
                      <a:pt x="553" y="575"/>
                    </a:lnTo>
                    <a:lnTo>
                      <a:pt x="550" y="571"/>
                    </a:lnTo>
                    <a:lnTo>
                      <a:pt x="552" y="569"/>
                    </a:lnTo>
                    <a:lnTo>
                      <a:pt x="556" y="567"/>
                    </a:lnTo>
                    <a:lnTo>
                      <a:pt x="557" y="566"/>
                    </a:lnTo>
                    <a:lnTo>
                      <a:pt x="563" y="565"/>
                    </a:lnTo>
                    <a:lnTo>
                      <a:pt x="564" y="562"/>
                    </a:lnTo>
                    <a:lnTo>
                      <a:pt x="568" y="560"/>
                    </a:lnTo>
                    <a:lnTo>
                      <a:pt x="569" y="559"/>
                    </a:lnTo>
                    <a:lnTo>
                      <a:pt x="568" y="551"/>
                    </a:lnTo>
                    <a:lnTo>
                      <a:pt x="567" y="549"/>
                    </a:lnTo>
                    <a:lnTo>
                      <a:pt x="562" y="544"/>
                    </a:lnTo>
                    <a:lnTo>
                      <a:pt x="573" y="539"/>
                    </a:lnTo>
                    <a:lnTo>
                      <a:pt x="580" y="540"/>
                    </a:lnTo>
                    <a:lnTo>
                      <a:pt x="587" y="540"/>
                    </a:lnTo>
                    <a:lnTo>
                      <a:pt x="589" y="539"/>
                    </a:lnTo>
                    <a:lnTo>
                      <a:pt x="601" y="530"/>
                    </a:lnTo>
                    <a:lnTo>
                      <a:pt x="608" y="524"/>
                    </a:lnTo>
                    <a:lnTo>
                      <a:pt x="612" y="521"/>
                    </a:lnTo>
                    <a:lnTo>
                      <a:pt x="614" y="517"/>
                    </a:lnTo>
                    <a:lnTo>
                      <a:pt x="616" y="510"/>
                    </a:lnTo>
                    <a:lnTo>
                      <a:pt x="616" y="507"/>
                    </a:lnTo>
                    <a:lnTo>
                      <a:pt x="614" y="499"/>
                    </a:lnTo>
                    <a:lnTo>
                      <a:pt x="614" y="496"/>
                    </a:lnTo>
                    <a:lnTo>
                      <a:pt x="622" y="486"/>
                    </a:lnTo>
                    <a:lnTo>
                      <a:pt x="624" y="479"/>
                    </a:lnTo>
                    <a:lnTo>
                      <a:pt x="623" y="473"/>
                    </a:lnTo>
                    <a:lnTo>
                      <a:pt x="616" y="464"/>
                    </a:lnTo>
                    <a:lnTo>
                      <a:pt x="616" y="461"/>
                    </a:lnTo>
                    <a:lnTo>
                      <a:pt x="615" y="459"/>
                    </a:lnTo>
                    <a:lnTo>
                      <a:pt x="610" y="453"/>
                    </a:lnTo>
                    <a:lnTo>
                      <a:pt x="606" y="448"/>
                    </a:lnTo>
                    <a:lnTo>
                      <a:pt x="604" y="443"/>
                    </a:lnTo>
                    <a:lnTo>
                      <a:pt x="601" y="434"/>
                    </a:lnTo>
                    <a:lnTo>
                      <a:pt x="598" y="432"/>
                    </a:lnTo>
                    <a:lnTo>
                      <a:pt x="597" y="428"/>
                    </a:lnTo>
                    <a:lnTo>
                      <a:pt x="592" y="422"/>
                    </a:lnTo>
                    <a:lnTo>
                      <a:pt x="595" y="420"/>
                    </a:lnTo>
                    <a:lnTo>
                      <a:pt x="608" y="417"/>
                    </a:lnTo>
                    <a:lnTo>
                      <a:pt x="621" y="417"/>
                    </a:lnTo>
                    <a:lnTo>
                      <a:pt x="628" y="415"/>
                    </a:lnTo>
                    <a:lnTo>
                      <a:pt x="632" y="406"/>
                    </a:lnTo>
                    <a:lnTo>
                      <a:pt x="637" y="401"/>
                    </a:lnTo>
                    <a:lnTo>
                      <a:pt x="638" y="399"/>
                    </a:lnTo>
                    <a:lnTo>
                      <a:pt x="639" y="394"/>
                    </a:lnTo>
                    <a:lnTo>
                      <a:pt x="641" y="390"/>
                    </a:lnTo>
                    <a:lnTo>
                      <a:pt x="642" y="387"/>
                    </a:lnTo>
                    <a:lnTo>
                      <a:pt x="643" y="385"/>
                    </a:lnTo>
                    <a:lnTo>
                      <a:pt x="643" y="384"/>
                    </a:lnTo>
                    <a:lnTo>
                      <a:pt x="618" y="362"/>
                    </a:lnTo>
                    <a:lnTo>
                      <a:pt x="608" y="362"/>
                    </a:lnTo>
                    <a:lnTo>
                      <a:pt x="603" y="356"/>
                    </a:lnTo>
                    <a:lnTo>
                      <a:pt x="586" y="345"/>
                    </a:lnTo>
                    <a:lnTo>
                      <a:pt x="587" y="343"/>
                    </a:lnTo>
                    <a:lnTo>
                      <a:pt x="589" y="333"/>
                    </a:lnTo>
                    <a:lnTo>
                      <a:pt x="599" y="288"/>
                    </a:lnTo>
                    <a:lnTo>
                      <a:pt x="597" y="284"/>
                    </a:lnTo>
                    <a:lnTo>
                      <a:pt x="594" y="279"/>
                    </a:lnTo>
                    <a:lnTo>
                      <a:pt x="592" y="274"/>
                    </a:lnTo>
                    <a:lnTo>
                      <a:pt x="583" y="261"/>
                    </a:lnTo>
                    <a:lnTo>
                      <a:pt x="580" y="254"/>
                    </a:lnTo>
                    <a:lnTo>
                      <a:pt x="577" y="253"/>
                    </a:lnTo>
                    <a:lnTo>
                      <a:pt x="583" y="237"/>
                    </a:lnTo>
                    <a:lnTo>
                      <a:pt x="579" y="222"/>
                    </a:lnTo>
                    <a:lnTo>
                      <a:pt x="580" y="220"/>
                    </a:lnTo>
                    <a:lnTo>
                      <a:pt x="583" y="217"/>
                    </a:lnTo>
                    <a:lnTo>
                      <a:pt x="586" y="213"/>
                    </a:lnTo>
                    <a:lnTo>
                      <a:pt x="589" y="210"/>
                    </a:lnTo>
                    <a:lnTo>
                      <a:pt x="589" y="209"/>
                    </a:lnTo>
                    <a:lnTo>
                      <a:pt x="579" y="193"/>
                    </a:lnTo>
                    <a:lnTo>
                      <a:pt x="571" y="182"/>
                    </a:lnTo>
                    <a:lnTo>
                      <a:pt x="592" y="159"/>
                    </a:lnTo>
                    <a:lnTo>
                      <a:pt x="587" y="149"/>
                    </a:lnTo>
                    <a:lnTo>
                      <a:pt x="598" y="142"/>
                    </a:lnTo>
                    <a:lnTo>
                      <a:pt x="603" y="135"/>
                    </a:lnTo>
                    <a:lnTo>
                      <a:pt x="614" y="122"/>
                    </a:lnTo>
                    <a:lnTo>
                      <a:pt x="629" y="109"/>
                    </a:lnTo>
                    <a:lnTo>
                      <a:pt x="642" y="103"/>
                    </a:lnTo>
                    <a:lnTo>
                      <a:pt x="651" y="99"/>
                    </a:lnTo>
                    <a:lnTo>
                      <a:pt x="672" y="96"/>
                    </a:lnTo>
                    <a:lnTo>
                      <a:pt x="731" y="104"/>
                    </a:lnTo>
                    <a:lnTo>
                      <a:pt x="732" y="104"/>
                    </a:lnTo>
                    <a:lnTo>
                      <a:pt x="736" y="96"/>
                    </a:lnTo>
                    <a:lnTo>
                      <a:pt x="745" y="86"/>
                    </a:lnTo>
                    <a:lnTo>
                      <a:pt x="744" y="69"/>
                    </a:lnTo>
                    <a:close/>
                    <a:moveTo>
                      <a:pt x="495" y="627"/>
                    </a:moveTo>
                    <a:lnTo>
                      <a:pt x="494" y="630"/>
                    </a:lnTo>
                    <a:lnTo>
                      <a:pt x="492" y="630"/>
                    </a:lnTo>
                    <a:lnTo>
                      <a:pt x="492" y="628"/>
                    </a:lnTo>
                    <a:lnTo>
                      <a:pt x="494" y="626"/>
                    </a:lnTo>
                    <a:lnTo>
                      <a:pt x="495" y="627"/>
                    </a:lnTo>
                    <a:close/>
                    <a:moveTo>
                      <a:pt x="503" y="627"/>
                    </a:moveTo>
                    <a:lnTo>
                      <a:pt x="500" y="630"/>
                    </a:lnTo>
                    <a:lnTo>
                      <a:pt x="501" y="631"/>
                    </a:lnTo>
                    <a:lnTo>
                      <a:pt x="500" y="632"/>
                    </a:lnTo>
                    <a:lnTo>
                      <a:pt x="498" y="633"/>
                    </a:lnTo>
                    <a:lnTo>
                      <a:pt x="497" y="630"/>
                    </a:lnTo>
                    <a:lnTo>
                      <a:pt x="498" y="628"/>
                    </a:lnTo>
                    <a:lnTo>
                      <a:pt x="498" y="626"/>
                    </a:lnTo>
                    <a:lnTo>
                      <a:pt x="500" y="624"/>
                    </a:lnTo>
                    <a:lnTo>
                      <a:pt x="501" y="625"/>
                    </a:lnTo>
                    <a:lnTo>
                      <a:pt x="500" y="627"/>
                    </a:lnTo>
                    <a:lnTo>
                      <a:pt x="503" y="626"/>
                    </a:lnTo>
                    <a:lnTo>
                      <a:pt x="503" y="627"/>
                    </a:lnTo>
                    <a:close/>
                    <a:moveTo>
                      <a:pt x="493" y="624"/>
                    </a:moveTo>
                    <a:lnTo>
                      <a:pt x="491" y="627"/>
                    </a:lnTo>
                    <a:lnTo>
                      <a:pt x="490" y="626"/>
                    </a:lnTo>
                    <a:lnTo>
                      <a:pt x="492" y="624"/>
                    </a:lnTo>
                    <a:lnTo>
                      <a:pt x="493" y="624"/>
                    </a:lnTo>
                    <a:close/>
                    <a:moveTo>
                      <a:pt x="491" y="622"/>
                    </a:moveTo>
                    <a:lnTo>
                      <a:pt x="489" y="624"/>
                    </a:lnTo>
                    <a:lnTo>
                      <a:pt x="487" y="626"/>
                    </a:lnTo>
                    <a:lnTo>
                      <a:pt x="486" y="626"/>
                    </a:lnTo>
                    <a:lnTo>
                      <a:pt x="485" y="623"/>
                    </a:lnTo>
                    <a:lnTo>
                      <a:pt x="486" y="623"/>
                    </a:lnTo>
                    <a:lnTo>
                      <a:pt x="487" y="623"/>
                    </a:lnTo>
                    <a:lnTo>
                      <a:pt x="488" y="622"/>
                    </a:lnTo>
                    <a:lnTo>
                      <a:pt x="491" y="622"/>
                    </a:lnTo>
                    <a:close/>
                    <a:moveTo>
                      <a:pt x="416" y="96"/>
                    </a:moveTo>
                    <a:lnTo>
                      <a:pt x="420" y="98"/>
                    </a:lnTo>
                    <a:lnTo>
                      <a:pt x="416" y="100"/>
                    </a:lnTo>
                    <a:lnTo>
                      <a:pt x="414" y="99"/>
                    </a:lnTo>
                    <a:lnTo>
                      <a:pt x="413" y="98"/>
                    </a:lnTo>
                    <a:lnTo>
                      <a:pt x="413" y="96"/>
                    </a:lnTo>
                    <a:lnTo>
                      <a:pt x="416" y="96"/>
                    </a:lnTo>
                    <a:close/>
                    <a:moveTo>
                      <a:pt x="348" y="140"/>
                    </a:moveTo>
                    <a:lnTo>
                      <a:pt x="345" y="139"/>
                    </a:lnTo>
                    <a:lnTo>
                      <a:pt x="347" y="139"/>
                    </a:lnTo>
                    <a:lnTo>
                      <a:pt x="348" y="140"/>
                    </a:lnTo>
                    <a:close/>
                    <a:moveTo>
                      <a:pt x="413" y="104"/>
                    </a:moveTo>
                    <a:lnTo>
                      <a:pt x="410" y="105"/>
                    </a:lnTo>
                    <a:lnTo>
                      <a:pt x="409" y="105"/>
                    </a:lnTo>
                    <a:lnTo>
                      <a:pt x="409" y="102"/>
                    </a:lnTo>
                    <a:lnTo>
                      <a:pt x="405" y="101"/>
                    </a:lnTo>
                    <a:lnTo>
                      <a:pt x="410" y="100"/>
                    </a:lnTo>
                    <a:lnTo>
                      <a:pt x="410" y="101"/>
                    </a:lnTo>
                    <a:lnTo>
                      <a:pt x="412" y="101"/>
                    </a:lnTo>
                    <a:lnTo>
                      <a:pt x="413" y="104"/>
                    </a:lnTo>
                    <a:close/>
                    <a:moveTo>
                      <a:pt x="352" y="143"/>
                    </a:moveTo>
                    <a:lnTo>
                      <a:pt x="348" y="145"/>
                    </a:lnTo>
                    <a:lnTo>
                      <a:pt x="343" y="145"/>
                    </a:lnTo>
                    <a:lnTo>
                      <a:pt x="346" y="143"/>
                    </a:lnTo>
                    <a:lnTo>
                      <a:pt x="346" y="142"/>
                    </a:lnTo>
                    <a:lnTo>
                      <a:pt x="348" y="141"/>
                    </a:lnTo>
                    <a:lnTo>
                      <a:pt x="354" y="143"/>
                    </a:lnTo>
                    <a:lnTo>
                      <a:pt x="352" y="143"/>
                    </a:lnTo>
                    <a:close/>
                    <a:moveTo>
                      <a:pt x="51" y="330"/>
                    </a:moveTo>
                    <a:lnTo>
                      <a:pt x="50" y="331"/>
                    </a:lnTo>
                    <a:lnTo>
                      <a:pt x="44" y="330"/>
                    </a:lnTo>
                    <a:lnTo>
                      <a:pt x="52" y="329"/>
                    </a:lnTo>
                    <a:lnTo>
                      <a:pt x="51" y="330"/>
                    </a:lnTo>
                    <a:close/>
                    <a:moveTo>
                      <a:pt x="34" y="328"/>
                    </a:moveTo>
                    <a:lnTo>
                      <a:pt x="32" y="328"/>
                    </a:lnTo>
                    <a:lnTo>
                      <a:pt x="29" y="325"/>
                    </a:lnTo>
                    <a:lnTo>
                      <a:pt x="32" y="326"/>
                    </a:lnTo>
                    <a:lnTo>
                      <a:pt x="35" y="327"/>
                    </a:lnTo>
                    <a:lnTo>
                      <a:pt x="35" y="328"/>
                    </a:lnTo>
                    <a:lnTo>
                      <a:pt x="34" y="328"/>
                    </a:lnTo>
                    <a:close/>
                    <a:moveTo>
                      <a:pt x="63" y="292"/>
                    </a:moveTo>
                    <a:lnTo>
                      <a:pt x="59" y="291"/>
                    </a:lnTo>
                    <a:lnTo>
                      <a:pt x="59" y="289"/>
                    </a:lnTo>
                    <a:lnTo>
                      <a:pt x="65" y="288"/>
                    </a:lnTo>
                    <a:lnTo>
                      <a:pt x="62" y="290"/>
                    </a:lnTo>
                    <a:lnTo>
                      <a:pt x="66" y="291"/>
                    </a:lnTo>
                    <a:lnTo>
                      <a:pt x="63" y="292"/>
                    </a:lnTo>
                    <a:close/>
                    <a:moveTo>
                      <a:pt x="59" y="295"/>
                    </a:moveTo>
                    <a:lnTo>
                      <a:pt x="60" y="297"/>
                    </a:lnTo>
                    <a:lnTo>
                      <a:pt x="58" y="297"/>
                    </a:lnTo>
                    <a:lnTo>
                      <a:pt x="54" y="295"/>
                    </a:lnTo>
                    <a:lnTo>
                      <a:pt x="53" y="295"/>
                    </a:lnTo>
                    <a:lnTo>
                      <a:pt x="54" y="294"/>
                    </a:lnTo>
                    <a:lnTo>
                      <a:pt x="59" y="295"/>
                    </a:lnTo>
                    <a:close/>
                    <a:moveTo>
                      <a:pt x="123" y="252"/>
                    </a:moveTo>
                    <a:lnTo>
                      <a:pt x="120" y="253"/>
                    </a:lnTo>
                    <a:lnTo>
                      <a:pt x="115" y="251"/>
                    </a:lnTo>
                    <a:lnTo>
                      <a:pt x="118" y="251"/>
                    </a:lnTo>
                    <a:lnTo>
                      <a:pt x="123" y="252"/>
                    </a:lnTo>
                    <a:close/>
                    <a:moveTo>
                      <a:pt x="125" y="250"/>
                    </a:moveTo>
                    <a:lnTo>
                      <a:pt x="119" y="248"/>
                    </a:lnTo>
                    <a:lnTo>
                      <a:pt x="119" y="246"/>
                    </a:lnTo>
                    <a:lnTo>
                      <a:pt x="123" y="246"/>
                    </a:lnTo>
                    <a:lnTo>
                      <a:pt x="126" y="249"/>
                    </a:lnTo>
                    <a:lnTo>
                      <a:pt x="126" y="250"/>
                    </a:lnTo>
                    <a:lnTo>
                      <a:pt x="125" y="250"/>
                    </a:lnTo>
                    <a:close/>
                    <a:moveTo>
                      <a:pt x="133" y="247"/>
                    </a:moveTo>
                    <a:lnTo>
                      <a:pt x="134" y="248"/>
                    </a:lnTo>
                    <a:lnTo>
                      <a:pt x="133" y="249"/>
                    </a:lnTo>
                    <a:lnTo>
                      <a:pt x="131" y="249"/>
                    </a:lnTo>
                    <a:lnTo>
                      <a:pt x="124" y="244"/>
                    </a:lnTo>
                    <a:lnTo>
                      <a:pt x="132" y="246"/>
                    </a:lnTo>
                    <a:lnTo>
                      <a:pt x="134" y="246"/>
                    </a:lnTo>
                    <a:lnTo>
                      <a:pt x="133" y="247"/>
                    </a:lnTo>
                    <a:close/>
                    <a:moveTo>
                      <a:pt x="139" y="244"/>
                    </a:moveTo>
                    <a:lnTo>
                      <a:pt x="137" y="244"/>
                    </a:lnTo>
                    <a:lnTo>
                      <a:pt x="133" y="244"/>
                    </a:lnTo>
                    <a:lnTo>
                      <a:pt x="136" y="243"/>
                    </a:lnTo>
                    <a:lnTo>
                      <a:pt x="138" y="243"/>
                    </a:lnTo>
                    <a:lnTo>
                      <a:pt x="139" y="243"/>
                    </a:lnTo>
                    <a:lnTo>
                      <a:pt x="139" y="244"/>
                    </a:lnTo>
                    <a:close/>
                    <a:moveTo>
                      <a:pt x="143" y="235"/>
                    </a:moveTo>
                    <a:lnTo>
                      <a:pt x="143" y="236"/>
                    </a:lnTo>
                    <a:lnTo>
                      <a:pt x="143" y="238"/>
                    </a:lnTo>
                    <a:lnTo>
                      <a:pt x="142" y="240"/>
                    </a:lnTo>
                    <a:lnTo>
                      <a:pt x="141" y="240"/>
                    </a:lnTo>
                    <a:lnTo>
                      <a:pt x="141" y="238"/>
                    </a:lnTo>
                    <a:lnTo>
                      <a:pt x="141" y="236"/>
                    </a:lnTo>
                    <a:lnTo>
                      <a:pt x="140" y="236"/>
                    </a:lnTo>
                    <a:lnTo>
                      <a:pt x="139" y="235"/>
                    </a:lnTo>
                    <a:lnTo>
                      <a:pt x="142" y="234"/>
                    </a:lnTo>
                    <a:lnTo>
                      <a:pt x="143" y="235"/>
                    </a:lnTo>
                    <a:close/>
                    <a:moveTo>
                      <a:pt x="74" y="282"/>
                    </a:moveTo>
                    <a:lnTo>
                      <a:pt x="68" y="282"/>
                    </a:lnTo>
                    <a:lnTo>
                      <a:pt x="68" y="280"/>
                    </a:lnTo>
                    <a:lnTo>
                      <a:pt x="67" y="279"/>
                    </a:lnTo>
                    <a:lnTo>
                      <a:pt x="71" y="279"/>
                    </a:lnTo>
                    <a:lnTo>
                      <a:pt x="73" y="280"/>
                    </a:lnTo>
                    <a:lnTo>
                      <a:pt x="75" y="281"/>
                    </a:lnTo>
                    <a:lnTo>
                      <a:pt x="74" y="282"/>
                    </a:lnTo>
                    <a:close/>
                    <a:moveTo>
                      <a:pt x="181" y="228"/>
                    </a:moveTo>
                    <a:lnTo>
                      <a:pt x="181" y="230"/>
                    </a:lnTo>
                    <a:lnTo>
                      <a:pt x="176" y="230"/>
                    </a:lnTo>
                    <a:lnTo>
                      <a:pt x="178" y="233"/>
                    </a:lnTo>
                    <a:lnTo>
                      <a:pt x="178" y="234"/>
                    </a:lnTo>
                    <a:lnTo>
                      <a:pt x="175" y="234"/>
                    </a:lnTo>
                    <a:lnTo>
                      <a:pt x="172" y="232"/>
                    </a:lnTo>
                    <a:lnTo>
                      <a:pt x="167" y="231"/>
                    </a:lnTo>
                    <a:lnTo>
                      <a:pt x="170" y="230"/>
                    </a:lnTo>
                    <a:lnTo>
                      <a:pt x="168" y="228"/>
                    </a:lnTo>
                    <a:lnTo>
                      <a:pt x="168" y="227"/>
                    </a:lnTo>
                    <a:lnTo>
                      <a:pt x="169" y="227"/>
                    </a:lnTo>
                    <a:lnTo>
                      <a:pt x="171" y="227"/>
                    </a:lnTo>
                    <a:lnTo>
                      <a:pt x="175" y="228"/>
                    </a:lnTo>
                    <a:lnTo>
                      <a:pt x="177" y="227"/>
                    </a:lnTo>
                    <a:lnTo>
                      <a:pt x="180" y="226"/>
                    </a:lnTo>
                    <a:lnTo>
                      <a:pt x="181" y="228"/>
                    </a:lnTo>
                    <a:close/>
                    <a:moveTo>
                      <a:pt x="257" y="202"/>
                    </a:moveTo>
                    <a:lnTo>
                      <a:pt x="256" y="205"/>
                    </a:lnTo>
                    <a:lnTo>
                      <a:pt x="255" y="206"/>
                    </a:lnTo>
                    <a:lnTo>
                      <a:pt x="247" y="209"/>
                    </a:lnTo>
                    <a:lnTo>
                      <a:pt x="239" y="205"/>
                    </a:lnTo>
                    <a:lnTo>
                      <a:pt x="241" y="204"/>
                    </a:lnTo>
                    <a:lnTo>
                      <a:pt x="241" y="202"/>
                    </a:lnTo>
                    <a:lnTo>
                      <a:pt x="242" y="201"/>
                    </a:lnTo>
                    <a:lnTo>
                      <a:pt x="248" y="203"/>
                    </a:lnTo>
                    <a:lnTo>
                      <a:pt x="249" y="201"/>
                    </a:lnTo>
                    <a:lnTo>
                      <a:pt x="252" y="201"/>
                    </a:lnTo>
                    <a:lnTo>
                      <a:pt x="256" y="201"/>
                    </a:lnTo>
                    <a:lnTo>
                      <a:pt x="257" y="202"/>
                    </a:lnTo>
                    <a:close/>
                    <a:moveTo>
                      <a:pt x="286" y="194"/>
                    </a:moveTo>
                    <a:lnTo>
                      <a:pt x="280" y="194"/>
                    </a:lnTo>
                    <a:lnTo>
                      <a:pt x="278" y="188"/>
                    </a:lnTo>
                    <a:lnTo>
                      <a:pt x="280" y="187"/>
                    </a:lnTo>
                    <a:lnTo>
                      <a:pt x="283" y="188"/>
                    </a:lnTo>
                    <a:lnTo>
                      <a:pt x="288" y="193"/>
                    </a:lnTo>
                    <a:lnTo>
                      <a:pt x="288" y="194"/>
                    </a:lnTo>
                    <a:lnTo>
                      <a:pt x="286" y="194"/>
                    </a:lnTo>
                    <a:close/>
                    <a:moveTo>
                      <a:pt x="316" y="175"/>
                    </a:moveTo>
                    <a:lnTo>
                      <a:pt x="316" y="176"/>
                    </a:lnTo>
                    <a:lnTo>
                      <a:pt x="314" y="176"/>
                    </a:lnTo>
                    <a:lnTo>
                      <a:pt x="308" y="177"/>
                    </a:lnTo>
                    <a:lnTo>
                      <a:pt x="305" y="176"/>
                    </a:lnTo>
                    <a:lnTo>
                      <a:pt x="304" y="176"/>
                    </a:lnTo>
                    <a:lnTo>
                      <a:pt x="304" y="177"/>
                    </a:lnTo>
                    <a:lnTo>
                      <a:pt x="300" y="177"/>
                    </a:lnTo>
                    <a:lnTo>
                      <a:pt x="297" y="176"/>
                    </a:lnTo>
                    <a:lnTo>
                      <a:pt x="300" y="175"/>
                    </a:lnTo>
                    <a:lnTo>
                      <a:pt x="301" y="172"/>
                    </a:lnTo>
                    <a:lnTo>
                      <a:pt x="302" y="171"/>
                    </a:lnTo>
                    <a:lnTo>
                      <a:pt x="306" y="170"/>
                    </a:lnTo>
                    <a:lnTo>
                      <a:pt x="312" y="171"/>
                    </a:lnTo>
                    <a:lnTo>
                      <a:pt x="314" y="173"/>
                    </a:lnTo>
                    <a:lnTo>
                      <a:pt x="316" y="174"/>
                    </a:lnTo>
                    <a:lnTo>
                      <a:pt x="316" y="175"/>
                    </a:lnTo>
                    <a:close/>
                    <a:moveTo>
                      <a:pt x="236" y="200"/>
                    </a:moveTo>
                    <a:lnTo>
                      <a:pt x="236" y="201"/>
                    </a:lnTo>
                    <a:lnTo>
                      <a:pt x="237" y="204"/>
                    </a:lnTo>
                    <a:lnTo>
                      <a:pt x="236" y="205"/>
                    </a:lnTo>
                    <a:lnTo>
                      <a:pt x="237" y="206"/>
                    </a:lnTo>
                    <a:lnTo>
                      <a:pt x="238" y="208"/>
                    </a:lnTo>
                    <a:lnTo>
                      <a:pt x="241" y="210"/>
                    </a:lnTo>
                    <a:lnTo>
                      <a:pt x="241" y="211"/>
                    </a:lnTo>
                    <a:lnTo>
                      <a:pt x="234" y="213"/>
                    </a:lnTo>
                    <a:lnTo>
                      <a:pt x="228" y="216"/>
                    </a:lnTo>
                    <a:lnTo>
                      <a:pt x="225" y="218"/>
                    </a:lnTo>
                    <a:lnTo>
                      <a:pt x="224" y="217"/>
                    </a:lnTo>
                    <a:lnTo>
                      <a:pt x="223" y="216"/>
                    </a:lnTo>
                    <a:lnTo>
                      <a:pt x="218" y="214"/>
                    </a:lnTo>
                    <a:lnTo>
                      <a:pt x="214" y="212"/>
                    </a:lnTo>
                    <a:lnTo>
                      <a:pt x="215" y="211"/>
                    </a:lnTo>
                    <a:lnTo>
                      <a:pt x="220" y="209"/>
                    </a:lnTo>
                    <a:lnTo>
                      <a:pt x="218" y="208"/>
                    </a:lnTo>
                    <a:lnTo>
                      <a:pt x="219" y="206"/>
                    </a:lnTo>
                    <a:lnTo>
                      <a:pt x="217" y="206"/>
                    </a:lnTo>
                    <a:lnTo>
                      <a:pt x="217" y="205"/>
                    </a:lnTo>
                    <a:lnTo>
                      <a:pt x="218" y="205"/>
                    </a:lnTo>
                    <a:lnTo>
                      <a:pt x="223" y="204"/>
                    </a:lnTo>
                    <a:lnTo>
                      <a:pt x="224" y="204"/>
                    </a:lnTo>
                    <a:lnTo>
                      <a:pt x="223" y="206"/>
                    </a:lnTo>
                    <a:lnTo>
                      <a:pt x="227" y="206"/>
                    </a:lnTo>
                    <a:lnTo>
                      <a:pt x="230" y="209"/>
                    </a:lnTo>
                    <a:lnTo>
                      <a:pt x="231" y="208"/>
                    </a:lnTo>
                    <a:lnTo>
                      <a:pt x="230" y="206"/>
                    </a:lnTo>
                    <a:lnTo>
                      <a:pt x="230" y="205"/>
                    </a:lnTo>
                    <a:lnTo>
                      <a:pt x="233" y="204"/>
                    </a:lnTo>
                    <a:lnTo>
                      <a:pt x="231" y="199"/>
                    </a:lnTo>
                    <a:lnTo>
                      <a:pt x="236" y="199"/>
                    </a:lnTo>
                    <a:lnTo>
                      <a:pt x="236" y="200"/>
                    </a:lnTo>
                    <a:close/>
                    <a:moveTo>
                      <a:pt x="276" y="195"/>
                    </a:moveTo>
                    <a:lnTo>
                      <a:pt x="262" y="196"/>
                    </a:lnTo>
                    <a:lnTo>
                      <a:pt x="258" y="193"/>
                    </a:lnTo>
                    <a:lnTo>
                      <a:pt x="269" y="186"/>
                    </a:lnTo>
                    <a:lnTo>
                      <a:pt x="271" y="186"/>
                    </a:lnTo>
                    <a:lnTo>
                      <a:pt x="275" y="188"/>
                    </a:lnTo>
                    <a:lnTo>
                      <a:pt x="277" y="191"/>
                    </a:lnTo>
                    <a:lnTo>
                      <a:pt x="277" y="193"/>
                    </a:lnTo>
                    <a:lnTo>
                      <a:pt x="278" y="195"/>
                    </a:lnTo>
                    <a:lnTo>
                      <a:pt x="276" y="195"/>
                    </a:lnTo>
                    <a:close/>
                    <a:moveTo>
                      <a:pt x="308" y="192"/>
                    </a:moveTo>
                    <a:lnTo>
                      <a:pt x="302" y="194"/>
                    </a:lnTo>
                    <a:lnTo>
                      <a:pt x="292" y="194"/>
                    </a:lnTo>
                    <a:lnTo>
                      <a:pt x="285" y="186"/>
                    </a:lnTo>
                    <a:lnTo>
                      <a:pt x="286" y="185"/>
                    </a:lnTo>
                    <a:lnTo>
                      <a:pt x="285" y="183"/>
                    </a:lnTo>
                    <a:lnTo>
                      <a:pt x="288" y="183"/>
                    </a:lnTo>
                    <a:lnTo>
                      <a:pt x="289" y="183"/>
                    </a:lnTo>
                    <a:lnTo>
                      <a:pt x="292" y="183"/>
                    </a:lnTo>
                    <a:lnTo>
                      <a:pt x="294" y="188"/>
                    </a:lnTo>
                    <a:lnTo>
                      <a:pt x="295" y="186"/>
                    </a:lnTo>
                    <a:lnTo>
                      <a:pt x="295" y="182"/>
                    </a:lnTo>
                    <a:lnTo>
                      <a:pt x="298" y="181"/>
                    </a:lnTo>
                    <a:lnTo>
                      <a:pt x="300" y="183"/>
                    </a:lnTo>
                    <a:lnTo>
                      <a:pt x="302" y="186"/>
                    </a:lnTo>
                    <a:lnTo>
                      <a:pt x="307" y="188"/>
                    </a:lnTo>
                    <a:lnTo>
                      <a:pt x="309" y="191"/>
                    </a:lnTo>
                    <a:lnTo>
                      <a:pt x="308" y="192"/>
                    </a:lnTo>
                    <a:close/>
                    <a:moveTo>
                      <a:pt x="278" y="170"/>
                    </a:moveTo>
                    <a:lnTo>
                      <a:pt x="277" y="173"/>
                    </a:lnTo>
                    <a:lnTo>
                      <a:pt x="274" y="174"/>
                    </a:lnTo>
                    <a:lnTo>
                      <a:pt x="274" y="175"/>
                    </a:lnTo>
                    <a:lnTo>
                      <a:pt x="271" y="176"/>
                    </a:lnTo>
                    <a:lnTo>
                      <a:pt x="270" y="177"/>
                    </a:lnTo>
                    <a:lnTo>
                      <a:pt x="266" y="177"/>
                    </a:lnTo>
                    <a:lnTo>
                      <a:pt x="263" y="178"/>
                    </a:lnTo>
                    <a:lnTo>
                      <a:pt x="262" y="177"/>
                    </a:lnTo>
                    <a:lnTo>
                      <a:pt x="257" y="176"/>
                    </a:lnTo>
                    <a:lnTo>
                      <a:pt x="258" y="175"/>
                    </a:lnTo>
                    <a:lnTo>
                      <a:pt x="263" y="176"/>
                    </a:lnTo>
                    <a:lnTo>
                      <a:pt x="263" y="175"/>
                    </a:lnTo>
                    <a:lnTo>
                      <a:pt x="258" y="174"/>
                    </a:lnTo>
                    <a:lnTo>
                      <a:pt x="255" y="174"/>
                    </a:lnTo>
                    <a:lnTo>
                      <a:pt x="252" y="172"/>
                    </a:lnTo>
                    <a:lnTo>
                      <a:pt x="248" y="173"/>
                    </a:lnTo>
                    <a:lnTo>
                      <a:pt x="247" y="170"/>
                    </a:lnTo>
                    <a:lnTo>
                      <a:pt x="247" y="169"/>
                    </a:lnTo>
                    <a:lnTo>
                      <a:pt x="247" y="168"/>
                    </a:lnTo>
                    <a:lnTo>
                      <a:pt x="252" y="165"/>
                    </a:lnTo>
                    <a:lnTo>
                      <a:pt x="255" y="166"/>
                    </a:lnTo>
                    <a:lnTo>
                      <a:pt x="257" y="165"/>
                    </a:lnTo>
                    <a:lnTo>
                      <a:pt x="263" y="161"/>
                    </a:lnTo>
                    <a:lnTo>
                      <a:pt x="271" y="161"/>
                    </a:lnTo>
                    <a:lnTo>
                      <a:pt x="273" y="165"/>
                    </a:lnTo>
                    <a:lnTo>
                      <a:pt x="275" y="167"/>
                    </a:lnTo>
                    <a:lnTo>
                      <a:pt x="277" y="169"/>
                    </a:lnTo>
                    <a:lnTo>
                      <a:pt x="278" y="170"/>
                    </a:lnTo>
                    <a:close/>
                    <a:moveTo>
                      <a:pt x="328" y="135"/>
                    </a:moveTo>
                    <a:lnTo>
                      <a:pt x="327" y="137"/>
                    </a:lnTo>
                    <a:lnTo>
                      <a:pt x="324" y="138"/>
                    </a:lnTo>
                    <a:lnTo>
                      <a:pt x="301" y="141"/>
                    </a:lnTo>
                    <a:lnTo>
                      <a:pt x="299" y="141"/>
                    </a:lnTo>
                    <a:lnTo>
                      <a:pt x="305" y="139"/>
                    </a:lnTo>
                    <a:lnTo>
                      <a:pt x="299" y="139"/>
                    </a:lnTo>
                    <a:lnTo>
                      <a:pt x="295" y="140"/>
                    </a:lnTo>
                    <a:lnTo>
                      <a:pt x="289" y="141"/>
                    </a:lnTo>
                    <a:lnTo>
                      <a:pt x="285" y="139"/>
                    </a:lnTo>
                    <a:lnTo>
                      <a:pt x="289" y="137"/>
                    </a:lnTo>
                    <a:lnTo>
                      <a:pt x="295" y="137"/>
                    </a:lnTo>
                    <a:lnTo>
                      <a:pt x="297" y="136"/>
                    </a:lnTo>
                    <a:lnTo>
                      <a:pt x="298" y="137"/>
                    </a:lnTo>
                    <a:lnTo>
                      <a:pt x="305" y="135"/>
                    </a:lnTo>
                    <a:lnTo>
                      <a:pt x="322" y="129"/>
                    </a:lnTo>
                    <a:lnTo>
                      <a:pt x="320" y="129"/>
                    </a:lnTo>
                    <a:lnTo>
                      <a:pt x="316" y="130"/>
                    </a:lnTo>
                    <a:lnTo>
                      <a:pt x="316" y="129"/>
                    </a:lnTo>
                    <a:lnTo>
                      <a:pt x="321" y="126"/>
                    </a:lnTo>
                    <a:lnTo>
                      <a:pt x="322" y="127"/>
                    </a:lnTo>
                    <a:lnTo>
                      <a:pt x="326" y="125"/>
                    </a:lnTo>
                    <a:lnTo>
                      <a:pt x="327" y="125"/>
                    </a:lnTo>
                    <a:lnTo>
                      <a:pt x="326" y="127"/>
                    </a:lnTo>
                    <a:lnTo>
                      <a:pt x="327" y="128"/>
                    </a:lnTo>
                    <a:lnTo>
                      <a:pt x="327" y="130"/>
                    </a:lnTo>
                    <a:lnTo>
                      <a:pt x="328" y="132"/>
                    </a:lnTo>
                    <a:lnTo>
                      <a:pt x="328" y="135"/>
                    </a:lnTo>
                    <a:close/>
                    <a:moveTo>
                      <a:pt x="86" y="280"/>
                    </a:moveTo>
                    <a:lnTo>
                      <a:pt x="85" y="282"/>
                    </a:lnTo>
                    <a:lnTo>
                      <a:pt x="84" y="283"/>
                    </a:lnTo>
                    <a:lnTo>
                      <a:pt x="80" y="283"/>
                    </a:lnTo>
                    <a:lnTo>
                      <a:pt x="82" y="282"/>
                    </a:lnTo>
                    <a:lnTo>
                      <a:pt x="80" y="280"/>
                    </a:lnTo>
                    <a:lnTo>
                      <a:pt x="84" y="279"/>
                    </a:lnTo>
                    <a:lnTo>
                      <a:pt x="86" y="280"/>
                    </a:lnTo>
                    <a:close/>
                    <a:moveTo>
                      <a:pt x="240" y="198"/>
                    </a:moveTo>
                    <a:lnTo>
                      <a:pt x="243" y="198"/>
                    </a:lnTo>
                    <a:lnTo>
                      <a:pt x="244" y="199"/>
                    </a:lnTo>
                    <a:lnTo>
                      <a:pt x="244" y="200"/>
                    </a:lnTo>
                    <a:lnTo>
                      <a:pt x="239" y="200"/>
                    </a:lnTo>
                    <a:lnTo>
                      <a:pt x="238" y="198"/>
                    </a:lnTo>
                    <a:lnTo>
                      <a:pt x="240" y="198"/>
                    </a:lnTo>
                    <a:close/>
                    <a:moveTo>
                      <a:pt x="254" y="197"/>
                    </a:moveTo>
                    <a:lnTo>
                      <a:pt x="253" y="199"/>
                    </a:lnTo>
                    <a:lnTo>
                      <a:pt x="251" y="200"/>
                    </a:lnTo>
                    <a:lnTo>
                      <a:pt x="248" y="200"/>
                    </a:lnTo>
                    <a:lnTo>
                      <a:pt x="247" y="199"/>
                    </a:lnTo>
                    <a:lnTo>
                      <a:pt x="248" y="197"/>
                    </a:lnTo>
                    <a:lnTo>
                      <a:pt x="253" y="196"/>
                    </a:lnTo>
                    <a:lnTo>
                      <a:pt x="254" y="197"/>
                    </a:lnTo>
                    <a:close/>
                    <a:moveTo>
                      <a:pt x="21" y="445"/>
                    </a:moveTo>
                    <a:lnTo>
                      <a:pt x="25" y="450"/>
                    </a:lnTo>
                    <a:lnTo>
                      <a:pt x="20" y="449"/>
                    </a:lnTo>
                    <a:lnTo>
                      <a:pt x="16" y="446"/>
                    </a:lnTo>
                    <a:lnTo>
                      <a:pt x="16" y="445"/>
                    </a:lnTo>
                    <a:lnTo>
                      <a:pt x="19" y="446"/>
                    </a:lnTo>
                    <a:lnTo>
                      <a:pt x="19" y="444"/>
                    </a:lnTo>
                    <a:lnTo>
                      <a:pt x="19" y="443"/>
                    </a:lnTo>
                    <a:lnTo>
                      <a:pt x="21" y="445"/>
                    </a:lnTo>
                    <a:close/>
                    <a:moveTo>
                      <a:pt x="38" y="371"/>
                    </a:moveTo>
                    <a:lnTo>
                      <a:pt x="37" y="372"/>
                    </a:lnTo>
                    <a:lnTo>
                      <a:pt x="35" y="372"/>
                    </a:lnTo>
                    <a:lnTo>
                      <a:pt x="35" y="373"/>
                    </a:lnTo>
                    <a:lnTo>
                      <a:pt x="32" y="373"/>
                    </a:lnTo>
                    <a:lnTo>
                      <a:pt x="31" y="372"/>
                    </a:lnTo>
                    <a:lnTo>
                      <a:pt x="32" y="369"/>
                    </a:lnTo>
                    <a:lnTo>
                      <a:pt x="35" y="371"/>
                    </a:lnTo>
                    <a:lnTo>
                      <a:pt x="37" y="369"/>
                    </a:lnTo>
                    <a:lnTo>
                      <a:pt x="38" y="371"/>
                    </a:lnTo>
                    <a:close/>
                    <a:moveTo>
                      <a:pt x="37" y="364"/>
                    </a:moveTo>
                    <a:lnTo>
                      <a:pt x="33" y="363"/>
                    </a:lnTo>
                    <a:lnTo>
                      <a:pt x="32" y="363"/>
                    </a:lnTo>
                    <a:lnTo>
                      <a:pt x="34" y="362"/>
                    </a:lnTo>
                    <a:lnTo>
                      <a:pt x="37" y="362"/>
                    </a:lnTo>
                    <a:lnTo>
                      <a:pt x="38" y="363"/>
                    </a:lnTo>
                    <a:lnTo>
                      <a:pt x="38" y="365"/>
                    </a:lnTo>
                    <a:lnTo>
                      <a:pt x="37" y="364"/>
                    </a:lnTo>
                    <a:close/>
                    <a:moveTo>
                      <a:pt x="34" y="360"/>
                    </a:moveTo>
                    <a:lnTo>
                      <a:pt x="28" y="361"/>
                    </a:lnTo>
                    <a:lnTo>
                      <a:pt x="26" y="360"/>
                    </a:lnTo>
                    <a:lnTo>
                      <a:pt x="31" y="359"/>
                    </a:lnTo>
                    <a:lnTo>
                      <a:pt x="35" y="359"/>
                    </a:lnTo>
                    <a:lnTo>
                      <a:pt x="34" y="360"/>
                    </a:lnTo>
                    <a:close/>
                    <a:moveTo>
                      <a:pt x="137" y="264"/>
                    </a:moveTo>
                    <a:lnTo>
                      <a:pt x="129" y="265"/>
                    </a:lnTo>
                    <a:lnTo>
                      <a:pt x="120" y="264"/>
                    </a:lnTo>
                    <a:lnTo>
                      <a:pt x="140" y="263"/>
                    </a:lnTo>
                    <a:lnTo>
                      <a:pt x="137" y="264"/>
                    </a:lnTo>
                    <a:close/>
                    <a:moveTo>
                      <a:pt x="156" y="249"/>
                    </a:moveTo>
                    <a:lnTo>
                      <a:pt x="155" y="248"/>
                    </a:lnTo>
                    <a:lnTo>
                      <a:pt x="154" y="249"/>
                    </a:lnTo>
                    <a:lnTo>
                      <a:pt x="148" y="250"/>
                    </a:lnTo>
                    <a:lnTo>
                      <a:pt x="147" y="249"/>
                    </a:lnTo>
                    <a:lnTo>
                      <a:pt x="152" y="248"/>
                    </a:lnTo>
                    <a:lnTo>
                      <a:pt x="155" y="244"/>
                    </a:lnTo>
                    <a:lnTo>
                      <a:pt x="158" y="248"/>
                    </a:lnTo>
                    <a:lnTo>
                      <a:pt x="156" y="249"/>
                    </a:lnTo>
                    <a:close/>
                    <a:moveTo>
                      <a:pt x="214" y="249"/>
                    </a:moveTo>
                    <a:lnTo>
                      <a:pt x="207" y="249"/>
                    </a:lnTo>
                    <a:lnTo>
                      <a:pt x="202" y="246"/>
                    </a:lnTo>
                    <a:lnTo>
                      <a:pt x="204" y="246"/>
                    </a:lnTo>
                    <a:lnTo>
                      <a:pt x="206" y="246"/>
                    </a:lnTo>
                    <a:lnTo>
                      <a:pt x="213" y="246"/>
                    </a:lnTo>
                    <a:lnTo>
                      <a:pt x="214" y="247"/>
                    </a:lnTo>
                    <a:lnTo>
                      <a:pt x="214" y="249"/>
                    </a:lnTo>
                    <a:close/>
                    <a:moveTo>
                      <a:pt x="78" y="619"/>
                    </a:moveTo>
                    <a:lnTo>
                      <a:pt x="80" y="620"/>
                    </a:lnTo>
                    <a:lnTo>
                      <a:pt x="82" y="620"/>
                    </a:lnTo>
                    <a:lnTo>
                      <a:pt x="85" y="620"/>
                    </a:lnTo>
                    <a:lnTo>
                      <a:pt x="86" y="621"/>
                    </a:lnTo>
                    <a:lnTo>
                      <a:pt x="87" y="624"/>
                    </a:lnTo>
                    <a:lnTo>
                      <a:pt x="86" y="625"/>
                    </a:lnTo>
                    <a:lnTo>
                      <a:pt x="84" y="625"/>
                    </a:lnTo>
                    <a:lnTo>
                      <a:pt x="82" y="624"/>
                    </a:lnTo>
                    <a:lnTo>
                      <a:pt x="72" y="620"/>
                    </a:lnTo>
                    <a:lnTo>
                      <a:pt x="73" y="618"/>
                    </a:lnTo>
                    <a:lnTo>
                      <a:pt x="78" y="619"/>
                    </a:lnTo>
                    <a:close/>
                    <a:moveTo>
                      <a:pt x="92" y="614"/>
                    </a:moveTo>
                    <a:lnTo>
                      <a:pt x="95" y="615"/>
                    </a:lnTo>
                    <a:lnTo>
                      <a:pt x="91" y="618"/>
                    </a:lnTo>
                    <a:lnTo>
                      <a:pt x="88" y="618"/>
                    </a:lnTo>
                    <a:lnTo>
                      <a:pt x="86" y="617"/>
                    </a:lnTo>
                    <a:lnTo>
                      <a:pt x="87" y="615"/>
                    </a:lnTo>
                    <a:lnTo>
                      <a:pt x="88" y="615"/>
                    </a:lnTo>
                    <a:lnTo>
                      <a:pt x="90" y="613"/>
                    </a:lnTo>
                    <a:lnTo>
                      <a:pt x="92" y="614"/>
                    </a:lnTo>
                    <a:close/>
                    <a:moveTo>
                      <a:pt x="109" y="603"/>
                    </a:moveTo>
                    <a:lnTo>
                      <a:pt x="112" y="605"/>
                    </a:lnTo>
                    <a:lnTo>
                      <a:pt x="112" y="607"/>
                    </a:lnTo>
                    <a:lnTo>
                      <a:pt x="106" y="609"/>
                    </a:lnTo>
                    <a:lnTo>
                      <a:pt x="101" y="609"/>
                    </a:lnTo>
                    <a:lnTo>
                      <a:pt x="100" y="608"/>
                    </a:lnTo>
                    <a:lnTo>
                      <a:pt x="100" y="607"/>
                    </a:lnTo>
                    <a:lnTo>
                      <a:pt x="100" y="606"/>
                    </a:lnTo>
                    <a:lnTo>
                      <a:pt x="101" y="604"/>
                    </a:lnTo>
                    <a:lnTo>
                      <a:pt x="105" y="603"/>
                    </a:lnTo>
                    <a:lnTo>
                      <a:pt x="109" y="603"/>
                    </a:lnTo>
                    <a:close/>
                    <a:moveTo>
                      <a:pt x="84" y="549"/>
                    </a:moveTo>
                    <a:lnTo>
                      <a:pt x="86" y="550"/>
                    </a:lnTo>
                    <a:lnTo>
                      <a:pt x="89" y="551"/>
                    </a:lnTo>
                    <a:lnTo>
                      <a:pt x="91" y="553"/>
                    </a:lnTo>
                    <a:lnTo>
                      <a:pt x="87" y="554"/>
                    </a:lnTo>
                    <a:lnTo>
                      <a:pt x="86" y="557"/>
                    </a:lnTo>
                    <a:lnTo>
                      <a:pt x="85" y="557"/>
                    </a:lnTo>
                    <a:lnTo>
                      <a:pt x="85" y="556"/>
                    </a:lnTo>
                    <a:lnTo>
                      <a:pt x="85" y="552"/>
                    </a:lnTo>
                    <a:lnTo>
                      <a:pt x="85" y="551"/>
                    </a:lnTo>
                    <a:lnTo>
                      <a:pt x="83" y="551"/>
                    </a:lnTo>
                    <a:lnTo>
                      <a:pt x="80" y="551"/>
                    </a:lnTo>
                    <a:lnTo>
                      <a:pt x="79" y="551"/>
                    </a:lnTo>
                    <a:lnTo>
                      <a:pt x="76" y="549"/>
                    </a:lnTo>
                    <a:lnTo>
                      <a:pt x="77" y="547"/>
                    </a:lnTo>
                    <a:lnTo>
                      <a:pt x="78" y="546"/>
                    </a:lnTo>
                    <a:lnTo>
                      <a:pt x="79" y="549"/>
                    </a:lnTo>
                    <a:lnTo>
                      <a:pt x="82" y="549"/>
                    </a:lnTo>
                    <a:lnTo>
                      <a:pt x="84" y="549"/>
                    </a:lnTo>
                    <a:close/>
                    <a:moveTo>
                      <a:pt x="106" y="510"/>
                    </a:moveTo>
                    <a:lnTo>
                      <a:pt x="109" y="513"/>
                    </a:lnTo>
                    <a:lnTo>
                      <a:pt x="109" y="515"/>
                    </a:lnTo>
                    <a:lnTo>
                      <a:pt x="102" y="520"/>
                    </a:lnTo>
                    <a:lnTo>
                      <a:pt x="101" y="516"/>
                    </a:lnTo>
                    <a:lnTo>
                      <a:pt x="101" y="513"/>
                    </a:lnTo>
                    <a:lnTo>
                      <a:pt x="103" y="512"/>
                    </a:lnTo>
                    <a:lnTo>
                      <a:pt x="106" y="510"/>
                    </a:lnTo>
                    <a:close/>
                    <a:moveTo>
                      <a:pt x="58" y="519"/>
                    </a:moveTo>
                    <a:lnTo>
                      <a:pt x="61" y="522"/>
                    </a:lnTo>
                    <a:lnTo>
                      <a:pt x="61" y="525"/>
                    </a:lnTo>
                    <a:lnTo>
                      <a:pt x="59" y="527"/>
                    </a:lnTo>
                    <a:lnTo>
                      <a:pt x="57" y="526"/>
                    </a:lnTo>
                    <a:lnTo>
                      <a:pt x="57" y="527"/>
                    </a:lnTo>
                    <a:lnTo>
                      <a:pt x="54" y="526"/>
                    </a:lnTo>
                    <a:lnTo>
                      <a:pt x="54" y="525"/>
                    </a:lnTo>
                    <a:lnTo>
                      <a:pt x="56" y="522"/>
                    </a:lnTo>
                    <a:lnTo>
                      <a:pt x="56" y="519"/>
                    </a:lnTo>
                    <a:lnTo>
                      <a:pt x="58" y="519"/>
                    </a:lnTo>
                    <a:close/>
                    <a:moveTo>
                      <a:pt x="42" y="527"/>
                    </a:moveTo>
                    <a:lnTo>
                      <a:pt x="43" y="528"/>
                    </a:lnTo>
                    <a:lnTo>
                      <a:pt x="40" y="531"/>
                    </a:lnTo>
                    <a:lnTo>
                      <a:pt x="37" y="531"/>
                    </a:lnTo>
                    <a:lnTo>
                      <a:pt x="35" y="529"/>
                    </a:lnTo>
                    <a:lnTo>
                      <a:pt x="35" y="527"/>
                    </a:lnTo>
                    <a:lnTo>
                      <a:pt x="39" y="526"/>
                    </a:lnTo>
                    <a:lnTo>
                      <a:pt x="41" y="526"/>
                    </a:lnTo>
                    <a:lnTo>
                      <a:pt x="42" y="527"/>
                    </a:lnTo>
                    <a:close/>
                    <a:moveTo>
                      <a:pt x="44" y="516"/>
                    </a:moveTo>
                    <a:lnTo>
                      <a:pt x="46" y="518"/>
                    </a:lnTo>
                    <a:lnTo>
                      <a:pt x="47" y="519"/>
                    </a:lnTo>
                    <a:lnTo>
                      <a:pt x="50" y="521"/>
                    </a:lnTo>
                    <a:lnTo>
                      <a:pt x="51" y="523"/>
                    </a:lnTo>
                    <a:lnTo>
                      <a:pt x="50" y="526"/>
                    </a:lnTo>
                    <a:lnTo>
                      <a:pt x="50" y="527"/>
                    </a:lnTo>
                    <a:lnTo>
                      <a:pt x="44" y="526"/>
                    </a:lnTo>
                    <a:lnTo>
                      <a:pt x="43" y="525"/>
                    </a:lnTo>
                    <a:lnTo>
                      <a:pt x="42" y="524"/>
                    </a:lnTo>
                    <a:lnTo>
                      <a:pt x="43" y="522"/>
                    </a:lnTo>
                    <a:lnTo>
                      <a:pt x="42" y="521"/>
                    </a:lnTo>
                    <a:lnTo>
                      <a:pt x="42" y="520"/>
                    </a:lnTo>
                    <a:lnTo>
                      <a:pt x="43" y="520"/>
                    </a:lnTo>
                    <a:lnTo>
                      <a:pt x="43" y="522"/>
                    </a:lnTo>
                    <a:lnTo>
                      <a:pt x="45" y="523"/>
                    </a:lnTo>
                    <a:lnTo>
                      <a:pt x="46" y="523"/>
                    </a:lnTo>
                    <a:lnTo>
                      <a:pt x="45" y="522"/>
                    </a:lnTo>
                    <a:lnTo>
                      <a:pt x="43" y="515"/>
                    </a:lnTo>
                    <a:lnTo>
                      <a:pt x="44" y="516"/>
                    </a:lnTo>
                    <a:close/>
                    <a:moveTo>
                      <a:pt x="26" y="464"/>
                    </a:moveTo>
                    <a:lnTo>
                      <a:pt x="28" y="465"/>
                    </a:lnTo>
                    <a:lnTo>
                      <a:pt x="30" y="464"/>
                    </a:lnTo>
                    <a:lnTo>
                      <a:pt x="34" y="465"/>
                    </a:lnTo>
                    <a:lnTo>
                      <a:pt x="39" y="467"/>
                    </a:lnTo>
                    <a:lnTo>
                      <a:pt x="44" y="470"/>
                    </a:lnTo>
                    <a:lnTo>
                      <a:pt x="45" y="472"/>
                    </a:lnTo>
                    <a:lnTo>
                      <a:pt x="45" y="474"/>
                    </a:lnTo>
                    <a:lnTo>
                      <a:pt x="43" y="474"/>
                    </a:lnTo>
                    <a:lnTo>
                      <a:pt x="35" y="470"/>
                    </a:lnTo>
                    <a:lnTo>
                      <a:pt x="32" y="470"/>
                    </a:lnTo>
                    <a:lnTo>
                      <a:pt x="28" y="468"/>
                    </a:lnTo>
                    <a:lnTo>
                      <a:pt x="27" y="467"/>
                    </a:lnTo>
                    <a:lnTo>
                      <a:pt x="24" y="464"/>
                    </a:lnTo>
                    <a:lnTo>
                      <a:pt x="26" y="464"/>
                    </a:lnTo>
                    <a:close/>
                    <a:moveTo>
                      <a:pt x="20" y="451"/>
                    </a:moveTo>
                    <a:lnTo>
                      <a:pt x="28" y="453"/>
                    </a:lnTo>
                    <a:lnTo>
                      <a:pt x="31" y="458"/>
                    </a:lnTo>
                    <a:lnTo>
                      <a:pt x="40" y="463"/>
                    </a:lnTo>
                    <a:lnTo>
                      <a:pt x="42" y="467"/>
                    </a:lnTo>
                    <a:lnTo>
                      <a:pt x="40" y="466"/>
                    </a:lnTo>
                    <a:lnTo>
                      <a:pt x="39" y="465"/>
                    </a:lnTo>
                    <a:lnTo>
                      <a:pt x="35" y="465"/>
                    </a:lnTo>
                    <a:lnTo>
                      <a:pt x="29" y="462"/>
                    </a:lnTo>
                    <a:lnTo>
                      <a:pt x="23" y="457"/>
                    </a:lnTo>
                    <a:lnTo>
                      <a:pt x="20" y="453"/>
                    </a:lnTo>
                    <a:lnTo>
                      <a:pt x="21" y="453"/>
                    </a:lnTo>
                    <a:lnTo>
                      <a:pt x="21" y="452"/>
                    </a:lnTo>
                    <a:lnTo>
                      <a:pt x="18" y="450"/>
                    </a:lnTo>
                    <a:lnTo>
                      <a:pt x="20" y="451"/>
                    </a:lnTo>
                    <a:close/>
                    <a:moveTo>
                      <a:pt x="27" y="430"/>
                    </a:moveTo>
                    <a:lnTo>
                      <a:pt x="29" y="438"/>
                    </a:lnTo>
                    <a:lnTo>
                      <a:pt x="26" y="438"/>
                    </a:lnTo>
                    <a:lnTo>
                      <a:pt x="25" y="435"/>
                    </a:lnTo>
                    <a:lnTo>
                      <a:pt x="25" y="433"/>
                    </a:lnTo>
                    <a:lnTo>
                      <a:pt x="24" y="431"/>
                    </a:lnTo>
                    <a:lnTo>
                      <a:pt x="24" y="429"/>
                    </a:lnTo>
                    <a:lnTo>
                      <a:pt x="27" y="429"/>
                    </a:lnTo>
                    <a:lnTo>
                      <a:pt x="27" y="430"/>
                    </a:lnTo>
                    <a:close/>
                    <a:moveTo>
                      <a:pt x="27" y="385"/>
                    </a:moveTo>
                    <a:lnTo>
                      <a:pt x="27" y="387"/>
                    </a:lnTo>
                    <a:lnTo>
                      <a:pt x="28" y="387"/>
                    </a:lnTo>
                    <a:lnTo>
                      <a:pt x="28" y="388"/>
                    </a:lnTo>
                    <a:lnTo>
                      <a:pt x="24" y="389"/>
                    </a:lnTo>
                    <a:lnTo>
                      <a:pt x="22" y="390"/>
                    </a:lnTo>
                    <a:lnTo>
                      <a:pt x="21" y="390"/>
                    </a:lnTo>
                    <a:lnTo>
                      <a:pt x="20" y="388"/>
                    </a:lnTo>
                    <a:lnTo>
                      <a:pt x="17" y="387"/>
                    </a:lnTo>
                    <a:lnTo>
                      <a:pt x="20" y="383"/>
                    </a:lnTo>
                    <a:lnTo>
                      <a:pt x="23" y="385"/>
                    </a:lnTo>
                    <a:lnTo>
                      <a:pt x="26" y="384"/>
                    </a:lnTo>
                    <a:lnTo>
                      <a:pt x="27" y="385"/>
                    </a:lnTo>
                    <a:close/>
                    <a:moveTo>
                      <a:pt x="38" y="319"/>
                    </a:moveTo>
                    <a:lnTo>
                      <a:pt x="37" y="320"/>
                    </a:lnTo>
                    <a:lnTo>
                      <a:pt x="36" y="324"/>
                    </a:lnTo>
                    <a:lnTo>
                      <a:pt x="35" y="325"/>
                    </a:lnTo>
                    <a:lnTo>
                      <a:pt x="34" y="325"/>
                    </a:lnTo>
                    <a:lnTo>
                      <a:pt x="32" y="324"/>
                    </a:lnTo>
                    <a:lnTo>
                      <a:pt x="30" y="324"/>
                    </a:lnTo>
                    <a:lnTo>
                      <a:pt x="28" y="322"/>
                    </a:lnTo>
                    <a:lnTo>
                      <a:pt x="33" y="322"/>
                    </a:lnTo>
                    <a:lnTo>
                      <a:pt x="33" y="321"/>
                    </a:lnTo>
                    <a:lnTo>
                      <a:pt x="32" y="319"/>
                    </a:lnTo>
                    <a:lnTo>
                      <a:pt x="29" y="319"/>
                    </a:lnTo>
                    <a:lnTo>
                      <a:pt x="26" y="317"/>
                    </a:lnTo>
                    <a:lnTo>
                      <a:pt x="26" y="313"/>
                    </a:lnTo>
                    <a:lnTo>
                      <a:pt x="34" y="317"/>
                    </a:lnTo>
                    <a:lnTo>
                      <a:pt x="35" y="316"/>
                    </a:lnTo>
                    <a:lnTo>
                      <a:pt x="38" y="315"/>
                    </a:lnTo>
                    <a:lnTo>
                      <a:pt x="38" y="317"/>
                    </a:lnTo>
                    <a:lnTo>
                      <a:pt x="39" y="318"/>
                    </a:lnTo>
                    <a:lnTo>
                      <a:pt x="38" y="319"/>
                    </a:lnTo>
                    <a:close/>
                    <a:moveTo>
                      <a:pt x="178" y="243"/>
                    </a:moveTo>
                    <a:lnTo>
                      <a:pt x="161" y="248"/>
                    </a:lnTo>
                    <a:lnTo>
                      <a:pt x="158" y="245"/>
                    </a:lnTo>
                    <a:lnTo>
                      <a:pt x="158" y="244"/>
                    </a:lnTo>
                    <a:lnTo>
                      <a:pt x="160" y="244"/>
                    </a:lnTo>
                    <a:lnTo>
                      <a:pt x="160" y="240"/>
                    </a:lnTo>
                    <a:lnTo>
                      <a:pt x="162" y="239"/>
                    </a:lnTo>
                    <a:lnTo>
                      <a:pt x="163" y="240"/>
                    </a:lnTo>
                    <a:lnTo>
                      <a:pt x="164" y="240"/>
                    </a:lnTo>
                    <a:lnTo>
                      <a:pt x="165" y="241"/>
                    </a:lnTo>
                    <a:lnTo>
                      <a:pt x="167" y="239"/>
                    </a:lnTo>
                    <a:lnTo>
                      <a:pt x="177" y="238"/>
                    </a:lnTo>
                    <a:lnTo>
                      <a:pt x="179" y="242"/>
                    </a:lnTo>
                    <a:lnTo>
                      <a:pt x="178" y="243"/>
                    </a:lnTo>
                    <a:close/>
                    <a:moveTo>
                      <a:pt x="41" y="541"/>
                    </a:moveTo>
                    <a:lnTo>
                      <a:pt x="43" y="545"/>
                    </a:lnTo>
                    <a:lnTo>
                      <a:pt x="46" y="546"/>
                    </a:lnTo>
                    <a:lnTo>
                      <a:pt x="47" y="549"/>
                    </a:lnTo>
                    <a:lnTo>
                      <a:pt x="50" y="549"/>
                    </a:lnTo>
                    <a:lnTo>
                      <a:pt x="51" y="551"/>
                    </a:lnTo>
                    <a:lnTo>
                      <a:pt x="54" y="554"/>
                    </a:lnTo>
                    <a:lnTo>
                      <a:pt x="55" y="557"/>
                    </a:lnTo>
                    <a:lnTo>
                      <a:pt x="57" y="559"/>
                    </a:lnTo>
                    <a:lnTo>
                      <a:pt x="54" y="561"/>
                    </a:lnTo>
                    <a:lnTo>
                      <a:pt x="51" y="561"/>
                    </a:lnTo>
                    <a:lnTo>
                      <a:pt x="50" y="561"/>
                    </a:lnTo>
                    <a:lnTo>
                      <a:pt x="51" y="561"/>
                    </a:lnTo>
                    <a:lnTo>
                      <a:pt x="54" y="559"/>
                    </a:lnTo>
                    <a:lnTo>
                      <a:pt x="52" y="555"/>
                    </a:lnTo>
                    <a:lnTo>
                      <a:pt x="51" y="555"/>
                    </a:lnTo>
                    <a:lnTo>
                      <a:pt x="51" y="557"/>
                    </a:lnTo>
                    <a:lnTo>
                      <a:pt x="48" y="555"/>
                    </a:lnTo>
                    <a:lnTo>
                      <a:pt x="47" y="554"/>
                    </a:lnTo>
                    <a:lnTo>
                      <a:pt x="44" y="555"/>
                    </a:lnTo>
                    <a:lnTo>
                      <a:pt x="43" y="556"/>
                    </a:lnTo>
                    <a:lnTo>
                      <a:pt x="45" y="558"/>
                    </a:lnTo>
                    <a:lnTo>
                      <a:pt x="42" y="563"/>
                    </a:lnTo>
                    <a:lnTo>
                      <a:pt x="41" y="564"/>
                    </a:lnTo>
                    <a:lnTo>
                      <a:pt x="42" y="565"/>
                    </a:lnTo>
                    <a:lnTo>
                      <a:pt x="44" y="562"/>
                    </a:lnTo>
                    <a:lnTo>
                      <a:pt x="46" y="562"/>
                    </a:lnTo>
                    <a:lnTo>
                      <a:pt x="44" y="565"/>
                    </a:lnTo>
                    <a:lnTo>
                      <a:pt x="45" y="567"/>
                    </a:lnTo>
                    <a:lnTo>
                      <a:pt x="45" y="569"/>
                    </a:lnTo>
                    <a:lnTo>
                      <a:pt x="41" y="572"/>
                    </a:lnTo>
                    <a:lnTo>
                      <a:pt x="41" y="571"/>
                    </a:lnTo>
                    <a:lnTo>
                      <a:pt x="40" y="570"/>
                    </a:lnTo>
                    <a:lnTo>
                      <a:pt x="40" y="569"/>
                    </a:lnTo>
                    <a:lnTo>
                      <a:pt x="38" y="566"/>
                    </a:lnTo>
                    <a:lnTo>
                      <a:pt x="38" y="565"/>
                    </a:lnTo>
                    <a:lnTo>
                      <a:pt x="39" y="563"/>
                    </a:lnTo>
                    <a:lnTo>
                      <a:pt x="38" y="562"/>
                    </a:lnTo>
                    <a:lnTo>
                      <a:pt x="40" y="556"/>
                    </a:lnTo>
                    <a:lnTo>
                      <a:pt x="43" y="554"/>
                    </a:lnTo>
                    <a:lnTo>
                      <a:pt x="39" y="553"/>
                    </a:lnTo>
                    <a:lnTo>
                      <a:pt x="39" y="551"/>
                    </a:lnTo>
                    <a:lnTo>
                      <a:pt x="37" y="553"/>
                    </a:lnTo>
                    <a:lnTo>
                      <a:pt x="36" y="553"/>
                    </a:lnTo>
                    <a:lnTo>
                      <a:pt x="35" y="551"/>
                    </a:lnTo>
                    <a:lnTo>
                      <a:pt x="35" y="550"/>
                    </a:lnTo>
                    <a:lnTo>
                      <a:pt x="37" y="549"/>
                    </a:lnTo>
                    <a:lnTo>
                      <a:pt x="37" y="546"/>
                    </a:lnTo>
                    <a:lnTo>
                      <a:pt x="38" y="547"/>
                    </a:lnTo>
                    <a:lnTo>
                      <a:pt x="39" y="546"/>
                    </a:lnTo>
                    <a:lnTo>
                      <a:pt x="41" y="546"/>
                    </a:lnTo>
                    <a:lnTo>
                      <a:pt x="38" y="543"/>
                    </a:lnTo>
                    <a:lnTo>
                      <a:pt x="38" y="541"/>
                    </a:lnTo>
                    <a:lnTo>
                      <a:pt x="41" y="541"/>
                    </a:lnTo>
                    <a:close/>
                    <a:moveTo>
                      <a:pt x="81" y="521"/>
                    </a:moveTo>
                    <a:lnTo>
                      <a:pt x="81" y="528"/>
                    </a:lnTo>
                    <a:lnTo>
                      <a:pt x="80" y="529"/>
                    </a:lnTo>
                    <a:lnTo>
                      <a:pt x="77" y="531"/>
                    </a:lnTo>
                    <a:lnTo>
                      <a:pt x="76" y="533"/>
                    </a:lnTo>
                    <a:lnTo>
                      <a:pt x="79" y="537"/>
                    </a:lnTo>
                    <a:lnTo>
                      <a:pt x="78" y="538"/>
                    </a:lnTo>
                    <a:lnTo>
                      <a:pt x="76" y="537"/>
                    </a:lnTo>
                    <a:lnTo>
                      <a:pt x="76" y="535"/>
                    </a:lnTo>
                    <a:lnTo>
                      <a:pt x="70" y="539"/>
                    </a:lnTo>
                    <a:lnTo>
                      <a:pt x="68" y="539"/>
                    </a:lnTo>
                    <a:lnTo>
                      <a:pt x="67" y="537"/>
                    </a:lnTo>
                    <a:lnTo>
                      <a:pt x="67" y="533"/>
                    </a:lnTo>
                    <a:lnTo>
                      <a:pt x="66" y="532"/>
                    </a:lnTo>
                    <a:lnTo>
                      <a:pt x="65" y="532"/>
                    </a:lnTo>
                    <a:lnTo>
                      <a:pt x="65" y="533"/>
                    </a:lnTo>
                    <a:lnTo>
                      <a:pt x="63" y="533"/>
                    </a:lnTo>
                    <a:lnTo>
                      <a:pt x="57" y="529"/>
                    </a:lnTo>
                    <a:lnTo>
                      <a:pt x="59" y="528"/>
                    </a:lnTo>
                    <a:lnTo>
                      <a:pt x="65" y="527"/>
                    </a:lnTo>
                    <a:lnTo>
                      <a:pt x="64" y="525"/>
                    </a:lnTo>
                    <a:lnTo>
                      <a:pt x="64" y="524"/>
                    </a:lnTo>
                    <a:lnTo>
                      <a:pt x="65" y="523"/>
                    </a:lnTo>
                    <a:lnTo>
                      <a:pt x="68" y="523"/>
                    </a:lnTo>
                    <a:lnTo>
                      <a:pt x="69" y="522"/>
                    </a:lnTo>
                    <a:lnTo>
                      <a:pt x="71" y="521"/>
                    </a:lnTo>
                    <a:lnTo>
                      <a:pt x="76" y="522"/>
                    </a:lnTo>
                    <a:lnTo>
                      <a:pt x="77" y="520"/>
                    </a:lnTo>
                    <a:lnTo>
                      <a:pt x="81" y="520"/>
                    </a:lnTo>
                    <a:lnTo>
                      <a:pt x="81" y="521"/>
                    </a:lnTo>
                    <a:close/>
                    <a:moveTo>
                      <a:pt x="28" y="470"/>
                    </a:moveTo>
                    <a:lnTo>
                      <a:pt x="30" y="472"/>
                    </a:lnTo>
                    <a:lnTo>
                      <a:pt x="35" y="473"/>
                    </a:lnTo>
                    <a:lnTo>
                      <a:pt x="43" y="477"/>
                    </a:lnTo>
                    <a:lnTo>
                      <a:pt x="45" y="478"/>
                    </a:lnTo>
                    <a:lnTo>
                      <a:pt x="46" y="484"/>
                    </a:lnTo>
                    <a:lnTo>
                      <a:pt x="45" y="484"/>
                    </a:lnTo>
                    <a:lnTo>
                      <a:pt x="40" y="486"/>
                    </a:lnTo>
                    <a:lnTo>
                      <a:pt x="38" y="483"/>
                    </a:lnTo>
                    <a:lnTo>
                      <a:pt x="40" y="482"/>
                    </a:lnTo>
                    <a:lnTo>
                      <a:pt x="35" y="480"/>
                    </a:lnTo>
                    <a:lnTo>
                      <a:pt x="35" y="479"/>
                    </a:lnTo>
                    <a:lnTo>
                      <a:pt x="36" y="478"/>
                    </a:lnTo>
                    <a:lnTo>
                      <a:pt x="34" y="478"/>
                    </a:lnTo>
                    <a:lnTo>
                      <a:pt x="34" y="476"/>
                    </a:lnTo>
                    <a:lnTo>
                      <a:pt x="33" y="475"/>
                    </a:lnTo>
                    <a:lnTo>
                      <a:pt x="31" y="476"/>
                    </a:lnTo>
                    <a:lnTo>
                      <a:pt x="30" y="476"/>
                    </a:lnTo>
                    <a:lnTo>
                      <a:pt x="26" y="469"/>
                    </a:lnTo>
                    <a:lnTo>
                      <a:pt x="28" y="470"/>
                    </a:lnTo>
                    <a:close/>
                    <a:moveTo>
                      <a:pt x="28" y="484"/>
                    </a:moveTo>
                    <a:lnTo>
                      <a:pt x="31" y="486"/>
                    </a:lnTo>
                    <a:lnTo>
                      <a:pt x="31" y="488"/>
                    </a:lnTo>
                    <a:lnTo>
                      <a:pt x="35" y="491"/>
                    </a:lnTo>
                    <a:lnTo>
                      <a:pt x="37" y="495"/>
                    </a:lnTo>
                    <a:lnTo>
                      <a:pt x="37" y="498"/>
                    </a:lnTo>
                    <a:lnTo>
                      <a:pt x="36" y="498"/>
                    </a:lnTo>
                    <a:lnTo>
                      <a:pt x="34" y="498"/>
                    </a:lnTo>
                    <a:lnTo>
                      <a:pt x="33" y="499"/>
                    </a:lnTo>
                    <a:lnTo>
                      <a:pt x="36" y="500"/>
                    </a:lnTo>
                    <a:lnTo>
                      <a:pt x="37" y="501"/>
                    </a:lnTo>
                    <a:lnTo>
                      <a:pt x="38" y="504"/>
                    </a:lnTo>
                    <a:lnTo>
                      <a:pt x="38" y="508"/>
                    </a:lnTo>
                    <a:lnTo>
                      <a:pt x="34" y="508"/>
                    </a:lnTo>
                    <a:lnTo>
                      <a:pt x="32" y="502"/>
                    </a:lnTo>
                    <a:lnTo>
                      <a:pt x="31" y="502"/>
                    </a:lnTo>
                    <a:lnTo>
                      <a:pt x="31" y="504"/>
                    </a:lnTo>
                    <a:lnTo>
                      <a:pt x="30" y="505"/>
                    </a:lnTo>
                    <a:lnTo>
                      <a:pt x="25" y="502"/>
                    </a:lnTo>
                    <a:lnTo>
                      <a:pt x="24" y="497"/>
                    </a:lnTo>
                    <a:lnTo>
                      <a:pt x="25" y="497"/>
                    </a:lnTo>
                    <a:lnTo>
                      <a:pt x="27" y="498"/>
                    </a:lnTo>
                    <a:lnTo>
                      <a:pt x="28" y="496"/>
                    </a:lnTo>
                    <a:lnTo>
                      <a:pt x="31" y="498"/>
                    </a:lnTo>
                    <a:lnTo>
                      <a:pt x="32" y="495"/>
                    </a:lnTo>
                    <a:lnTo>
                      <a:pt x="30" y="495"/>
                    </a:lnTo>
                    <a:lnTo>
                      <a:pt x="27" y="493"/>
                    </a:lnTo>
                    <a:lnTo>
                      <a:pt x="26" y="489"/>
                    </a:lnTo>
                    <a:lnTo>
                      <a:pt x="27" y="486"/>
                    </a:lnTo>
                    <a:lnTo>
                      <a:pt x="26" y="486"/>
                    </a:lnTo>
                    <a:lnTo>
                      <a:pt x="25" y="483"/>
                    </a:lnTo>
                    <a:lnTo>
                      <a:pt x="25" y="482"/>
                    </a:lnTo>
                    <a:lnTo>
                      <a:pt x="27" y="482"/>
                    </a:lnTo>
                    <a:lnTo>
                      <a:pt x="27" y="481"/>
                    </a:lnTo>
                    <a:lnTo>
                      <a:pt x="28" y="482"/>
                    </a:lnTo>
                    <a:lnTo>
                      <a:pt x="28" y="484"/>
                    </a:lnTo>
                    <a:close/>
                    <a:moveTo>
                      <a:pt x="26" y="403"/>
                    </a:moveTo>
                    <a:lnTo>
                      <a:pt x="26" y="405"/>
                    </a:lnTo>
                    <a:lnTo>
                      <a:pt x="28" y="411"/>
                    </a:lnTo>
                    <a:lnTo>
                      <a:pt x="28" y="412"/>
                    </a:lnTo>
                    <a:lnTo>
                      <a:pt x="23" y="415"/>
                    </a:lnTo>
                    <a:lnTo>
                      <a:pt x="21" y="417"/>
                    </a:lnTo>
                    <a:lnTo>
                      <a:pt x="19" y="413"/>
                    </a:lnTo>
                    <a:lnTo>
                      <a:pt x="18" y="412"/>
                    </a:lnTo>
                    <a:lnTo>
                      <a:pt x="17" y="414"/>
                    </a:lnTo>
                    <a:lnTo>
                      <a:pt x="15" y="415"/>
                    </a:lnTo>
                    <a:lnTo>
                      <a:pt x="15" y="417"/>
                    </a:lnTo>
                    <a:lnTo>
                      <a:pt x="13" y="417"/>
                    </a:lnTo>
                    <a:lnTo>
                      <a:pt x="14" y="411"/>
                    </a:lnTo>
                    <a:lnTo>
                      <a:pt x="13" y="406"/>
                    </a:lnTo>
                    <a:lnTo>
                      <a:pt x="15" y="407"/>
                    </a:lnTo>
                    <a:lnTo>
                      <a:pt x="16" y="405"/>
                    </a:lnTo>
                    <a:lnTo>
                      <a:pt x="18" y="409"/>
                    </a:lnTo>
                    <a:lnTo>
                      <a:pt x="19" y="409"/>
                    </a:lnTo>
                    <a:lnTo>
                      <a:pt x="19" y="407"/>
                    </a:lnTo>
                    <a:lnTo>
                      <a:pt x="17" y="403"/>
                    </a:lnTo>
                    <a:lnTo>
                      <a:pt x="17" y="401"/>
                    </a:lnTo>
                    <a:lnTo>
                      <a:pt x="18" y="401"/>
                    </a:lnTo>
                    <a:lnTo>
                      <a:pt x="20" y="402"/>
                    </a:lnTo>
                    <a:lnTo>
                      <a:pt x="20" y="407"/>
                    </a:lnTo>
                    <a:lnTo>
                      <a:pt x="22" y="408"/>
                    </a:lnTo>
                    <a:lnTo>
                      <a:pt x="22" y="405"/>
                    </a:lnTo>
                    <a:lnTo>
                      <a:pt x="24" y="404"/>
                    </a:lnTo>
                    <a:lnTo>
                      <a:pt x="23" y="403"/>
                    </a:lnTo>
                    <a:lnTo>
                      <a:pt x="25" y="402"/>
                    </a:lnTo>
                    <a:lnTo>
                      <a:pt x="26" y="403"/>
                    </a:lnTo>
                    <a:close/>
                    <a:moveTo>
                      <a:pt x="132" y="274"/>
                    </a:moveTo>
                    <a:lnTo>
                      <a:pt x="127" y="275"/>
                    </a:lnTo>
                    <a:lnTo>
                      <a:pt x="117" y="275"/>
                    </a:lnTo>
                    <a:lnTo>
                      <a:pt x="112" y="274"/>
                    </a:lnTo>
                    <a:lnTo>
                      <a:pt x="109" y="270"/>
                    </a:lnTo>
                    <a:lnTo>
                      <a:pt x="123" y="270"/>
                    </a:lnTo>
                    <a:lnTo>
                      <a:pt x="124" y="270"/>
                    </a:lnTo>
                    <a:lnTo>
                      <a:pt x="127" y="271"/>
                    </a:lnTo>
                    <a:lnTo>
                      <a:pt x="128" y="272"/>
                    </a:lnTo>
                    <a:lnTo>
                      <a:pt x="132" y="272"/>
                    </a:lnTo>
                    <a:lnTo>
                      <a:pt x="133" y="273"/>
                    </a:lnTo>
                    <a:lnTo>
                      <a:pt x="132" y="274"/>
                    </a:lnTo>
                    <a:close/>
                    <a:moveTo>
                      <a:pt x="45" y="590"/>
                    </a:moveTo>
                    <a:lnTo>
                      <a:pt x="46" y="591"/>
                    </a:lnTo>
                    <a:lnTo>
                      <a:pt x="50" y="597"/>
                    </a:lnTo>
                    <a:lnTo>
                      <a:pt x="51" y="600"/>
                    </a:lnTo>
                    <a:lnTo>
                      <a:pt x="51" y="601"/>
                    </a:lnTo>
                    <a:lnTo>
                      <a:pt x="52" y="603"/>
                    </a:lnTo>
                    <a:lnTo>
                      <a:pt x="52" y="608"/>
                    </a:lnTo>
                    <a:lnTo>
                      <a:pt x="50" y="618"/>
                    </a:lnTo>
                    <a:lnTo>
                      <a:pt x="46" y="618"/>
                    </a:lnTo>
                    <a:lnTo>
                      <a:pt x="42" y="618"/>
                    </a:lnTo>
                    <a:lnTo>
                      <a:pt x="41" y="615"/>
                    </a:lnTo>
                    <a:lnTo>
                      <a:pt x="40" y="612"/>
                    </a:lnTo>
                    <a:lnTo>
                      <a:pt x="40" y="605"/>
                    </a:lnTo>
                    <a:lnTo>
                      <a:pt x="42" y="603"/>
                    </a:lnTo>
                    <a:lnTo>
                      <a:pt x="47" y="603"/>
                    </a:lnTo>
                    <a:lnTo>
                      <a:pt x="43" y="598"/>
                    </a:lnTo>
                    <a:lnTo>
                      <a:pt x="43" y="597"/>
                    </a:lnTo>
                    <a:lnTo>
                      <a:pt x="45" y="595"/>
                    </a:lnTo>
                    <a:lnTo>
                      <a:pt x="46" y="594"/>
                    </a:lnTo>
                    <a:lnTo>
                      <a:pt x="43" y="593"/>
                    </a:lnTo>
                    <a:lnTo>
                      <a:pt x="43" y="590"/>
                    </a:lnTo>
                    <a:lnTo>
                      <a:pt x="45" y="590"/>
                    </a:lnTo>
                    <a:close/>
                    <a:moveTo>
                      <a:pt x="57" y="532"/>
                    </a:moveTo>
                    <a:lnTo>
                      <a:pt x="62" y="534"/>
                    </a:lnTo>
                    <a:lnTo>
                      <a:pt x="64" y="536"/>
                    </a:lnTo>
                    <a:lnTo>
                      <a:pt x="66" y="540"/>
                    </a:lnTo>
                    <a:lnTo>
                      <a:pt x="68" y="544"/>
                    </a:lnTo>
                    <a:lnTo>
                      <a:pt x="68" y="546"/>
                    </a:lnTo>
                    <a:lnTo>
                      <a:pt x="68" y="549"/>
                    </a:lnTo>
                    <a:lnTo>
                      <a:pt x="66" y="552"/>
                    </a:lnTo>
                    <a:lnTo>
                      <a:pt x="64" y="552"/>
                    </a:lnTo>
                    <a:lnTo>
                      <a:pt x="63" y="553"/>
                    </a:lnTo>
                    <a:lnTo>
                      <a:pt x="59" y="554"/>
                    </a:lnTo>
                    <a:lnTo>
                      <a:pt x="57" y="552"/>
                    </a:lnTo>
                    <a:lnTo>
                      <a:pt x="58" y="552"/>
                    </a:lnTo>
                    <a:lnTo>
                      <a:pt x="61" y="552"/>
                    </a:lnTo>
                    <a:lnTo>
                      <a:pt x="61" y="551"/>
                    </a:lnTo>
                    <a:lnTo>
                      <a:pt x="60" y="550"/>
                    </a:lnTo>
                    <a:lnTo>
                      <a:pt x="56" y="551"/>
                    </a:lnTo>
                    <a:lnTo>
                      <a:pt x="53" y="549"/>
                    </a:lnTo>
                    <a:lnTo>
                      <a:pt x="52" y="545"/>
                    </a:lnTo>
                    <a:lnTo>
                      <a:pt x="50" y="541"/>
                    </a:lnTo>
                    <a:lnTo>
                      <a:pt x="50" y="540"/>
                    </a:lnTo>
                    <a:lnTo>
                      <a:pt x="49" y="537"/>
                    </a:lnTo>
                    <a:lnTo>
                      <a:pt x="51" y="535"/>
                    </a:lnTo>
                    <a:lnTo>
                      <a:pt x="53" y="534"/>
                    </a:lnTo>
                    <a:lnTo>
                      <a:pt x="53" y="533"/>
                    </a:lnTo>
                    <a:lnTo>
                      <a:pt x="51" y="532"/>
                    </a:lnTo>
                    <a:lnTo>
                      <a:pt x="51" y="531"/>
                    </a:lnTo>
                    <a:lnTo>
                      <a:pt x="55" y="531"/>
                    </a:lnTo>
                    <a:lnTo>
                      <a:pt x="57" y="532"/>
                    </a:lnTo>
                    <a:close/>
                    <a:moveTo>
                      <a:pt x="83" y="456"/>
                    </a:moveTo>
                    <a:lnTo>
                      <a:pt x="83" y="460"/>
                    </a:lnTo>
                    <a:lnTo>
                      <a:pt x="82" y="470"/>
                    </a:lnTo>
                    <a:lnTo>
                      <a:pt x="83" y="478"/>
                    </a:lnTo>
                    <a:lnTo>
                      <a:pt x="78" y="479"/>
                    </a:lnTo>
                    <a:lnTo>
                      <a:pt x="77" y="481"/>
                    </a:lnTo>
                    <a:lnTo>
                      <a:pt x="77" y="482"/>
                    </a:lnTo>
                    <a:lnTo>
                      <a:pt x="69" y="482"/>
                    </a:lnTo>
                    <a:lnTo>
                      <a:pt x="55" y="470"/>
                    </a:lnTo>
                    <a:lnTo>
                      <a:pt x="57" y="470"/>
                    </a:lnTo>
                    <a:lnTo>
                      <a:pt x="62" y="470"/>
                    </a:lnTo>
                    <a:lnTo>
                      <a:pt x="62" y="468"/>
                    </a:lnTo>
                    <a:lnTo>
                      <a:pt x="65" y="467"/>
                    </a:lnTo>
                    <a:lnTo>
                      <a:pt x="65" y="465"/>
                    </a:lnTo>
                    <a:lnTo>
                      <a:pt x="66" y="465"/>
                    </a:lnTo>
                    <a:lnTo>
                      <a:pt x="73" y="463"/>
                    </a:lnTo>
                    <a:lnTo>
                      <a:pt x="75" y="462"/>
                    </a:lnTo>
                    <a:lnTo>
                      <a:pt x="76" y="456"/>
                    </a:lnTo>
                    <a:lnTo>
                      <a:pt x="78" y="455"/>
                    </a:lnTo>
                    <a:lnTo>
                      <a:pt x="80" y="456"/>
                    </a:lnTo>
                    <a:lnTo>
                      <a:pt x="82" y="456"/>
                    </a:lnTo>
                    <a:lnTo>
                      <a:pt x="83" y="456"/>
                    </a:lnTo>
                    <a:close/>
                    <a:moveTo>
                      <a:pt x="46" y="333"/>
                    </a:moveTo>
                    <a:lnTo>
                      <a:pt x="46" y="334"/>
                    </a:lnTo>
                    <a:lnTo>
                      <a:pt x="43" y="336"/>
                    </a:lnTo>
                    <a:lnTo>
                      <a:pt x="39" y="336"/>
                    </a:lnTo>
                    <a:lnTo>
                      <a:pt x="40" y="333"/>
                    </a:lnTo>
                    <a:lnTo>
                      <a:pt x="39" y="332"/>
                    </a:lnTo>
                    <a:lnTo>
                      <a:pt x="38" y="334"/>
                    </a:lnTo>
                    <a:lnTo>
                      <a:pt x="32" y="338"/>
                    </a:lnTo>
                    <a:lnTo>
                      <a:pt x="23" y="340"/>
                    </a:lnTo>
                    <a:lnTo>
                      <a:pt x="20" y="339"/>
                    </a:lnTo>
                    <a:lnTo>
                      <a:pt x="19" y="337"/>
                    </a:lnTo>
                    <a:lnTo>
                      <a:pt x="22" y="337"/>
                    </a:lnTo>
                    <a:lnTo>
                      <a:pt x="24" y="335"/>
                    </a:lnTo>
                    <a:lnTo>
                      <a:pt x="15" y="334"/>
                    </a:lnTo>
                    <a:lnTo>
                      <a:pt x="14" y="333"/>
                    </a:lnTo>
                    <a:lnTo>
                      <a:pt x="19" y="330"/>
                    </a:lnTo>
                    <a:lnTo>
                      <a:pt x="19" y="329"/>
                    </a:lnTo>
                    <a:lnTo>
                      <a:pt x="23" y="327"/>
                    </a:lnTo>
                    <a:lnTo>
                      <a:pt x="45" y="332"/>
                    </a:lnTo>
                    <a:lnTo>
                      <a:pt x="46" y="333"/>
                    </a:lnTo>
                    <a:close/>
                    <a:moveTo>
                      <a:pt x="92" y="288"/>
                    </a:moveTo>
                    <a:lnTo>
                      <a:pt x="90" y="291"/>
                    </a:lnTo>
                    <a:lnTo>
                      <a:pt x="92" y="293"/>
                    </a:lnTo>
                    <a:lnTo>
                      <a:pt x="91" y="294"/>
                    </a:lnTo>
                    <a:lnTo>
                      <a:pt x="88" y="296"/>
                    </a:lnTo>
                    <a:lnTo>
                      <a:pt x="72" y="297"/>
                    </a:lnTo>
                    <a:lnTo>
                      <a:pt x="71" y="297"/>
                    </a:lnTo>
                    <a:lnTo>
                      <a:pt x="70" y="294"/>
                    </a:lnTo>
                    <a:lnTo>
                      <a:pt x="69" y="293"/>
                    </a:lnTo>
                    <a:lnTo>
                      <a:pt x="70" y="293"/>
                    </a:lnTo>
                    <a:lnTo>
                      <a:pt x="75" y="294"/>
                    </a:lnTo>
                    <a:lnTo>
                      <a:pt x="77" y="293"/>
                    </a:lnTo>
                    <a:lnTo>
                      <a:pt x="76" y="293"/>
                    </a:lnTo>
                    <a:lnTo>
                      <a:pt x="70" y="291"/>
                    </a:lnTo>
                    <a:lnTo>
                      <a:pt x="70" y="290"/>
                    </a:lnTo>
                    <a:lnTo>
                      <a:pt x="73" y="289"/>
                    </a:lnTo>
                    <a:lnTo>
                      <a:pt x="72" y="288"/>
                    </a:lnTo>
                    <a:lnTo>
                      <a:pt x="73" y="286"/>
                    </a:lnTo>
                    <a:lnTo>
                      <a:pt x="81" y="286"/>
                    </a:lnTo>
                    <a:lnTo>
                      <a:pt x="83" y="285"/>
                    </a:lnTo>
                    <a:lnTo>
                      <a:pt x="85" y="286"/>
                    </a:lnTo>
                    <a:lnTo>
                      <a:pt x="85" y="287"/>
                    </a:lnTo>
                    <a:lnTo>
                      <a:pt x="92" y="288"/>
                    </a:lnTo>
                    <a:close/>
                    <a:moveTo>
                      <a:pt x="111" y="281"/>
                    </a:moveTo>
                    <a:lnTo>
                      <a:pt x="97" y="291"/>
                    </a:lnTo>
                    <a:lnTo>
                      <a:pt x="95" y="291"/>
                    </a:lnTo>
                    <a:lnTo>
                      <a:pt x="93" y="291"/>
                    </a:lnTo>
                    <a:lnTo>
                      <a:pt x="96" y="287"/>
                    </a:lnTo>
                    <a:lnTo>
                      <a:pt x="95" y="287"/>
                    </a:lnTo>
                    <a:lnTo>
                      <a:pt x="95" y="283"/>
                    </a:lnTo>
                    <a:lnTo>
                      <a:pt x="95" y="281"/>
                    </a:lnTo>
                    <a:lnTo>
                      <a:pt x="92" y="281"/>
                    </a:lnTo>
                    <a:lnTo>
                      <a:pt x="92" y="279"/>
                    </a:lnTo>
                    <a:lnTo>
                      <a:pt x="95" y="274"/>
                    </a:lnTo>
                    <a:lnTo>
                      <a:pt x="97" y="273"/>
                    </a:lnTo>
                    <a:lnTo>
                      <a:pt x="101" y="271"/>
                    </a:lnTo>
                    <a:lnTo>
                      <a:pt x="104" y="272"/>
                    </a:lnTo>
                    <a:lnTo>
                      <a:pt x="106" y="274"/>
                    </a:lnTo>
                    <a:lnTo>
                      <a:pt x="107" y="276"/>
                    </a:lnTo>
                    <a:lnTo>
                      <a:pt x="108" y="279"/>
                    </a:lnTo>
                    <a:lnTo>
                      <a:pt x="113" y="280"/>
                    </a:lnTo>
                    <a:lnTo>
                      <a:pt x="114" y="281"/>
                    </a:lnTo>
                    <a:lnTo>
                      <a:pt x="111" y="281"/>
                    </a:lnTo>
                    <a:close/>
                    <a:moveTo>
                      <a:pt x="58" y="607"/>
                    </a:moveTo>
                    <a:lnTo>
                      <a:pt x="62" y="612"/>
                    </a:lnTo>
                    <a:lnTo>
                      <a:pt x="62" y="614"/>
                    </a:lnTo>
                    <a:lnTo>
                      <a:pt x="62" y="615"/>
                    </a:lnTo>
                    <a:lnTo>
                      <a:pt x="60" y="615"/>
                    </a:lnTo>
                    <a:lnTo>
                      <a:pt x="59" y="614"/>
                    </a:lnTo>
                    <a:lnTo>
                      <a:pt x="57" y="615"/>
                    </a:lnTo>
                    <a:lnTo>
                      <a:pt x="57" y="608"/>
                    </a:lnTo>
                    <a:lnTo>
                      <a:pt x="58" y="607"/>
                    </a:lnTo>
                    <a:close/>
                    <a:moveTo>
                      <a:pt x="73" y="541"/>
                    </a:moveTo>
                    <a:lnTo>
                      <a:pt x="75" y="543"/>
                    </a:lnTo>
                    <a:lnTo>
                      <a:pt x="74" y="546"/>
                    </a:lnTo>
                    <a:lnTo>
                      <a:pt x="72" y="546"/>
                    </a:lnTo>
                    <a:lnTo>
                      <a:pt x="70" y="543"/>
                    </a:lnTo>
                    <a:lnTo>
                      <a:pt x="71" y="541"/>
                    </a:lnTo>
                    <a:lnTo>
                      <a:pt x="73" y="541"/>
                    </a:lnTo>
                    <a:close/>
                    <a:moveTo>
                      <a:pt x="79" y="556"/>
                    </a:moveTo>
                    <a:lnTo>
                      <a:pt x="81" y="557"/>
                    </a:lnTo>
                    <a:lnTo>
                      <a:pt x="82" y="558"/>
                    </a:lnTo>
                    <a:lnTo>
                      <a:pt x="82" y="559"/>
                    </a:lnTo>
                    <a:lnTo>
                      <a:pt x="81" y="558"/>
                    </a:lnTo>
                    <a:lnTo>
                      <a:pt x="78" y="558"/>
                    </a:lnTo>
                    <a:lnTo>
                      <a:pt x="78" y="556"/>
                    </a:lnTo>
                    <a:lnTo>
                      <a:pt x="79" y="556"/>
                    </a:lnTo>
                    <a:close/>
                    <a:moveTo>
                      <a:pt x="101" y="530"/>
                    </a:moveTo>
                    <a:lnTo>
                      <a:pt x="101" y="531"/>
                    </a:lnTo>
                    <a:lnTo>
                      <a:pt x="101" y="532"/>
                    </a:lnTo>
                    <a:lnTo>
                      <a:pt x="93" y="533"/>
                    </a:lnTo>
                    <a:lnTo>
                      <a:pt x="99" y="530"/>
                    </a:lnTo>
                    <a:lnTo>
                      <a:pt x="101" y="530"/>
                    </a:lnTo>
                    <a:close/>
                    <a:moveTo>
                      <a:pt x="22" y="422"/>
                    </a:moveTo>
                    <a:lnTo>
                      <a:pt x="27" y="422"/>
                    </a:lnTo>
                    <a:lnTo>
                      <a:pt x="29" y="425"/>
                    </a:lnTo>
                    <a:lnTo>
                      <a:pt x="24" y="425"/>
                    </a:lnTo>
                    <a:lnTo>
                      <a:pt x="22" y="425"/>
                    </a:lnTo>
                    <a:lnTo>
                      <a:pt x="21" y="423"/>
                    </a:lnTo>
                    <a:lnTo>
                      <a:pt x="22" y="422"/>
                    </a:lnTo>
                    <a:close/>
                    <a:moveTo>
                      <a:pt x="4" y="415"/>
                    </a:moveTo>
                    <a:lnTo>
                      <a:pt x="4" y="417"/>
                    </a:lnTo>
                    <a:lnTo>
                      <a:pt x="7" y="419"/>
                    </a:lnTo>
                    <a:lnTo>
                      <a:pt x="7" y="423"/>
                    </a:lnTo>
                    <a:lnTo>
                      <a:pt x="5" y="423"/>
                    </a:lnTo>
                    <a:lnTo>
                      <a:pt x="4" y="423"/>
                    </a:lnTo>
                    <a:lnTo>
                      <a:pt x="4" y="421"/>
                    </a:lnTo>
                    <a:lnTo>
                      <a:pt x="3" y="422"/>
                    </a:lnTo>
                    <a:lnTo>
                      <a:pt x="1" y="422"/>
                    </a:lnTo>
                    <a:lnTo>
                      <a:pt x="0" y="421"/>
                    </a:lnTo>
                    <a:lnTo>
                      <a:pt x="0" y="416"/>
                    </a:lnTo>
                    <a:lnTo>
                      <a:pt x="2" y="415"/>
                    </a:lnTo>
                    <a:lnTo>
                      <a:pt x="4" y="415"/>
                    </a:lnTo>
                    <a:close/>
                    <a:moveTo>
                      <a:pt x="109" y="267"/>
                    </a:moveTo>
                    <a:lnTo>
                      <a:pt x="109" y="269"/>
                    </a:lnTo>
                    <a:lnTo>
                      <a:pt x="107" y="269"/>
                    </a:lnTo>
                    <a:lnTo>
                      <a:pt x="103" y="268"/>
                    </a:lnTo>
                    <a:lnTo>
                      <a:pt x="101" y="267"/>
                    </a:lnTo>
                    <a:lnTo>
                      <a:pt x="103" y="266"/>
                    </a:lnTo>
                    <a:lnTo>
                      <a:pt x="106" y="266"/>
                    </a:lnTo>
                    <a:lnTo>
                      <a:pt x="108" y="266"/>
                    </a:lnTo>
                    <a:lnTo>
                      <a:pt x="109" y="267"/>
                    </a:lnTo>
                    <a:close/>
                    <a:moveTo>
                      <a:pt x="115" y="257"/>
                    </a:moveTo>
                    <a:lnTo>
                      <a:pt x="115" y="258"/>
                    </a:lnTo>
                    <a:lnTo>
                      <a:pt x="116" y="261"/>
                    </a:lnTo>
                    <a:lnTo>
                      <a:pt x="115" y="261"/>
                    </a:lnTo>
                    <a:lnTo>
                      <a:pt x="112" y="259"/>
                    </a:lnTo>
                    <a:lnTo>
                      <a:pt x="109" y="261"/>
                    </a:lnTo>
                    <a:lnTo>
                      <a:pt x="107" y="259"/>
                    </a:lnTo>
                    <a:lnTo>
                      <a:pt x="113" y="256"/>
                    </a:lnTo>
                    <a:lnTo>
                      <a:pt x="115" y="256"/>
                    </a:lnTo>
                    <a:lnTo>
                      <a:pt x="115" y="257"/>
                    </a:lnTo>
                    <a:close/>
                    <a:moveTo>
                      <a:pt x="353" y="153"/>
                    </a:moveTo>
                    <a:lnTo>
                      <a:pt x="346" y="156"/>
                    </a:lnTo>
                    <a:lnTo>
                      <a:pt x="337" y="159"/>
                    </a:lnTo>
                    <a:lnTo>
                      <a:pt x="315" y="161"/>
                    </a:lnTo>
                    <a:lnTo>
                      <a:pt x="308" y="163"/>
                    </a:lnTo>
                    <a:lnTo>
                      <a:pt x="302" y="165"/>
                    </a:lnTo>
                    <a:lnTo>
                      <a:pt x="292" y="165"/>
                    </a:lnTo>
                    <a:lnTo>
                      <a:pt x="291" y="163"/>
                    </a:lnTo>
                    <a:lnTo>
                      <a:pt x="289" y="163"/>
                    </a:lnTo>
                    <a:lnTo>
                      <a:pt x="289" y="164"/>
                    </a:lnTo>
                    <a:lnTo>
                      <a:pt x="286" y="165"/>
                    </a:lnTo>
                    <a:lnTo>
                      <a:pt x="286" y="163"/>
                    </a:lnTo>
                    <a:lnTo>
                      <a:pt x="286" y="159"/>
                    </a:lnTo>
                    <a:lnTo>
                      <a:pt x="287" y="158"/>
                    </a:lnTo>
                    <a:lnTo>
                      <a:pt x="292" y="155"/>
                    </a:lnTo>
                    <a:lnTo>
                      <a:pt x="299" y="151"/>
                    </a:lnTo>
                    <a:lnTo>
                      <a:pt x="306" y="152"/>
                    </a:lnTo>
                    <a:lnTo>
                      <a:pt x="312" y="151"/>
                    </a:lnTo>
                    <a:lnTo>
                      <a:pt x="320" y="151"/>
                    </a:lnTo>
                    <a:lnTo>
                      <a:pt x="306" y="148"/>
                    </a:lnTo>
                    <a:lnTo>
                      <a:pt x="308" y="147"/>
                    </a:lnTo>
                    <a:lnTo>
                      <a:pt x="313" y="147"/>
                    </a:lnTo>
                    <a:lnTo>
                      <a:pt x="326" y="143"/>
                    </a:lnTo>
                    <a:lnTo>
                      <a:pt x="329" y="144"/>
                    </a:lnTo>
                    <a:lnTo>
                      <a:pt x="329" y="146"/>
                    </a:lnTo>
                    <a:lnTo>
                      <a:pt x="330" y="147"/>
                    </a:lnTo>
                    <a:lnTo>
                      <a:pt x="331" y="145"/>
                    </a:lnTo>
                    <a:lnTo>
                      <a:pt x="331" y="144"/>
                    </a:lnTo>
                    <a:lnTo>
                      <a:pt x="332" y="143"/>
                    </a:lnTo>
                    <a:lnTo>
                      <a:pt x="340" y="142"/>
                    </a:lnTo>
                    <a:lnTo>
                      <a:pt x="340" y="143"/>
                    </a:lnTo>
                    <a:lnTo>
                      <a:pt x="339" y="145"/>
                    </a:lnTo>
                    <a:lnTo>
                      <a:pt x="340" y="146"/>
                    </a:lnTo>
                    <a:lnTo>
                      <a:pt x="340" y="149"/>
                    </a:lnTo>
                    <a:lnTo>
                      <a:pt x="344" y="147"/>
                    </a:lnTo>
                    <a:lnTo>
                      <a:pt x="349" y="147"/>
                    </a:lnTo>
                    <a:lnTo>
                      <a:pt x="352" y="149"/>
                    </a:lnTo>
                    <a:lnTo>
                      <a:pt x="352" y="151"/>
                    </a:lnTo>
                    <a:lnTo>
                      <a:pt x="355" y="151"/>
                    </a:lnTo>
                    <a:lnTo>
                      <a:pt x="355" y="152"/>
                    </a:lnTo>
                    <a:lnTo>
                      <a:pt x="353" y="153"/>
                    </a:lnTo>
                    <a:close/>
                    <a:moveTo>
                      <a:pt x="515" y="127"/>
                    </a:moveTo>
                    <a:lnTo>
                      <a:pt x="511" y="127"/>
                    </a:lnTo>
                    <a:lnTo>
                      <a:pt x="504" y="131"/>
                    </a:lnTo>
                    <a:lnTo>
                      <a:pt x="502" y="132"/>
                    </a:lnTo>
                    <a:lnTo>
                      <a:pt x="500" y="133"/>
                    </a:lnTo>
                    <a:lnTo>
                      <a:pt x="499" y="131"/>
                    </a:lnTo>
                    <a:lnTo>
                      <a:pt x="500" y="129"/>
                    </a:lnTo>
                    <a:lnTo>
                      <a:pt x="502" y="128"/>
                    </a:lnTo>
                    <a:lnTo>
                      <a:pt x="502" y="127"/>
                    </a:lnTo>
                    <a:lnTo>
                      <a:pt x="514" y="125"/>
                    </a:lnTo>
                    <a:lnTo>
                      <a:pt x="516" y="125"/>
                    </a:lnTo>
                    <a:lnTo>
                      <a:pt x="515" y="127"/>
                    </a:lnTo>
                    <a:close/>
                    <a:moveTo>
                      <a:pt x="534" y="48"/>
                    </a:moveTo>
                    <a:lnTo>
                      <a:pt x="529" y="48"/>
                    </a:lnTo>
                    <a:lnTo>
                      <a:pt x="526" y="46"/>
                    </a:lnTo>
                    <a:lnTo>
                      <a:pt x="529" y="43"/>
                    </a:lnTo>
                    <a:lnTo>
                      <a:pt x="528" y="40"/>
                    </a:lnTo>
                    <a:lnTo>
                      <a:pt x="529" y="41"/>
                    </a:lnTo>
                    <a:lnTo>
                      <a:pt x="529" y="42"/>
                    </a:lnTo>
                    <a:lnTo>
                      <a:pt x="531" y="41"/>
                    </a:lnTo>
                    <a:lnTo>
                      <a:pt x="535" y="44"/>
                    </a:lnTo>
                    <a:lnTo>
                      <a:pt x="534" y="46"/>
                    </a:lnTo>
                    <a:lnTo>
                      <a:pt x="536" y="48"/>
                    </a:lnTo>
                    <a:lnTo>
                      <a:pt x="534" y="48"/>
                    </a:lnTo>
                    <a:close/>
                    <a:moveTo>
                      <a:pt x="526" y="36"/>
                    </a:moveTo>
                    <a:lnTo>
                      <a:pt x="526" y="37"/>
                    </a:lnTo>
                    <a:lnTo>
                      <a:pt x="525" y="39"/>
                    </a:lnTo>
                    <a:lnTo>
                      <a:pt x="525" y="40"/>
                    </a:lnTo>
                    <a:lnTo>
                      <a:pt x="523" y="42"/>
                    </a:lnTo>
                    <a:lnTo>
                      <a:pt x="522" y="41"/>
                    </a:lnTo>
                    <a:lnTo>
                      <a:pt x="520" y="40"/>
                    </a:lnTo>
                    <a:lnTo>
                      <a:pt x="518" y="38"/>
                    </a:lnTo>
                    <a:lnTo>
                      <a:pt x="515" y="38"/>
                    </a:lnTo>
                    <a:lnTo>
                      <a:pt x="512" y="38"/>
                    </a:lnTo>
                    <a:lnTo>
                      <a:pt x="514" y="36"/>
                    </a:lnTo>
                    <a:lnTo>
                      <a:pt x="513" y="35"/>
                    </a:lnTo>
                    <a:lnTo>
                      <a:pt x="514" y="34"/>
                    </a:lnTo>
                    <a:lnTo>
                      <a:pt x="520" y="34"/>
                    </a:lnTo>
                    <a:lnTo>
                      <a:pt x="524" y="34"/>
                    </a:lnTo>
                    <a:lnTo>
                      <a:pt x="526" y="36"/>
                    </a:lnTo>
                    <a:close/>
                    <a:moveTo>
                      <a:pt x="534" y="52"/>
                    </a:moveTo>
                    <a:lnTo>
                      <a:pt x="531" y="56"/>
                    </a:lnTo>
                    <a:lnTo>
                      <a:pt x="529" y="55"/>
                    </a:lnTo>
                    <a:lnTo>
                      <a:pt x="522" y="54"/>
                    </a:lnTo>
                    <a:lnTo>
                      <a:pt x="520" y="52"/>
                    </a:lnTo>
                    <a:lnTo>
                      <a:pt x="512" y="52"/>
                    </a:lnTo>
                    <a:lnTo>
                      <a:pt x="511" y="50"/>
                    </a:lnTo>
                    <a:lnTo>
                      <a:pt x="508" y="48"/>
                    </a:lnTo>
                    <a:lnTo>
                      <a:pt x="508" y="46"/>
                    </a:lnTo>
                    <a:lnTo>
                      <a:pt x="512" y="45"/>
                    </a:lnTo>
                    <a:lnTo>
                      <a:pt x="515" y="46"/>
                    </a:lnTo>
                    <a:lnTo>
                      <a:pt x="515" y="45"/>
                    </a:lnTo>
                    <a:lnTo>
                      <a:pt x="512" y="44"/>
                    </a:lnTo>
                    <a:lnTo>
                      <a:pt x="502" y="43"/>
                    </a:lnTo>
                    <a:lnTo>
                      <a:pt x="501" y="42"/>
                    </a:lnTo>
                    <a:lnTo>
                      <a:pt x="501" y="39"/>
                    </a:lnTo>
                    <a:lnTo>
                      <a:pt x="505" y="37"/>
                    </a:lnTo>
                    <a:lnTo>
                      <a:pt x="510" y="40"/>
                    </a:lnTo>
                    <a:lnTo>
                      <a:pt x="518" y="42"/>
                    </a:lnTo>
                    <a:lnTo>
                      <a:pt x="521" y="46"/>
                    </a:lnTo>
                    <a:lnTo>
                      <a:pt x="521" y="48"/>
                    </a:lnTo>
                    <a:lnTo>
                      <a:pt x="530" y="49"/>
                    </a:lnTo>
                    <a:lnTo>
                      <a:pt x="533" y="50"/>
                    </a:lnTo>
                    <a:lnTo>
                      <a:pt x="534" y="50"/>
                    </a:lnTo>
                    <a:lnTo>
                      <a:pt x="534" y="52"/>
                    </a:lnTo>
                    <a:close/>
                    <a:moveTo>
                      <a:pt x="518" y="12"/>
                    </a:moveTo>
                    <a:lnTo>
                      <a:pt x="515" y="15"/>
                    </a:lnTo>
                    <a:lnTo>
                      <a:pt x="508" y="18"/>
                    </a:lnTo>
                    <a:lnTo>
                      <a:pt x="505" y="17"/>
                    </a:lnTo>
                    <a:lnTo>
                      <a:pt x="504" y="17"/>
                    </a:lnTo>
                    <a:lnTo>
                      <a:pt x="505" y="16"/>
                    </a:lnTo>
                    <a:lnTo>
                      <a:pt x="502" y="15"/>
                    </a:lnTo>
                    <a:lnTo>
                      <a:pt x="505" y="14"/>
                    </a:lnTo>
                    <a:lnTo>
                      <a:pt x="505" y="11"/>
                    </a:lnTo>
                    <a:lnTo>
                      <a:pt x="502" y="12"/>
                    </a:lnTo>
                    <a:lnTo>
                      <a:pt x="499" y="11"/>
                    </a:lnTo>
                    <a:lnTo>
                      <a:pt x="490" y="15"/>
                    </a:lnTo>
                    <a:lnTo>
                      <a:pt x="484" y="16"/>
                    </a:lnTo>
                    <a:lnTo>
                      <a:pt x="491" y="12"/>
                    </a:lnTo>
                    <a:lnTo>
                      <a:pt x="506" y="5"/>
                    </a:lnTo>
                    <a:lnTo>
                      <a:pt x="512" y="8"/>
                    </a:lnTo>
                    <a:lnTo>
                      <a:pt x="514" y="10"/>
                    </a:lnTo>
                    <a:lnTo>
                      <a:pt x="518" y="11"/>
                    </a:lnTo>
                    <a:lnTo>
                      <a:pt x="518" y="12"/>
                    </a:lnTo>
                    <a:close/>
                    <a:moveTo>
                      <a:pt x="506" y="4"/>
                    </a:moveTo>
                    <a:lnTo>
                      <a:pt x="503" y="5"/>
                    </a:lnTo>
                    <a:lnTo>
                      <a:pt x="498" y="8"/>
                    </a:lnTo>
                    <a:lnTo>
                      <a:pt x="490" y="11"/>
                    </a:lnTo>
                    <a:lnTo>
                      <a:pt x="484" y="14"/>
                    </a:lnTo>
                    <a:lnTo>
                      <a:pt x="478" y="15"/>
                    </a:lnTo>
                    <a:lnTo>
                      <a:pt x="479" y="15"/>
                    </a:lnTo>
                    <a:lnTo>
                      <a:pt x="478" y="14"/>
                    </a:lnTo>
                    <a:lnTo>
                      <a:pt x="476" y="15"/>
                    </a:lnTo>
                    <a:lnTo>
                      <a:pt x="477" y="14"/>
                    </a:lnTo>
                    <a:lnTo>
                      <a:pt x="479" y="10"/>
                    </a:lnTo>
                    <a:lnTo>
                      <a:pt x="481" y="9"/>
                    </a:lnTo>
                    <a:lnTo>
                      <a:pt x="485" y="9"/>
                    </a:lnTo>
                    <a:lnTo>
                      <a:pt x="498" y="4"/>
                    </a:lnTo>
                    <a:lnTo>
                      <a:pt x="501" y="3"/>
                    </a:lnTo>
                    <a:lnTo>
                      <a:pt x="500" y="2"/>
                    </a:lnTo>
                    <a:lnTo>
                      <a:pt x="500" y="1"/>
                    </a:lnTo>
                    <a:lnTo>
                      <a:pt x="506" y="2"/>
                    </a:lnTo>
                    <a:lnTo>
                      <a:pt x="507" y="3"/>
                    </a:lnTo>
                    <a:lnTo>
                      <a:pt x="506" y="4"/>
                    </a:lnTo>
                    <a:close/>
                    <a:moveTo>
                      <a:pt x="492" y="3"/>
                    </a:moveTo>
                    <a:lnTo>
                      <a:pt x="487" y="5"/>
                    </a:lnTo>
                    <a:lnTo>
                      <a:pt x="486" y="3"/>
                    </a:lnTo>
                    <a:lnTo>
                      <a:pt x="485" y="4"/>
                    </a:lnTo>
                    <a:lnTo>
                      <a:pt x="483" y="5"/>
                    </a:lnTo>
                    <a:lnTo>
                      <a:pt x="482" y="4"/>
                    </a:lnTo>
                    <a:lnTo>
                      <a:pt x="486" y="2"/>
                    </a:lnTo>
                    <a:lnTo>
                      <a:pt x="492" y="2"/>
                    </a:lnTo>
                    <a:lnTo>
                      <a:pt x="492" y="3"/>
                    </a:lnTo>
                    <a:close/>
                  </a:path>
                </a:pathLst>
              </a:custGeom>
              <a:solidFill>
                <a:srgbClr val="E7E7E4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59" name="Estonia">
                <a:extLst>
                  <a:ext uri="{FF2B5EF4-FFF2-40B4-BE49-F238E27FC236}">
                    <a16:creationId xmlns:a16="http://schemas.microsoft.com/office/drawing/2014/main" id="{3BAFE033-B087-41C8-9BD4-35D98279CF1D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5750846" y="2250903"/>
                <a:ext cx="560217" cy="291716"/>
              </a:xfrm>
              <a:custGeom>
                <a:avLst/>
                <a:gdLst>
                  <a:gd name="T0" fmla="*/ 251 w 498"/>
                  <a:gd name="T1" fmla="*/ 16 h 227"/>
                  <a:gd name="T2" fmla="*/ 225 w 498"/>
                  <a:gd name="T3" fmla="*/ 20 h 227"/>
                  <a:gd name="T4" fmla="*/ 196 w 498"/>
                  <a:gd name="T5" fmla="*/ 21 h 227"/>
                  <a:gd name="T6" fmla="*/ 172 w 498"/>
                  <a:gd name="T7" fmla="*/ 32 h 227"/>
                  <a:gd name="T8" fmla="*/ 150 w 498"/>
                  <a:gd name="T9" fmla="*/ 46 h 227"/>
                  <a:gd name="T10" fmla="*/ 133 w 498"/>
                  <a:gd name="T11" fmla="*/ 64 h 227"/>
                  <a:gd name="T12" fmla="*/ 139 w 498"/>
                  <a:gd name="T13" fmla="*/ 70 h 227"/>
                  <a:gd name="T14" fmla="*/ 126 w 498"/>
                  <a:gd name="T15" fmla="*/ 77 h 227"/>
                  <a:gd name="T16" fmla="*/ 137 w 498"/>
                  <a:gd name="T17" fmla="*/ 93 h 227"/>
                  <a:gd name="T18" fmla="*/ 143 w 498"/>
                  <a:gd name="T19" fmla="*/ 97 h 227"/>
                  <a:gd name="T20" fmla="*/ 132 w 498"/>
                  <a:gd name="T21" fmla="*/ 119 h 227"/>
                  <a:gd name="T22" fmla="*/ 150 w 498"/>
                  <a:gd name="T23" fmla="*/ 140 h 227"/>
                  <a:gd name="T24" fmla="*/ 188 w 498"/>
                  <a:gd name="T25" fmla="*/ 148 h 227"/>
                  <a:gd name="T26" fmla="*/ 208 w 498"/>
                  <a:gd name="T27" fmla="*/ 149 h 227"/>
                  <a:gd name="T28" fmla="*/ 202 w 498"/>
                  <a:gd name="T29" fmla="*/ 190 h 227"/>
                  <a:gd name="T30" fmla="*/ 237 w 498"/>
                  <a:gd name="T31" fmla="*/ 178 h 227"/>
                  <a:gd name="T32" fmla="*/ 266 w 498"/>
                  <a:gd name="T33" fmla="*/ 174 h 227"/>
                  <a:gd name="T34" fmla="*/ 289 w 498"/>
                  <a:gd name="T35" fmla="*/ 180 h 227"/>
                  <a:gd name="T36" fmla="*/ 323 w 498"/>
                  <a:gd name="T37" fmla="*/ 192 h 227"/>
                  <a:gd name="T38" fmla="*/ 345 w 498"/>
                  <a:gd name="T39" fmla="*/ 214 h 227"/>
                  <a:gd name="T40" fmla="*/ 379 w 498"/>
                  <a:gd name="T41" fmla="*/ 222 h 227"/>
                  <a:gd name="T42" fmla="*/ 430 w 498"/>
                  <a:gd name="T43" fmla="*/ 221 h 227"/>
                  <a:gd name="T44" fmla="*/ 446 w 498"/>
                  <a:gd name="T45" fmla="*/ 195 h 227"/>
                  <a:gd name="T46" fmla="*/ 458 w 498"/>
                  <a:gd name="T47" fmla="*/ 183 h 227"/>
                  <a:gd name="T48" fmla="*/ 444 w 498"/>
                  <a:gd name="T49" fmla="*/ 148 h 227"/>
                  <a:gd name="T50" fmla="*/ 467 w 498"/>
                  <a:gd name="T51" fmla="*/ 57 h 227"/>
                  <a:gd name="T52" fmla="*/ 494 w 498"/>
                  <a:gd name="T53" fmla="*/ 27 h 227"/>
                  <a:gd name="T54" fmla="*/ 393 w 498"/>
                  <a:gd name="T55" fmla="*/ 21 h 227"/>
                  <a:gd name="T56" fmla="*/ 331 w 498"/>
                  <a:gd name="T57" fmla="*/ 7 h 227"/>
                  <a:gd name="T58" fmla="*/ 311 w 498"/>
                  <a:gd name="T59" fmla="*/ 10 h 227"/>
                  <a:gd name="T60" fmla="*/ 298 w 498"/>
                  <a:gd name="T61" fmla="*/ 11 h 227"/>
                  <a:gd name="T62" fmla="*/ 280 w 498"/>
                  <a:gd name="T63" fmla="*/ 17 h 227"/>
                  <a:gd name="T64" fmla="*/ 168 w 498"/>
                  <a:gd name="T65" fmla="*/ 33 h 227"/>
                  <a:gd name="T66" fmla="*/ 247 w 498"/>
                  <a:gd name="T67" fmla="*/ 3 h 227"/>
                  <a:gd name="T68" fmla="*/ 208 w 498"/>
                  <a:gd name="T69" fmla="*/ 12 h 227"/>
                  <a:gd name="T70" fmla="*/ 55 w 498"/>
                  <a:gd name="T71" fmla="*/ 159 h 227"/>
                  <a:gd name="T72" fmla="*/ 111 w 498"/>
                  <a:gd name="T73" fmla="*/ 196 h 227"/>
                  <a:gd name="T74" fmla="*/ 172 w 498"/>
                  <a:gd name="T75" fmla="*/ 160 h 227"/>
                  <a:gd name="T76" fmla="*/ 98 w 498"/>
                  <a:gd name="T77" fmla="*/ 114 h 227"/>
                  <a:gd name="T78" fmla="*/ 113 w 498"/>
                  <a:gd name="T79" fmla="*/ 68 h 227"/>
                  <a:gd name="T80" fmla="*/ 103 w 498"/>
                  <a:gd name="T81" fmla="*/ 73 h 227"/>
                  <a:gd name="T82" fmla="*/ 0 w 498"/>
                  <a:gd name="T83" fmla="*/ 135 h 227"/>
                  <a:gd name="T84" fmla="*/ 83 w 498"/>
                  <a:gd name="T85" fmla="*/ 72 h 227"/>
                  <a:gd name="T86" fmla="*/ 83 w 498"/>
                  <a:gd name="T87" fmla="*/ 88 h 227"/>
                  <a:gd name="T88" fmla="*/ 63 w 498"/>
                  <a:gd name="T89" fmla="*/ 103 h 227"/>
                  <a:gd name="T90" fmla="*/ 24 w 498"/>
                  <a:gd name="T91" fmla="*/ 80 h 227"/>
                  <a:gd name="T92" fmla="*/ 51 w 498"/>
                  <a:gd name="T93" fmla="*/ 73 h 227"/>
                  <a:gd name="T94" fmla="*/ 101 w 498"/>
                  <a:gd name="T95" fmla="*/ 118 h 227"/>
                  <a:gd name="T96" fmla="*/ 108 w 498"/>
                  <a:gd name="T97" fmla="*/ 129 h 227"/>
                  <a:gd name="T98" fmla="*/ 90 w 498"/>
                  <a:gd name="T99" fmla="*/ 139 h 227"/>
                  <a:gd name="T100" fmla="*/ 65 w 498"/>
                  <a:gd name="T101" fmla="*/ 151 h 227"/>
                  <a:gd name="T102" fmla="*/ 35 w 498"/>
                  <a:gd name="T103" fmla="*/ 158 h 227"/>
                  <a:gd name="T104" fmla="*/ 11 w 498"/>
                  <a:gd name="T105" fmla="*/ 180 h 227"/>
                  <a:gd name="T106" fmla="*/ 20 w 498"/>
                  <a:gd name="T107" fmla="*/ 158 h 227"/>
                  <a:gd name="T108" fmla="*/ 11 w 498"/>
                  <a:gd name="T109" fmla="*/ 143 h 227"/>
                  <a:gd name="T110" fmla="*/ 8 w 498"/>
                  <a:gd name="T111" fmla="*/ 125 h 227"/>
                  <a:gd name="T112" fmla="*/ 30 w 498"/>
                  <a:gd name="T113" fmla="*/ 118 h 227"/>
                  <a:gd name="T114" fmla="*/ 57 w 498"/>
                  <a:gd name="T115" fmla="*/ 109 h 227"/>
                  <a:gd name="T116" fmla="*/ 92 w 498"/>
                  <a:gd name="T117" fmla="*/ 113 h 227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498"/>
                  <a:gd name="T178" fmla="*/ 0 h 227"/>
                  <a:gd name="T179" fmla="*/ 498 w 498"/>
                  <a:gd name="T180" fmla="*/ 227 h 227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498" h="227">
                    <a:moveTo>
                      <a:pt x="280" y="19"/>
                    </a:moveTo>
                    <a:lnTo>
                      <a:pt x="279" y="20"/>
                    </a:lnTo>
                    <a:lnTo>
                      <a:pt x="277" y="19"/>
                    </a:lnTo>
                    <a:lnTo>
                      <a:pt x="269" y="16"/>
                    </a:lnTo>
                    <a:lnTo>
                      <a:pt x="265" y="16"/>
                    </a:lnTo>
                    <a:lnTo>
                      <a:pt x="261" y="15"/>
                    </a:lnTo>
                    <a:lnTo>
                      <a:pt x="258" y="14"/>
                    </a:lnTo>
                    <a:lnTo>
                      <a:pt x="256" y="15"/>
                    </a:lnTo>
                    <a:lnTo>
                      <a:pt x="258" y="17"/>
                    </a:lnTo>
                    <a:lnTo>
                      <a:pt x="258" y="18"/>
                    </a:lnTo>
                    <a:lnTo>
                      <a:pt x="257" y="18"/>
                    </a:lnTo>
                    <a:lnTo>
                      <a:pt x="251" y="16"/>
                    </a:lnTo>
                    <a:lnTo>
                      <a:pt x="242" y="17"/>
                    </a:lnTo>
                    <a:lnTo>
                      <a:pt x="237" y="13"/>
                    </a:lnTo>
                    <a:lnTo>
                      <a:pt x="232" y="11"/>
                    </a:lnTo>
                    <a:lnTo>
                      <a:pt x="231" y="11"/>
                    </a:lnTo>
                    <a:lnTo>
                      <a:pt x="231" y="12"/>
                    </a:lnTo>
                    <a:lnTo>
                      <a:pt x="232" y="14"/>
                    </a:lnTo>
                    <a:lnTo>
                      <a:pt x="231" y="15"/>
                    </a:lnTo>
                    <a:lnTo>
                      <a:pt x="234" y="19"/>
                    </a:lnTo>
                    <a:lnTo>
                      <a:pt x="232" y="23"/>
                    </a:lnTo>
                    <a:lnTo>
                      <a:pt x="231" y="24"/>
                    </a:lnTo>
                    <a:lnTo>
                      <a:pt x="228" y="24"/>
                    </a:lnTo>
                    <a:lnTo>
                      <a:pt x="225" y="20"/>
                    </a:lnTo>
                    <a:lnTo>
                      <a:pt x="223" y="19"/>
                    </a:lnTo>
                    <a:lnTo>
                      <a:pt x="222" y="20"/>
                    </a:lnTo>
                    <a:lnTo>
                      <a:pt x="222" y="21"/>
                    </a:lnTo>
                    <a:lnTo>
                      <a:pt x="219" y="21"/>
                    </a:lnTo>
                    <a:lnTo>
                      <a:pt x="222" y="24"/>
                    </a:lnTo>
                    <a:lnTo>
                      <a:pt x="220" y="25"/>
                    </a:lnTo>
                    <a:lnTo>
                      <a:pt x="213" y="22"/>
                    </a:lnTo>
                    <a:lnTo>
                      <a:pt x="211" y="24"/>
                    </a:lnTo>
                    <a:lnTo>
                      <a:pt x="209" y="24"/>
                    </a:lnTo>
                    <a:lnTo>
                      <a:pt x="206" y="21"/>
                    </a:lnTo>
                    <a:lnTo>
                      <a:pt x="199" y="21"/>
                    </a:lnTo>
                    <a:lnTo>
                      <a:pt x="196" y="21"/>
                    </a:lnTo>
                    <a:lnTo>
                      <a:pt x="196" y="25"/>
                    </a:lnTo>
                    <a:lnTo>
                      <a:pt x="193" y="27"/>
                    </a:lnTo>
                    <a:lnTo>
                      <a:pt x="190" y="29"/>
                    </a:lnTo>
                    <a:lnTo>
                      <a:pt x="185" y="27"/>
                    </a:lnTo>
                    <a:lnTo>
                      <a:pt x="183" y="27"/>
                    </a:lnTo>
                    <a:lnTo>
                      <a:pt x="188" y="32"/>
                    </a:lnTo>
                    <a:lnTo>
                      <a:pt x="187" y="34"/>
                    </a:lnTo>
                    <a:lnTo>
                      <a:pt x="185" y="34"/>
                    </a:lnTo>
                    <a:lnTo>
                      <a:pt x="176" y="30"/>
                    </a:lnTo>
                    <a:lnTo>
                      <a:pt x="174" y="29"/>
                    </a:lnTo>
                    <a:lnTo>
                      <a:pt x="173" y="30"/>
                    </a:lnTo>
                    <a:lnTo>
                      <a:pt x="172" y="32"/>
                    </a:lnTo>
                    <a:lnTo>
                      <a:pt x="172" y="33"/>
                    </a:lnTo>
                    <a:lnTo>
                      <a:pt x="178" y="38"/>
                    </a:lnTo>
                    <a:lnTo>
                      <a:pt x="179" y="40"/>
                    </a:lnTo>
                    <a:lnTo>
                      <a:pt x="176" y="42"/>
                    </a:lnTo>
                    <a:lnTo>
                      <a:pt x="175" y="41"/>
                    </a:lnTo>
                    <a:lnTo>
                      <a:pt x="170" y="40"/>
                    </a:lnTo>
                    <a:lnTo>
                      <a:pt x="163" y="42"/>
                    </a:lnTo>
                    <a:lnTo>
                      <a:pt x="157" y="40"/>
                    </a:lnTo>
                    <a:lnTo>
                      <a:pt x="154" y="42"/>
                    </a:lnTo>
                    <a:lnTo>
                      <a:pt x="149" y="42"/>
                    </a:lnTo>
                    <a:lnTo>
                      <a:pt x="150" y="46"/>
                    </a:lnTo>
                    <a:lnTo>
                      <a:pt x="149" y="46"/>
                    </a:lnTo>
                    <a:lnTo>
                      <a:pt x="147" y="46"/>
                    </a:lnTo>
                    <a:lnTo>
                      <a:pt x="144" y="44"/>
                    </a:lnTo>
                    <a:lnTo>
                      <a:pt x="142" y="44"/>
                    </a:lnTo>
                    <a:lnTo>
                      <a:pt x="137" y="47"/>
                    </a:lnTo>
                    <a:lnTo>
                      <a:pt x="132" y="46"/>
                    </a:lnTo>
                    <a:lnTo>
                      <a:pt x="129" y="49"/>
                    </a:lnTo>
                    <a:lnTo>
                      <a:pt x="129" y="52"/>
                    </a:lnTo>
                    <a:lnTo>
                      <a:pt x="133" y="57"/>
                    </a:lnTo>
                    <a:lnTo>
                      <a:pt x="134" y="60"/>
                    </a:lnTo>
                    <a:lnTo>
                      <a:pt x="133" y="63"/>
                    </a:lnTo>
                    <a:lnTo>
                      <a:pt x="133" y="64"/>
                    </a:lnTo>
                    <a:lnTo>
                      <a:pt x="131" y="61"/>
                    </a:lnTo>
                    <a:lnTo>
                      <a:pt x="130" y="61"/>
                    </a:lnTo>
                    <a:lnTo>
                      <a:pt x="129" y="63"/>
                    </a:lnTo>
                    <a:lnTo>
                      <a:pt x="126" y="64"/>
                    </a:lnTo>
                    <a:lnTo>
                      <a:pt x="126" y="66"/>
                    </a:lnTo>
                    <a:lnTo>
                      <a:pt x="126" y="69"/>
                    </a:lnTo>
                    <a:lnTo>
                      <a:pt x="124" y="69"/>
                    </a:lnTo>
                    <a:lnTo>
                      <a:pt x="127" y="72"/>
                    </a:lnTo>
                    <a:lnTo>
                      <a:pt x="132" y="72"/>
                    </a:lnTo>
                    <a:lnTo>
                      <a:pt x="135" y="75"/>
                    </a:lnTo>
                    <a:lnTo>
                      <a:pt x="137" y="70"/>
                    </a:lnTo>
                    <a:lnTo>
                      <a:pt x="139" y="70"/>
                    </a:lnTo>
                    <a:lnTo>
                      <a:pt x="140" y="70"/>
                    </a:lnTo>
                    <a:lnTo>
                      <a:pt x="140" y="69"/>
                    </a:lnTo>
                    <a:lnTo>
                      <a:pt x="137" y="67"/>
                    </a:lnTo>
                    <a:lnTo>
                      <a:pt x="136" y="66"/>
                    </a:lnTo>
                    <a:lnTo>
                      <a:pt x="141" y="69"/>
                    </a:lnTo>
                    <a:lnTo>
                      <a:pt x="142" y="74"/>
                    </a:lnTo>
                    <a:lnTo>
                      <a:pt x="140" y="75"/>
                    </a:lnTo>
                    <a:lnTo>
                      <a:pt x="137" y="76"/>
                    </a:lnTo>
                    <a:lnTo>
                      <a:pt x="134" y="76"/>
                    </a:lnTo>
                    <a:lnTo>
                      <a:pt x="132" y="77"/>
                    </a:lnTo>
                    <a:lnTo>
                      <a:pt x="126" y="77"/>
                    </a:lnTo>
                    <a:lnTo>
                      <a:pt x="124" y="79"/>
                    </a:lnTo>
                    <a:lnTo>
                      <a:pt x="125" y="81"/>
                    </a:lnTo>
                    <a:lnTo>
                      <a:pt x="128" y="84"/>
                    </a:lnTo>
                    <a:lnTo>
                      <a:pt x="129" y="87"/>
                    </a:lnTo>
                    <a:lnTo>
                      <a:pt x="132" y="88"/>
                    </a:lnTo>
                    <a:lnTo>
                      <a:pt x="134" y="90"/>
                    </a:lnTo>
                    <a:lnTo>
                      <a:pt x="134" y="91"/>
                    </a:lnTo>
                    <a:lnTo>
                      <a:pt x="129" y="91"/>
                    </a:lnTo>
                    <a:lnTo>
                      <a:pt x="126" y="96"/>
                    </a:lnTo>
                    <a:lnTo>
                      <a:pt x="131" y="95"/>
                    </a:lnTo>
                    <a:lnTo>
                      <a:pt x="134" y="95"/>
                    </a:lnTo>
                    <a:lnTo>
                      <a:pt x="137" y="93"/>
                    </a:lnTo>
                    <a:lnTo>
                      <a:pt x="144" y="93"/>
                    </a:lnTo>
                    <a:lnTo>
                      <a:pt x="150" y="93"/>
                    </a:lnTo>
                    <a:lnTo>
                      <a:pt x="151" y="93"/>
                    </a:lnTo>
                    <a:lnTo>
                      <a:pt x="154" y="92"/>
                    </a:lnTo>
                    <a:lnTo>
                      <a:pt x="161" y="95"/>
                    </a:lnTo>
                    <a:lnTo>
                      <a:pt x="154" y="94"/>
                    </a:lnTo>
                    <a:lnTo>
                      <a:pt x="153" y="95"/>
                    </a:lnTo>
                    <a:lnTo>
                      <a:pt x="155" y="99"/>
                    </a:lnTo>
                    <a:lnTo>
                      <a:pt x="155" y="100"/>
                    </a:lnTo>
                    <a:lnTo>
                      <a:pt x="154" y="100"/>
                    </a:lnTo>
                    <a:lnTo>
                      <a:pt x="146" y="96"/>
                    </a:lnTo>
                    <a:lnTo>
                      <a:pt x="143" y="97"/>
                    </a:lnTo>
                    <a:lnTo>
                      <a:pt x="140" y="99"/>
                    </a:lnTo>
                    <a:lnTo>
                      <a:pt x="134" y="97"/>
                    </a:lnTo>
                    <a:lnTo>
                      <a:pt x="133" y="99"/>
                    </a:lnTo>
                    <a:lnTo>
                      <a:pt x="135" y="102"/>
                    </a:lnTo>
                    <a:lnTo>
                      <a:pt x="132" y="102"/>
                    </a:lnTo>
                    <a:lnTo>
                      <a:pt x="131" y="103"/>
                    </a:lnTo>
                    <a:lnTo>
                      <a:pt x="132" y="109"/>
                    </a:lnTo>
                    <a:lnTo>
                      <a:pt x="133" y="112"/>
                    </a:lnTo>
                    <a:lnTo>
                      <a:pt x="132" y="115"/>
                    </a:lnTo>
                    <a:lnTo>
                      <a:pt x="132" y="117"/>
                    </a:lnTo>
                    <a:lnTo>
                      <a:pt x="132" y="119"/>
                    </a:lnTo>
                    <a:lnTo>
                      <a:pt x="135" y="115"/>
                    </a:lnTo>
                    <a:lnTo>
                      <a:pt x="137" y="115"/>
                    </a:lnTo>
                    <a:lnTo>
                      <a:pt x="137" y="118"/>
                    </a:lnTo>
                    <a:lnTo>
                      <a:pt x="140" y="121"/>
                    </a:lnTo>
                    <a:lnTo>
                      <a:pt x="142" y="121"/>
                    </a:lnTo>
                    <a:lnTo>
                      <a:pt x="144" y="119"/>
                    </a:lnTo>
                    <a:lnTo>
                      <a:pt x="145" y="119"/>
                    </a:lnTo>
                    <a:lnTo>
                      <a:pt x="146" y="124"/>
                    </a:lnTo>
                    <a:lnTo>
                      <a:pt x="145" y="130"/>
                    </a:lnTo>
                    <a:lnTo>
                      <a:pt x="146" y="132"/>
                    </a:lnTo>
                    <a:lnTo>
                      <a:pt x="149" y="135"/>
                    </a:lnTo>
                    <a:lnTo>
                      <a:pt x="150" y="140"/>
                    </a:lnTo>
                    <a:lnTo>
                      <a:pt x="151" y="141"/>
                    </a:lnTo>
                    <a:lnTo>
                      <a:pt x="153" y="139"/>
                    </a:lnTo>
                    <a:lnTo>
                      <a:pt x="155" y="139"/>
                    </a:lnTo>
                    <a:lnTo>
                      <a:pt x="157" y="139"/>
                    </a:lnTo>
                    <a:lnTo>
                      <a:pt x="160" y="142"/>
                    </a:lnTo>
                    <a:lnTo>
                      <a:pt x="163" y="142"/>
                    </a:lnTo>
                    <a:lnTo>
                      <a:pt x="164" y="141"/>
                    </a:lnTo>
                    <a:lnTo>
                      <a:pt x="168" y="143"/>
                    </a:lnTo>
                    <a:lnTo>
                      <a:pt x="171" y="145"/>
                    </a:lnTo>
                    <a:lnTo>
                      <a:pt x="179" y="151"/>
                    </a:lnTo>
                    <a:lnTo>
                      <a:pt x="182" y="147"/>
                    </a:lnTo>
                    <a:lnTo>
                      <a:pt x="188" y="148"/>
                    </a:lnTo>
                    <a:lnTo>
                      <a:pt x="190" y="147"/>
                    </a:lnTo>
                    <a:lnTo>
                      <a:pt x="193" y="143"/>
                    </a:lnTo>
                    <a:lnTo>
                      <a:pt x="194" y="138"/>
                    </a:lnTo>
                    <a:lnTo>
                      <a:pt x="196" y="135"/>
                    </a:lnTo>
                    <a:lnTo>
                      <a:pt x="201" y="135"/>
                    </a:lnTo>
                    <a:lnTo>
                      <a:pt x="206" y="136"/>
                    </a:lnTo>
                    <a:lnTo>
                      <a:pt x="211" y="139"/>
                    </a:lnTo>
                    <a:lnTo>
                      <a:pt x="214" y="141"/>
                    </a:lnTo>
                    <a:lnTo>
                      <a:pt x="214" y="143"/>
                    </a:lnTo>
                    <a:lnTo>
                      <a:pt x="214" y="145"/>
                    </a:lnTo>
                    <a:lnTo>
                      <a:pt x="212" y="147"/>
                    </a:lnTo>
                    <a:lnTo>
                      <a:pt x="208" y="149"/>
                    </a:lnTo>
                    <a:lnTo>
                      <a:pt x="207" y="151"/>
                    </a:lnTo>
                    <a:lnTo>
                      <a:pt x="207" y="153"/>
                    </a:lnTo>
                    <a:lnTo>
                      <a:pt x="206" y="157"/>
                    </a:lnTo>
                    <a:lnTo>
                      <a:pt x="207" y="161"/>
                    </a:lnTo>
                    <a:lnTo>
                      <a:pt x="207" y="163"/>
                    </a:lnTo>
                    <a:lnTo>
                      <a:pt x="206" y="166"/>
                    </a:lnTo>
                    <a:lnTo>
                      <a:pt x="206" y="169"/>
                    </a:lnTo>
                    <a:lnTo>
                      <a:pt x="202" y="174"/>
                    </a:lnTo>
                    <a:lnTo>
                      <a:pt x="198" y="181"/>
                    </a:lnTo>
                    <a:lnTo>
                      <a:pt x="196" y="188"/>
                    </a:lnTo>
                    <a:lnTo>
                      <a:pt x="195" y="188"/>
                    </a:lnTo>
                    <a:lnTo>
                      <a:pt x="202" y="190"/>
                    </a:lnTo>
                    <a:lnTo>
                      <a:pt x="205" y="189"/>
                    </a:lnTo>
                    <a:lnTo>
                      <a:pt x="206" y="185"/>
                    </a:lnTo>
                    <a:lnTo>
                      <a:pt x="213" y="182"/>
                    </a:lnTo>
                    <a:lnTo>
                      <a:pt x="216" y="181"/>
                    </a:lnTo>
                    <a:lnTo>
                      <a:pt x="219" y="182"/>
                    </a:lnTo>
                    <a:lnTo>
                      <a:pt x="222" y="180"/>
                    </a:lnTo>
                    <a:lnTo>
                      <a:pt x="224" y="182"/>
                    </a:lnTo>
                    <a:lnTo>
                      <a:pt x="225" y="180"/>
                    </a:lnTo>
                    <a:lnTo>
                      <a:pt x="228" y="180"/>
                    </a:lnTo>
                    <a:lnTo>
                      <a:pt x="229" y="179"/>
                    </a:lnTo>
                    <a:lnTo>
                      <a:pt x="230" y="178"/>
                    </a:lnTo>
                    <a:lnTo>
                      <a:pt x="237" y="178"/>
                    </a:lnTo>
                    <a:lnTo>
                      <a:pt x="242" y="176"/>
                    </a:lnTo>
                    <a:lnTo>
                      <a:pt x="248" y="175"/>
                    </a:lnTo>
                    <a:lnTo>
                      <a:pt x="249" y="175"/>
                    </a:lnTo>
                    <a:lnTo>
                      <a:pt x="253" y="169"/>
                    </a:lnTo>
                    <a:lnTo>
                      <a:pt x="255" y="169"/>
                    </a:lnTo>
                    <a:lnTo>
                      <a:pt x="258" y="168"/>
                    </a:lnTo>
                    <a:lnTo>
                      <a:pt x="260" y="169"/>
                    </a:lnTo>
                    <a:lnTo>
                      <a:pt x="263" y="168"/>
                    </a:lnTo>
                    <a:lnTo>
                      <a:pt x="265" y="170"/>
                    </a:lnTo>
                    <a:lnTo>
                      <a:pt x="264" y="173"/>
                    </a:lnTo>
                    <a:lnTo>
                      <a:pt x="265" y="174"/>
                    </a:lnTo>
                    <a:lnTo>
                      <a:pt x="266" y="174"/>
                    </a:lnTo>
                    <a:lnTo>
                      <a:pt x="269" y="177"/>
                    </a:lnTo>
                    <a:lnTo>
                      <a:pt x="271" y="177"/>
                    </a:lnTo>
                    <a:lnTo>
                      <a:pt x="271" y="176"/>
                    </a:lnTo>
                    <a:lnTo>
                      <a:pt x="271" y="172"/>
                    </a:lnTo>
                    <a:lnTo>
                      <a:pt x="268" y="170"/>
                    </a:lnTo>
                    <a:lnTo>
                      <a:pt x="271" y="168"/>
                    </a:lnTo>
                    <a:lnTo>
                      <a:pt x="276" y="173"/>
                    </a:lnTo>
                    <a:lnTo>
                      <a:pt x="283" y="175"/>
                    </a:lnTo>
                    <a:lnTo>
                      <a:pt x="284" y="178"/>
                    </a:lnTo>
                    <a:lnTo>
                      <a:pt x="286" y="179"/>
                    </a:lnTo>
                    <a:lnTo>
                      <a:pt x="288" y="178"/>
                    </a:lnTo>
                    <a:lnTo>
                      <a:pt x="289" y="180"/>
                    </a:lnTo>
                    <a:lnTo>
                      <a:pt x="292" y="180"/>
                    </a:lnTo>
                    <a:lnTo>
                      <a:pt x="293" y="180"/>
                    </a:lnTo>
                    <a:lnTo>
                      <a:pt x="293" y="182"/>
                    </a:lnTo>
                    <a:lnTo>
                      <a:pt x="295" y="182"/>
                    </a:lnTo>
                    <a:lnTo>
                      <a:pt x="300" y="186"/>
                    </a:lnTo>
                    <a:lnTo>
                      <a:pt x="303" y="186"/>
                    </a:lnTo>
                    <a:lnTo>
                      <a:pt x="305" y="185"/>
                    </a:lnTo>
                    <a:lnTo>
                      <a:pt x="306" y="185"/>
                    </a:lnTo>
                    <a:lnTo>
                      <a:pt x="311" y="189"/>
                    </a:lnTo>
                    <a:lnTo>
                      <a:pt x="315" y="191"/>
                    </a:lnTo>
                    <a:lnTo>
                      <a:pt x="321" y="192"/>
                    </a:lnTo>
                    <a:lnTo>
                      <a:pt x="323" y="192"/>
                    </a:lnTo>
                    <a:lnTo>
                      <a:pt x="326" y="191"/>
                    </a:lnTo>
                    <a:lnTo>
                      <a:pt x="327" y="192"/>
                    </a:lnTo>
                    <a:lnTo>
                      <a:pt x="330" y="192"/>
                    </a:lnTo>
                    <a:lnTo>
                      <a:pt x="330" y="194"/>
                    </a:lnTo>
                    <a:lnTo>
                      <a:pt x="329" y="195"/>
                    </a:lnTo>
                    <a:lnTo>
                      <a:pt x="327" y="200"/>
                    </a:lnTo>
                    <a:lnTo>
                      <a:pt x="333" y="203"/>
                    </a:lnTo>
                    <a:lnTo>
                      <a:pt x="340" y="205"/>
                    </a:lnTo>
                    <a:lnTo>
                      <a:pt x="341" y="206"/>
                    </a:lnTo>
                    <a:lnTo>
                      <a:pt x="340" y="208"/>
                    </a:lnTo>
                    <a:lnTo>
                      <a:pt x="345" y="212"/>
                    </a:lnTo>
                    <a:lnTo>
                      <a:pt x="345" y="214"/>
                    </a:lnTo>
                    <a:lnTo>
                      <a:pt x="347" y="218"/>
                    </a:lnTo>
                    <a:lnTo>
                      <a:pt x="356" y="221"/>
                    </a:lnTo>
                    <a:lnTo>
                      <a:pt x="361" y="221"/>
                    </a:lnTo>
                    <a:lnTo>
                      <a:pt x="363" y="222"/>
                    </a:lnTo>
                    <a:lnTo>
                      <a:pt x="364" y="226"/>
                    </a:lnTo>
                    <a:lnTo>
                      <a:pt x="365" y="227"/>
                    </a:lnTo>
                    <a:lnTo>
                      <a:pt x="366" y="227"/>
                    </a:lnTo>
                    <a:lnTo>
                      <a:pt x="370" y="226"/>
                    </a:lnTo>
                    <a:lnTo>
                      <a:pt x="373" y="227"/>
                    </a:lnTo>
                    <a:lnTo>
                      <a:pt x="374" y="226"/>
                    </a:lnTo>
                    <a:lnTo>
                      <a:pt x="375" y="224"/>
                    </a:lnTo>
                    <a:lnTo>
                      <a:pt x="379" y="222"/>
                    </a:lnTo>
                    <a:lnTo>
                      <a:pt x="384" y="222"/>
                    </a:lnTo>
                    <a:lnTo>
                      <a:pt x="387" y="220"/>
                    </a:lnTo>
                    <a:lnTo>
                      <a:pt x="390" y="219"/>
                    </a:lnTo>
                    <a:lnTo>
                      <a:pt x="396" y="214"/>
                    </a:lnTo>
                    <a:lnTo>
                      <a:pt x="397" y="214"/>
                    </a:lnTo>
                    <a:lnTo>
                      <a:pt x="400" y="216"/>
                    </a:lnTo>
                    <a:lnTo>
                      <a:pt x="404" y="216"/>
                    </a:lnTo>
                    <a:lnTo>
                      <a:pt x="411" y="222"/>
                    </a:lnTo>
                    <a:lnTo>
                      <a:pt x="416" y="224"/>
                    </a:lnTo>
                    <a:lnTo>
                      <a:pt x="420" y="224"/>
                    </a:lnTo>
                    <a:lnTo>
                      <a:pt x="429" y="224"/>
                    </a:lnTo>
                    <a:lnTo>
                      <a:pt x="430" y="221"/>
                    </a:lnTo>
                    <a:lnTo>
                      <a:pt x="433" y="219"/>
                    </a:lnTo>
                    <a:lnTo>
                      <a:pt x="433" y="217"/>
                    </a:lnTo>
                    <a:lnTo>
                      <a:pt x="435" y="216"/>
                    </a:lnTo>
                    <a:lnTo>
                      <a:pt x="435" y="215"/>
                    </a:lnTo>
                    <a:lnTo>
                      <a:pt x="433" y="212"/>
                    </a:lnTo>
                    <a:lnTo>
                      <a:pt x="434" y="210"/>
                    </a:lnTo>
                    <a:lnTo>
                      <a:pt x="439" y="206"/>
                    </a:lnTo>
                    <a:lnTo>
                      <a:pt x="445" y="207"/>
                    </a:lnTo>
                    <a:lnTo>
                      <a:pt x="446" y="204"/>
                    </a:lnTo>
                    <a:lnTo>
                      <a:pt x="444" y="201"/>
                    </a:lnTo>
                    <a:lnTo>
                      <a:pt x="443" y="198"/>
                    </a:lnTo>
                    <a:lnTo>
                      <a:pt x="446" y="195"/>
                    </a:lnTo>
                    <a:lnTo>
                      <a:pt x="448" y="194"/>
                    </a:lnTo>
                    <a:lnTo>
                      <a:pt x="454" y="194"/>
                    </a:lnTo>
                    <a:lnTo>
                      <a:pt x="459" y="194"/>
                    </a:lnTo>
                    <a:lnTo>
                      <a:pt x="461" y="194"/>
                    </a:lnTo>
                    <a:lnTo>
                      <a:pt x="465" y="194"/>
                    </a:lnTo>
                    <a:lnTo>
                      <a:pt x="469" y="191"/>
                    </a:lnTo>
                    <a:lnTo>
                      <a:pt x="469" y="189"/>
                    </a:lnTo>
                    <a:lnTo>
                      <a:pt x="467" y="186"/>
                    </a:lnTo>
                    <a:lnTo>
                      <a:pt x="465" y="185"/>
                    </a:lnTo>
                    <a:lnTo>
                      <a:pt x="461" y="186"/>
                    </a:lnTo>
                    <a:lnTo>
                      <a:pt x="460" y="183"/>
                    </a:lnTo>
                    <a:lnTo>
                      <a:pt x="458" y="183"/>
                    </a:lnTo>
                    <a:lnTo>
                      <a:pt x="458" y="182"/>
                    </a:lnTo>
                    <a:lnTo>
                      <a:pt x="457" y="181"/>
                    </a:lnTo>
                    <a:lnTo>
                      <a:pt x="458" y="178"/>
                    </a:lnTo>
                    <a:lnTo>
                      <a:pt x="458" y="176"/>
                    </a:lnTo>
                    <a:lnTo>
                      <a:pt x="457" y="175"/>
                    </a:lnTo>
                    <a:lnTo>
                      <a:pt x="454" y="176"/>
                    </a:lnTo>
                    <a:lnTo>
                      <a:pt x="453" y="175"/>
                    </a:lnTo>
                    <a:lnTo>
                      <a:pt x="452" y="174"/>
                    </a:lnTo>
                    <a:lnTo>
                      <a:pt x="451" y="173"/>
                    </a:lnTo>
                    <a:lnTo>
                      <a:pt x="452" y="168"/>
                    </a:lnTo>
                    <a:lnTo>
                      <a:pt x="442" y="153"/>
                    </a:lnTo>
                    <a:lnTo>
                      <a:pt x="444" y="148"/>
                    </a:lnTo>
                    <a:lnTo>
                      <a:pt x="443" y="145"/>
                    </a:lnTo>
                    <a:lnTo>
                      <a:pt x="442" y="142"/>
                    </a:lnTo>
                    <a:lnTo>
                      <a:pt x="438" y="136"/>
                    </a:lnTo>
                    <a:lnTo>
                      <a:pt x="439" y="123"/>
                    </a:lnTo>
                    <a:lnTo>
                      <a:pt x="441" y="108"/>
                    </a:lnTo>
                    <a:lnTo>
                      <a:pt x="447" y="85"/>
                    </a:lnTo>
                    <a:lnTo>
                      <a:pt x="452" y="78"/>
                    </a:lnTo>
                    <a:lnTo>
                      <a:pt x="462" y="71"/>
                    </a:lnTo>
                    <a:lnTo>
                      <a:pt x="462" y="67"/>
                    </a:lnTo>
                    <a:lnTo>
                      <a:pt x="464" y="66"/>
                    </a:lnTo>
                    <a:lnTo>
                      <a:pt x="465" y="64"/>
                    </a:lnTo>
                    <a:lnTo>
                      <a:pt x="467" y="57"/>
                    </a:lnTo>
                    <a:lnTo>
                      <a:pt x="472" y="54"/>
                    </a:lnTo>
                    <a:lnTo>
                      <a:pt x="474" y="51"/>
                    </a:lnTo>
                    <a:lnTo>
                      <a:pt x="475" y="45"/>
                    </a:lnTo>
                    <a:lnTo>
                      <a:pt x="480" y="42"/>
                    </a:lnTo>
                    <a:lnTo>
                      <a:pt x="485" y="40"/>
                    </a:lnTo>
                    <a:lnTo>
                      <a:pt x="491" y="40"/>
                    </a:lnTo>
                    <a:lnTo>
                      <a:pt x="496" y="38"/>
                    </a:lnTo>
                    <a:lnTo>
                      <a:pt x="497" y="38"/>
                    </a:lnTo>
                    <a:lnTo>
                      <a:pt x="496" y="36"/>
                    </a:lnTo>
                    <a:lnTo>
                      <a:pt x="498" y="33"/>
                    </a:lnTo>
                    <a:lnTo>
                      <a:pt x="498" y="29"/>
                    </a:lnTo>
                    <a:lnTo>
                      <a:pt x="494" y="27"/>
                    </a:lnTo>
                    <a:lnTo>
                      <a:pt x="487" y="21"/>
                    </a:lnTo>
                    <a:lnTo>
                      <a:pt x="485" y="20"/>
                    </a:lnTo>
                    <a:lnTo>
                      <a:pt x="484" y="20"/>
                    </a:lnTo>
                    <a:lnTo>
                      <a:pt x="482" y="23"/>
                    </a:lnTo>
                    <a:lnTo>
                      <a:pt x="480" y="26"/>
                    </a:lnTo>
                    <a:lnTo>
                      <a:pt x="474" y="27"/>
                    </a:lnTo>
                    <a:lnTo>
                      <a:pt x="471" y="27"/>
                    </a:lnTo>
                    <a:lnTo>
                      <a:pt x="464" y="26"/>
                    </a:lnTo>
                    <a:lnTo>
                      <a:pt x="448" y="26"/>
                    </a:lnTo>
                    <a:lnTo>
                      <a:pt x="438" y="24"/>
                    </a:lnTo>
                    <a:lnTo>
                      <a:pt x="402" y="24"/>
                    </a:lnTo>
                    <a:lnTo>
                      <a:pt x="393" y="21"/>
                    </a:lnTo>
                    <a:lnTo>
                      <a:pt x="385" y="16"/>
                    </a:lnTo>
                    <a:lnTo>
                      <a:pt x="377" y="12"/>
                    </a:lnTo>
                    <a:lnTo>
                      <a:pt x="373" y="12"/>
                    </a:lnTo>
                    <a:lnTo>
                      <a:pt x="368" y="14"/>
                    </a:lnTo>
                    <a:lnTo>
                      <a:pt x="364" y="14"/>
                    </a:lnTo>
                    <a:lnTo>
                      <a:pt x="358" y="12"/>
                    </a:lnTo>
                    <a:lnTo>
                      <a:pt x="352" y="12"/>
                    </a:lnTo>
                    <a:lnTo>
                      <a:pt x="347" y="9"/>
                    </a:lnTo>
                    <a:lnTo>
                      <a:pt x="334" y="9"/>
                    </a:lnTo>
                    <a:lnTo>
                      <a:pt x="333" y="9"/>
                    </a:lnTo>
                    <a:lnTo>
                      <a:pt x="333" y="8"/>
                    </a:lnTo>
                    <a:lnTo>
                      <a:pt x="331" y="7"/>
                    </a:lnTo>
                    <a:lnTo>
                      <a:pt x="330" y="6"/>
                    </a:lnTo>
                    <a:lnTo>
                      <a:pt x="325" y="4"/>
                    </a:lnTo>
                    <a:lnTo>
                      <a:pt x="324" y="6"/>
                    </a:lnTo>
                    <a:lnTo>
                      <a:pt x="324" y="7"/>
                    </a:lnTo>
                    <a:lnTo>
                      <a:pt x="324" y="8"/>
                    </a:lnTo>
                    <a:lnTo>
                      <a:pt x="322" y="9"/>
                    </a:lnTo>
                    <a:lnTo>
                      <a:pt x="320" y="6"/>
                    </a:lnTo>
                    <a:lnTo>
                      <a:pt x="318" y="5"/>
                    </a:lnTo>
                    <a:lnTo>
                      <a:pt x="317" y="5"/>
                    </a:lnTo>
                    <a:lnTo>
                      <a:pt x="317" y="8"/>
                    </a:lnTo>
                    <a:lnTo>
                      <a:pt x="315" y="9"/>
                    </a:lnTo>
                    <a:lnTo>
                      <a:pt x="311" y="10"/>
                    </a:lnTo>
                    <a:lnTo>
                      <a:pt x="310" y="8"/>
                    </a:lnTo>
                    <a:lnTo>
                      <a:pt x="309" y="3"/>
                    </a:lnTo>
                    <a:lnTo>
                      <a:pt x="305" y="1"/>
                    </a:lnTo>
                    <a:lnTo>
                      <a:pt x="303" y="0"/>
                    </a:lnTo>
                    <a:lnTo>
                      <a:pt x="301" y="1"/>
                    </a:lnTo>
                    <a:lnTo>
                      <a:pt x="303" y="3"/>
                    </a:lnTo>
                    <a:lnTo>
                      <a:pt x="302" y="4"/>
                    </a:lnTo>
                    <a:lnTo>
                      <a:pt x="305" y="8"/>
                    </a:lnTo>
                    <a:lnTo>
                      <a:pt x="305" y="9"/>
                    </a:lnTo>
                    <a:lnTo>
                      <a:pt x="303" y="11"/>
                    </a:lnTo>
                    <a:lnTo>
                      <a:pt x="301" y="12"/>
                    </a:lnTo>
                    <a:lnTo>
                      <a:pt x="298" y="11"/>
                    </a:lnTo>
                    <a:lnTo>
                      <a:pt x="295" y="7"/>
                    </a:lnTo>
                    <a:lnTo>
                      <a:pt x="291" y="5"/>
                    </a:lnTo>
                    <a:lnTo>
                      <a:pt x="287" y="1"/>
                    </a:lnTo>
                    <a:lnTo>
                      <a:pt x="286" y="1"/>
                    </a:lnTo>
                    <a:lnTo>
                      <a:pt x="285" y="2"/>
                    </a:lnTo>
                    <a:lnTo>
                      <a:pt x="287" y="6"/>
                    </a:lnTo>
                    <a:lnTo>
                      <a:pt x="287" y="11"/>
                    </a:lnTo>
                    <a:lnTo>
                      <a:pt x="291" y="14"/>
                    </a:lnTo>
                    <a:lnTo>
                      <a:pt x="289" y="15"/>
                    </a:lnTo>
                    <a:lnTo>
                      <a:pt x="282" y="15"/>
                    </a:lnTo>
                    <a:lnTo>
                      <a:pt x="280" y="15"/>
                    </a:lnTo>
                    <a:lnTo>
                      <a:pt x="280" y="17"/>
                    </a:lnTo>
                    <a:lnTo>
                      <a:pt x="280" y="19"/>
                    </a:lnTo>
                    <a:close/>
                    <a:moveTo>
                      <a:pt x="163" y="34"/>
                    </a:moveTo>
                    <a:lnTo>
                      <a:pt x="163" y="36"/>
                    </a:lnTo>
                    <a:lnTo>
                      <a:pt x="165" y="37"/>
                    </a:lnTo>
                    <a:lnTo>
                      <a:pt x="165" y="38"/>
                    </a:lnTo>
                    <a:lnTo>
                      <a:pt x="164" y="38"/>
                    </a:lnTo>
                    <a:lnTo>
                      <a:pt x="161" y="35"/>
                    </a:lnTo>
                    <a:lnTo>
                      <a:pt x="161" y="34"/>
                    </a:lnTo>
                    <a:lnTo>
                      <a:pt x="163" y="34"/>
                    </a:lnTo>
                    <a:close/>
                    <a:moveTo>
                      <a:pt x="168" y="33"/>
                    </a:moveTo>
                    <a:lnTo>
                      <a:pt x="169" y="34"/>
                    </a:lnTo>
                    <a:lnTo>
                      <a:pt x="170" y="36"/>
                    </a:lnTo>
                    <a:lnTo>
                      <a:pt x="170" y="38"/>
                    </a:lnTo>
                    <a:lnTo>
                      <a:pt x="169" y="38"/>
                    </a:lnTo>
                    <a:lnTo>
                      <a:pt x="167" y="37"/>
                    </a:lnTo>
                    <a:lnTo>
                      <a:pt x="165" y="33"/>
                    </a:lnTo>
                    <a:lnTo>
                      <a:pt x="165" y="32"/>
                    </a:lnTo>
                    <a:lnTo>
                      <a:pt x="166" y="32"/>
                    </a:lnTo>
                    <a:lnTo>
                      <a:pt x="168" y="33"/>
                    </a:lnTo>
                    <a:close/>
                    <a:moveTo>
                      <a:pt x="247" y="3"/>
                    </a:moveTo>
                    <a:lnTo>
                      <a:pt x="250" y="6"/>
                    </a:lnTo>
                    <a:lnTo>
                      <a:pt x="245" y="6"/>
                    </a:lnTo>
                    <a:lnTo>
                      <a:pt x="245" y="4"/>
                    </a:lnTo>
                    <a:lnTo>
                      <a:pt x="245" y="2"/>
                    </a:lnTo>
                    <a:lnTo>
                      <a:pt x="247" y="3"/>
                    </a:lnTo>
                    <a:close/>
                    <a:moveTo>
                      <a:pt x="212" y="10"/>
                    </a:moveTo>
                    <a:lnTo>
                      <a:pt x="213" y="13"/>
                    </a:lnTo>
                    <a:lnTo>
                      <a:pt x="212" y="15"/>
                    </a:lnTo>
                    <a:lnTo>
                      <a:pt x="208" y="12"/>
                    </a:lnTo>
                    <a:lnTo>
                      <a:pt x="207" y="12"/>
                    </a:lnTo>
                    <a:lnTo>
                      <a:pt x="208" y="8"/>
                    </a:lnTo>
                    <a:lnTo>
                      <a:pt x="210" y="8"/>
                    </a:lnTo>
                    <a:lnTo>
                      <a:pt x="212" y="9"/>
                    </a:lnTo>
                    <a:lnTo>
                      <a:pt x="212" y="10"/>
                    </a:lnTo>
                    <a:close/>
                    <a:moveTo>
                      <a:pt x="56" y="159"/>
                    </a:moveTo>
                    <a:lnTo>
                      <a:pt x="57" y="161"/>
                    </a:lnTo>
                    <a:lnTo>
                      <a:pt x="55" y="163"/>
                    </a:lnTo>
                    <a:lnTo>
                      <a:pt x="52" y="161"/>
                    </a:lnTo>
                    <a:lnTo>
                      <a:pt x="54" y="157"/>
                    </a:lnTo>
                    <a:lnTo>
                      <a:pt x="55" y="159"/>
                    </a:lnTo>
                    <a:lnTo>
                      <a:pt x="56" y="159"/>
                    </a:lnTo>
                    <a:close/>
                    <a:moveTo>
                      <a:pt x="111" y="196"/>
                    </a:moveTo>
                    <a:lnTo>
                      <a:pt x="113" y="197"/>
                    </a:lnTo>
                    <a:lnTo>
                      <a:pt x="114" y="199"/>
                    </a:lnTo>
                    <a:lnTo>
                      <a:pt x="113" y="200"/>
                    </a:lnTo>
                    <a:lnTo>
                      <a:pt x="109" y="199"/>
                    </a:lnTo>
                    <a:lnTo>
                      <a:pt x="108" y="198"/>
                    </a:lnTo>
                    <a:lnTo>
                      <a:pt x="109" y="195"/>
                    </a:lnTo>
                    <a:lnTo>
                      <a:pt x="111" y="196"/>
                    </a:lnTo>
                    <a:close/>
                    <a:moveTo>
                      <a:pt x="172" y="160"/>
                    </a:moveTo>
                    <a:lnTo>
                      <a:pt x="173" y="163"/>
                    </a:lnTo>
                    <a:lnTo>
                      <a:pt x="171" y="165"/>
                    </a:lnTo>
                    <a:lnTo>
                      <a:pt x="169" y="166"/>
                    </a:lnTo>
                    <a:lnTo>
                      <a:pt x="166" y="165"/>
                    </a:lnTo>
                    <a:lnTo>
                      <a:pt x="166" y="164"/>
                    </a:lnTo>
                    <a:lnTo>
                      <a:pt x="166" y="162"/>
                    </a:lnTo>
                    <a:lnTo>
                      <a:pt x="167" y="160"/>
                    </a:lnTo>
                    <a:lnTo>
                      <a:pt x="170" y="159"/>
                    </a:lnTo>
                    <a:lnTo>
                      <a:pt x="172" y="161"/>
                    </a:lnTo>
                    <a:lnTo>
                      <a:pt x="172" y="160"/>
                    </a:lnTo>
                    <a:close/>
                    <a:moveTo>
                      <a:pt x="111" y="105"/>
                    </a:moveTo>
                    <a:lnTo>
                      <a:pt x="120" y="108"/>
                    </a:lnTo>
                    <a:lnTo>
                      <a:pt x="120" y="113"/>
                    </a:lnTo>
                    <a:lnTo>
                      <a:pt x="122" y="114"/>
                    </a:lnTo>
                    <a:lnTo>
                      <a:pt x="124" y="117"/>
                    </a:lnTo>
                    <a:lnTo>
                      <a:pt x="121" y="120"/>
                    </a:lnTo>
                    <a:lnTo>
                      <a:pt x="113" y="119"/>
                    </a:lnTo>
                    <a:lnTo>
                      <a:pt x="111" y="120"/>
                    </a:lnTo>
                    <a:lnTo>
                      <a:pt x="109" y="120"/>
                    </a:lnTo>
                    <a:lnTo>
                      <a:pt x="106" y="118"/>
                    </a:lnTo>
                    <a:lnTo>
                      <a:pt x="104" y="116"/>
                    </a:lnTo>
                    <a:lnTo>
                      <a:pt x="98" y="114"/>
                    </a:lnTo>
                    <a:lnTo>
                      <a:pt x="97" y="112"/>
                    </a:lnTo>
                    <a:lnTo>
                      <a:pt x="98" y="111"/>
                    </a:lnTo>
                    <a:lnTo>
                      <a:pt x="102" y="111"/>
                    </a:lnTo>
                    <a:lnTo>
                      <a:pt x="102" y="107"/>
                    </a:lnTo>
                    <a:lnTo>
                      <a:pt x="104" y="105"/>
                    </a:lnTo>
                    <a:lnTo>
                      <a:pt x="108" y="105"/>
                    </a:lnTo>
                    <a:lnTo>
                      <a:pt x="112" y="105"/>
                    </a:lnTo>
                    <a:lnTo>
                      <a:pt x="111" y="105"/>
                    </a:lnTo>
                    <a:close/>
                    <a:moveTo>
                      <a:pt x="107" y="66"/>
                    </a:moveTo>
                    <a:lnTo>
                      <a:pt x="111" y="66"/>
                    </a:lnTo>
                    <a:lnTo>
                      <a:pt x="113" y="68"/>
                    </a:lnTo>
                    <a:lnTo>
                      <a:pt x="117" y="67"/>
                    </a:lnTo>
                    <a:lnTo>
                      <a:pt x="119" y="67"/>
                    </a:lnTo>
                    <a:lnTo>
                      <a:pt x="121" y="69"/>
                    </a:lnTo>
                    <a:lnTo>
                      <a:pt x="123" y="72"/>
                    </a:lnTo>
                    <a:lnTo>
                      <a:pt x="121" y="74"/>
                    </a:lnTo>
                    <a:lnTo>
                      <a:pt x="118" y="72"/>
                    </a:lnTo>
                    <a:lnTo>
                      <a:pt x="115" y="75"/>
                    </a:lnTo>
                    <a:lnTo>
                      <a:pt x="113" y="75"/>
                    </a:lnTo>
                    <a:lnTo>
                      <a:pt x="110" y="72"/>
                    </a:lnTo>
                    <a:lnTo>
                      <a:pt x="109" y="75"/>
                    </a:lnTo>
                    <a:lnTo>
                      <a:pt x="104" y="75"/>
                    </a:lnTo>
                    <a:lnTo>
                      <a:pt x="103" y="73"/>
                    </a:lnTo>
                    <a:lnTo>
                      <a:pt x="103" y="70"/>
                    </a:lnTo>
                    <a:lnTo>
                      <a:pt x="101" y="68"/>
                    </a:lnTo>
                    <a:lnTo>
                      <a:pt x="104" y="66"/>
                    </a:lnTo>
                    <a:lnTo>
                      <a:pt x="107" y="66"/>
                    </a:lnTo>
                    <a:close/>
                    <a:moveTo>
                      <a:pt x="4" y="135"/>
                    </a:moveTo>
                    <a:lnTo>
                      <a:pt x="5" y="134"/>
                    </a:lnTo>
                    <a:lnTo>
                      <a:pt x="8" y="135"/>
                    </a:lnTo>
                    <a:lnTo>
                      <a:pt x="7" y="136"/>
                    </a:lnTo>
                    <a:lnTo>
                      <a:pt x="3" y="136"/>
                    </a:lnTo>
                    <a:lnTo>
                      <a:pt x="0" y="135"/>
                    </a:lnTo>
                    <a:lnTo>
                      <a:pt x="4" y="135"/>
                    </a:lnTo>
                    <a:close/>
                    <a:moveTo>
                      <a:pt x="63" y="62"/>
                    </a:moveTo>
                    <a:lnTo>
                      <a:pt x="70" y="63"/>
                    </a:lnTo>
                    <a:lnTo>
                      <a:pt x="70" y="64"/>
                    </a:lnTo>
                    <a:lnTo>
                      <a:pt x="68" y="66"/>
                    </a:lnTo>
                    <a:lnTo>
                      <a:pt x="68" y="69"/>
                    </a:lnTo>
                    <a:lnTo>
                      <a:pt x="71" y="70"/>
                    </a:lnTo>
                    <a:lnTo>
                      <a:pt x="77" y="71"/>
                    </a:lnTo>
                    <a:lnTo>
                      <a:pt x="82" y="70"/>
                    </a:lnTo>
                    <a:lnTo>
                      <a:pt x="83" y="72"/>
                    </a:lnTo>
                    <a:lnTo>
                      <a:pt x="87" y="72"/>
                    </a:lnTo>
                    <a:lnTo>
                      <a:pt x="89" y="75"/>
                    </a:lnTo>
                    <a:lnTo>
                      <a:pt x="88" y="77"/>
                    </a:lnTo>
                    <a:lnTo>
                      <a:pt x="89" y="79"/>
                    </a:lnTo>
                    <a:lnTo>
                      <a:pt x="93" y="82"/>
                    </a:lnTo>
                    <a:lnTo>
                      <a:pt x="94" y="85"/>
                    </a:lnTo>
                    <a:lnTo>
                      <a:pt x="96" y="87"/>
                    </a:lnTo>
                    <a:lnTo>
                      <a:pt x="94" y="90"/>
                    </a:lnTo>
                    <a:lnTo>
                      <a:pt x="89" y="87"/>
                    </a:lnTo>
                    <a:lnTo>
                      <a:pt x="88" y="87"/>
                    </a:lnTo>
                    <a:lnTo>
                      <a:pt x="88" y="88"/>
                    </a:lnTo>
                    <a:lnTo>
                      <a:pt x="83" y="88"/>
                    </a:lnTo>
                    <a:lnTo>
                      <a:pt x="82" y="89"/>
                    </a:lnTo>
                    <a:lnTo>
                      <a:pt x="83" y="90"/>
                    </a:lnTo>
                    <a:lnTo>
                      <a:pt x="83" y="94"/>
                    </a:lnTo>
                    <a:lnTo>
                      <a:pt x="80" y="95"/>
                    </a:lnTo>
                    <a:lnTo>
                      <a:pt x="75" y="95"/>
                    </a:lnTo>
                    <a:lnTo>
                      <a:pt x="75" y="93"/>
                    </a:lnTo>
                    <a:lnTo>
                      <a:pt x="79" y="90"/>
                    </a:lnTo>
                    <a:lnTo>
                      <a:pt x="77" y="89"/>
                    </a:lnTo>
                    <a:lnTo>
                      <a:pt x="75" y="90"/>
                    </a:lnTo>
                    <a:lnTo>
                      <a:pt x="72" y="92"/>
                    </a:lnTo>
                    <a:lnTo>
                      <a:pt x="66" y="102"/>
                    </a:lnTo>
                    <a:lnTo>
                      <a:pt x="63" y="103"/>
                    </a:lnTo>
                    <a:lnTo>
                      <a:pt x="56" y="103"/>
                    </a:lnTo>
                    <a:lnTo>
                      <a:pt x="51" y="102"/>
                    </a:lnTo>
                    <a:lnTo>
                      <a:pt x="51" y="101"/>
                    </a:lnTo>
                    <a:lnTo>
                      <a:pt x="53" y="99"/>
                    </a:lnTo>
                    <a:lnTo>
                      <a:pt x="49" y="93"/>
                    </a:lnTo>
                    <a:lnTo>
                      <a:pt x="49" y="88"/>
                    </a:lnTo>
                    <a:lnTo>
                      <a:pt x="44" y="82"/>
                    </a:lnTo>
                    <a:lnTo>
                      <a:pt x="36" y="82"/>
                    </a:lnTo>
                    <a:lnTo>
                      <a:pt x="32" y="84"/>
                    </a:lnTo>
                    <a:lnTo>
                      <a:pt x="27" y="82"/>
                    </a:lnTo>
                    <a:lnTo>
                      <a:pt x="24" y="80"/>
                    </a:lnTo>
                    <a:lnTo>
                      <a:pt x="19" y="78"/>
                    </a:lnTo>
                    <a:lnTo>
                      <a:pt x="17" y="78"/>
                    </a:lnTo>
                    <a:lnTo>
                      <a:pt x="17" y="77"/>
                    </a:lnTo>
                    <a:lnTo>
                      <a:pt x="19" y="76"/>
                    </a:lnTo>
                    <a:lnTo>
                      <a:pt x="27" y="76"/>
                    </a:lnTo>
                    <a:lnTo>
                      <a:pt x="37" y="75"/>
                    </a:lnTo>
                    <a:lnTo>
                      <a:pt x="44" y="76"/>
                    </a:lnTo>
                    <a:lnTo>
                      <a:pt x="47" y="75"/>
                    </a:lnTo>
                    <a:lnTo>
                      <a:pt x="50" y="75"/>
                    </a:lnTo>
                    <a:lnTo>
                      <a:pt x="48" y="72"/>
                    </a:lnTo>
                    <a:lnTo>
                      <a:pt x="49" y="72"/>
                    </a:lnTo>
                    <a:lnTo>
                      <a:pt x="51" y="73"/>
                    </a:lnTo>
                    <a:lnTo>
                      <a:pt x="53" y="73"/>
                    </a:lnTo>
                    <a:lnTo>
                      <a:pt x="52" y="69"/>
                    </a:lnTo>
                    <a:lnTo>
                      <a:pt x="59" y="67"/>
                    </a:lnTo>
                    <a:lnTo>
                      <a:pt x="60" y="63"/>
                    </a:lnTo>
                    <a:lnTo>
                      <a:pt x="64" y="62"/>
                    </a:lnTo>
                    <a:lnTo>
                      <a:pt x="63" y="62"/>
                    </a:lnTo>
                    <a:close/>
                    <a:moveTo>
                      <a:pt x="92" y="113"/>
                    </a:moveTo>
                    <a:lnTo>
                      <a:pt x="96" y="116"/>
                    </a:lnTo>
                    <a:lnTo>
                      <a:pt x="99" y="117"/>
                    </a:lnTo>
                    <a:lnTo>
                      <a:pt x="101" y="118"/>
                    </a:lnTo>
                    <a:lnTo>
                      <a:pt x="102" y="121"/>
                    </a:lnTo>
                    <a:lnTo>
                      <a:pt x="114" y="124"/>
                    </a:lnTo>
                    <a:lnTo>
                      <a:pt x="118" y="129"/>
                    </a:lnTo>
                    <a:lnTo>
                      <a:pt x="118" y="131"/>
                    </a:lnTo>
                    <a:lnTo>
                      <a:pt x="116" y="130"/>
                    </a:lnTo>
                    <a:lnTo>
                      <a:pt x="113" y="127"/>
                    </a:lnTo>
                    <a:lnTo>
                      <a:pt x="111" y="127"/>
                    </a:lnTo>
                    <a:lnTo>
                      <a:pt x="111" y="128"/>
                    </a:lnTo>
                    <a:lnTo>
                      <a:pt x="114" y="130"/>
                    </a:lnTo>
                    <a:lnTo>
                      <a:pt x="114" y="131"/>
                    </a:lnTo>
                    <a:lnTo>
                      <a:pt x="110" y="130"/>
                    </a:lnTo>
                    <a:lnTo>
                      <a:pt x="108" y="129"/>
                    </a:lnTo>
                    <a:lnTo>
                      <a:pt x="108" y="127"/>
                    </a:lnTo>
                    <a:lnTo>
                      <a:pt x="105" y="125"/>
                    </a:lnTo>
                    <a:lnTo>
                      <a:pt x="104" y="126"/>
                    </a:lnTo>
                    <a:lnTo>
                      <a:pt x="103" y="129"/>
                    </a:lnTo>
                    <a:lnTo>
                      <a:pt x="102" y="131"/>
                    </a:lnTo>
                    <a:lnTo>
                      <a:pt x="99" y="131"/>
                    </a:lnTo>
                    <a:lnTo>
                      <a:pt x="98" y="133"/>
                    </a:lnTo>
                    <a:lnTo>
                      <a:pt x="99" y="135"/>
                    </a:lnTo>
                    <a:lnTo>
                      <a:pt x="94" y="139"/>
                    </a:lnTo>
                    <a:lnTo>
                      <a:pt x="88" y="136"/>
                    </a:lnTo>
                    <a:lnTo>
                      <a:pt x="88" y="137"/>
                    </a:lnTo>
                    <a:lnTo>
                      <a:pt x="90" y="139"/>
                    </a:lnTo>
                    <a:lnTo>
                      <a:pt x="88" y="140"/>
                    </a:lnTo>
                    <a:lnTo>
                      <a:pt x="85" y="143"/>
                    </a:lnTo>
                    <a:lnTo>
                      <a:pt x="81" y="145"/>
                    </a:lnTo>
                    <a:lnTo>
                      <a:pt x="78" y="148"/>
                    </a:lnTo>
                    <a:lnTo>
                      <a:pt x="71" y="148"/>
                    </a:lnTo>
                    <a:lnTo>
                      <a:pt x="69" y="149"/>
                    </a:lnTo>
                    <a:lnTo>
                      <a:pt x="69" y="150"/>
                    </a:lnTo>
                    <a:lnTo>
                      <a:pt x="74" y="151"/>
                    </a:lnTo>
                    <a:lnTo>
                      <a:pt x="73" y="153"/>
                    </a:lnTo>
                    <a:lnTo>
                      <a:pt x="71" y="153"/>
                    </a:lnTo>
                    <a:lnTo>
                      <a:pt x="65" y="153"/>
                    </a:lnTo>
                    <a:lnTo>
                      <a:pt x="65" y="151"/>
                    </a:lnTo>
                    <a:lnTo>
                      <a:pt x="63" y="150"/>
                    </a:lnTo>
                    <a:lnTo>
                      <a:pt x="61" y="150"/>
                    </a:lnTo>
                    <a:lnTo>
                      <a:pt x="58" y="152"/>
                    </a:lnTo>
                    <a:lnTo>
                      <a:pt x="56" y="150"/>
                    </a:lnTo>
                    <a:lnTo>
                      <a:pt x="55" y="151"/>
                    </a:lnTo>
                    <a:lnTo>
                      <a:pt x="54" y="153"/>
                    </a:lnTo>
                    <a:lnTo>
                      <a:pt x="52" y="151"/>
                    </a:lnTo>
                    <a:lnTo>
                      <a:pt x="48" y="153"/>
                    </a:lnTo>
                    <a:lnTo>
                      <a:pt x="43" y="153"/>
                    </a:lnTo>
                    <a:lnTo>
                      <a:pt x="37" y="156"/>
                    </a:lnTo>
                    <a:lnTo>
                      <a:pt x="35" y="158"/>
                    </a:lnTo>
                    <a:lnTo>
                      <a:pt x="36" y="162"/>
                    </a:lnTo>
                    <a:lnTo>
                      <a:pt x="35" y="163"/>
                    </a:lnTo>
                    <a:lnTo>
                      <a:pt x="35" y="165"/>
                    </a:lnTo>
                    <a:lnTo>
                      <a:pt x="32" y="171"/>
                    </a:lnTo>
                    <a:lnTo>
                      <a:pt x="30" y="174"/>
                    </a:lnTo>
                    <a:lnTo>
                      <a:pt x="30" y="177"/>
                    </a:lnTo>
                    <a:lnTo>
                      <a:pt x="20" y="185"/>
                    </a:lnTo>
                    <a:lnTo>
                      <a:pt x="17" y="186"/>
                    </a:lnTo>
                    <a:lnTo>
                      <a:pt x="14" y="185"/>
                    </a:lnTo>
                    <a:lnTo>
                      <a:pt x="13" y="184"/>
                    </a:lnTo>
                    <a:lnTo>
                      <a:pt x="14" y="182"/>
                    </a:lnTo>
                    <a:lnTo>
                      <a:pt x="11" y="180"/>
                    </a:lnTo>
                    <a:lnTo>
                      <a:pt x="11" y="178"/>
                    </a:lnTo>
                    <a:lnTo>
                      <a:pt x="13" y="179"/>
                    </a:lnTo>
                    <a:lnTo>
                      <a:pt x="14" y="177"/>
                    </a:lnTo>
                    <a:lnTo>
                      <a:pt x="15" y="175"/>
                    </a:lnTo>
                    <a:lnTo>
                      <a:pt x="21" y="168"/>
                    </a:lnTo>
                    <a:lnTo>
                      <a:pt x="23" y="168"/>
                    </a:lnTo>
                    <a:lnTo>
                      <a:pt x="24" y="169"/>
                    </a:lnTo>
                    <a:lnTo>
                      <a:pt x="26" y="169"/>
                    </a:lnTo>
                    <a:lnTo>
                      <a:pt x="27" y="164"/>
                    </a:lnTo>
                    <a:lnTo>
                      <a:pt x="30" y="161"/>
                    </a:lnTo>
                    <a:lnTo>
                      <a:pt x="28" y="159"/>
                    </a:lnTo>
                    <a:lnTo>
                      <a:pt x="20" y="158"/>
                    </a:lnTo>
                    <a:lnTo>
                      <a:pt x="14" y="151"/>
                    </a:lnTo>
                    <a:lnTo>
                      <a:pt x="8" y="151"/>
                    </a:lnTo>
                    <a:lnTo>
                      <a:pt x="5" y="150"/>
                    </a:lnTo>
                    <a:lnTo>
                      <a:pt x="2" y="147"/>
                    </a:lnTo>
                    <a:lnTo>
                      <a:pt x="2" y="145"/>
                    </a:lnTo>
                    <a:lnTo>
                      <a:pt x="7" y="145"/>
                    </a:lnTo>
                    <a:lnTo>
                      <a:pt x="7" y="144"/>
                    </a:lnTo>
                    <a:lnTo>
                      <a:pt x="5" y="142"/>
                    </a:lnTo>
                    <a:lnTo>
                      <a:pt x="5" y="140"/>
                    </a:lnTo>
                    <a:lnTo>
                      <a:pt x="6" y="140"/>
                    </a:lnTo>
                    <a:lnTo>
                      <a:pt x="10" y="143"/>
                    </a:lnTo>
                    <a:lnTo>
                      <a:pt x="11" y="143"/>
                    </a:lnTo>
                    <a:lnTo>
                      <a:pt x="11" y="142"/>
                    </a:lnTo>
                    <a:lnTo>
                      <a:pt x="10" y="141"/>
                    </a:lnTo>
                    <a:lnTo>
                      <a:pt x="11" y="139"/>
                    </a:lnTo>
                    <a:lnTo>
                      <a:pt x="13" y="139"/>
                    </a:lnTo>
                    <a:lnTo>
                      <a:pt x="15" y="139"/>
                    </a:lnTo>
                    <a:lnTo>
                      <a:pt x="14" y="136"/>
                    </a:lnTo>
                    <a:lnTo>
                      <a:pt x="11" y="134"/>
                    </a:lnTo>
                    <a:lnTo>
                      <a:pt x="8" y="128"/>
                    </a:lnTo>
                    <a:lnTo>
                      <a:pt x="2" y="125"/>
                    </a:lnTo>
                    <a:lnTo>
                      <a:pt x="1" y="123"/>
                    </a:lnTo>
                    <a:lnTo>
                      <a:pt x="2" y="123"/>
                    </a:lnTo>
                    <a:lnTo>
                      <a:pt x="8" y="125"/>
                    </a:lnTo>
                    <a:lnTo>
                      <a:pt x="8" y="124"/>
                    </a:lnTo>
                    <a:lnTo>
                      <a:pt x="8" y="123"/>
                    </a:lnTo>
                    <a:lnTo>
                      <a:pt x="8" y="121"/>
                    </a:lnTo>
                    <a:lnTo>
                      <a:pt x="14" y="122"/>
                    </a:lnTo>
                    <a:lnTo>
                      <a:pt x="19" y="127"/>
                    </a:lnTo>
                    <a:lnTo>
                      <a:pt x="20" y="131"/>
                    </a:lnTo>
                    <a:lnTo>
                      <a:pt x="21" y="132"/>
                    </a:lnTo>
                    <a:lnTo>
                      <a:pt x="22" y="131"/>
                    </a:lnTo>
                    <a:lnTo>
                      <a:pt x="21" y="128"/>
                    </a:lnTo>
                    <a:lnTo>
                      <a:pt x="22" y="125"/>
                    </a:lnTo>
                    <a:lnTo>
                      <a:pt x="27" y="122"/>
                    </a:lnTo>
                    <a:lnTo>
                      <a:pt x="30" y="118"/>
                    </a:lnTo>
                    <a:lnTo>
                      <a:pt x="31" y="120"/>
                    </a:lnTo>
                    <a:lnTo>
                      <a:pt x="32" y="123"/>
                    </a:lnTo>
                    <a:lnTo>
                      <a:pt x="35" y="124"/>
                    </a:lnTo>
                    <a:lnTo>
                      <a:pt x="36" y="123"/>
                    </a:lnTo>
                    <a:lnTo>
                      <a:pt x="36" y="122"/>
                    </a:lnTo>
                    <a:lnTo>
                      <a:pt x="37" y="121"/>
                    </a:lnTo>
                    <a:lnTo>
                      <a:pt x="36" y="118"/>
                    </a:lnTo>
                    <a:lnTo>
                      <a:pt x="36" y="117"/>
                    </a:lnTo>
                    <a:lnTo>
                      <a:pt x="40" y="115"/>
                    </a:lnTo>
                    <a:lnTo>
                      <a:pt x="49" y="114"/>
                    </a:lnTo>
                    <a:lnTo>
                      <a:pt x="53" y="113"/>
                    </a:lnTo>
                    <a:lnTo>
                      <a:pt x="57" y="109"/>
                    </a:lnTo>
                    <a:lnTo>
                      <a:pt x="60" y="110"/>
                    </a:lnTo>
                    <a:lnTo>
                      <a:pt x="63" y="113"/>
                    </a:lnTo>
                    <a:lnTo>
                      <a:pt x="66" y="114"/>
                    </a:lnTo>
                    <a:lnTo>
                      <a:pt x="68" y="113"/>
                    </a:lnTo>
                    <a:lnTo>
                      <a:pt x="71" y="115"/>
                    </a:lnTo>
                    <a:lnTo>
                      <a:pt x="74" y="114"/>
                    </a:lnTo>
                    <a:lnTo>
                      <a:pt x="75" y="112"/>
                    </a:lnTo>
                    <a:lnTo>
                      <a:pt x="79" y="111"/>
                    </a:lnTo>
                    <a:lnTo>
                      <a:pt x="86" y="111"/>
                    </a:lnTo>
                    <a:lnTo>
                      <a:pt x="93" y="114"/>
                    </a:lnTo>
                    <a:lnTo>
                      <a:pt x="92" y="113"/>
                    </a:lnTo>
                    <a:close/>
                  </a:path>
                </a:pathLst>
              </a:custGeom>
              <a:solidFill>
                <a:srgbClr val="E7E7E4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60" name="Belarus">
                <a:extLst>
                  <a:ext uri="{FF2B5EF4-FFF2-40B4-BE49-F238E27FC236}">
                    <a16:creationId xmlns:a16="http://schemas.microsoft.com/office/drawing/2014/main" id="{6197F8E0-1C44-4A47-B5A2-698A0D3C2D2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867491" y="2724316"/>
                <a:ext cx="842790" cy="660110"/>
              </a:xfrm>
              <a:custGeom>
                <a:avLst/>
                <a:gdLst>
                  <a:gd name="T0" fmla="*/ 726 w 749"/>
                  <a:gd name="T1" fmla="*/ 276 h 518"/>
                  <a:gd name="T2" fmla="*/ 721 w 749"/>
                  <a:gd name="T3" fmla="*/ 257 h 518"/>
                  <a:gd name="T4" fmla="*/ 683 w 749"/>
                  <a:gd name="T5" fmla="*/ 251 h 518"/>
                  <a:gd name="T6" fmla="*/ 678 w 749"/>
                  <a:gd name="T7" fmla="*/ 234 h 518"/>
                  <a:gd name="T8" fmla="*/ 661 w 749"/>
                  <a:gd name="T9" fmla="*/ 214 h 518"/>
                  <a:gd name="T10" fmla="*/ 630 w 749"/>
                  <a:gd name="T11" fmla="*/ 182 h 518"/>
                  <a:gd name="T12" fmla="*/ 610 w 749"/>
                  <a:gd name="T13" fmla="*/ 158 h 518"/>
                  <a:gd name="T14" fmla="*/ 606 w 749"/>
                  <a:gd name="T15" fmla="*/ 125 h 518"/>
                  <a:gd name="T16" fmla="*/ 610 w 749"/>
                  <a:gd name="T17" fmla="*/ 105 h 518"/>
                  <a:gd name="T18" fmla="*/ 604 w 749"/>
                  <a:gd name="T19" fmla="*/ 73 h 518"/>
                  <a:gd name="T20" fmla="*/ 586 w 749"/>
                  <a:gd name="T21" fmla="*/ 55 h 518"/>
                  <a:gd name="T22" fmla="*/ 555 w 749"/>
                  <a:gd name="T23" fmla="*/ 32 h 518"/>
                  <a:gd name="T24" fmla="*/ 515 w 749"/>
                  <a:gd name="T25" fmla="*/ 40 h 518"/>
                  <a:gd name="T26" fmla="*/ 486 w 749"/>
                  <a:gd name="T27" fmla="*/ 31 h 518"/>
                  <a:gd name="T28" fmla="*/ 448 w 749"/>
                  <a:gd name="T29" fmla="*/ 17 h 518"/>
                  <a:gd name="T30" fmla="*/ 412 w 749"/>
                  <a:gd name="T31" fmla="*/ 7 h 518"/>
                  <a:gd name="T32" fmla="*/ 374 w 749"/>
                  <a:gd name="T33" fmla="*/ 5 h 518"/>
                  <a:gd name="T34" fmla="*/ 337 w 749"/>
                  <a:gd name="T35" fmla="*/ 39 h 518"/>
                  <a:gd name="T36" fmla="*/ 281 w 749"/>
                  <a:gd name="T37" fmla="*/ 51 h 518"/>
                  <a:gd name="T38" fmla="*/ 264 w 749"/>
                  <a:gd name="T39" fmla="*/ 88 h 518"/>
                  <a:gd name="T40" fmla="*/ 273 w 749"/>
                  <a:gd name="T41" fmla="*/ 102 h 518"/>
                  <a:gd name="T42" fmla="*/ 241 w 749"/>
                  <a:gd name="T43" fmla="*/ 114 h 518"/>
                  <a:gd name="T44" fmla="*/ 201 w 749"/>
                  <a:gd name="T45" fmla="*/ 143 h 518"/>
                  <a:gd name="T46" fmla="*/ 191 w 749"/>
                  <a:gd name="T47" fmla="*/ 185 h 518"/>
                  <a:gd name="T48" fmla="*/ 205 w 749"/>
                  <a:gd name="T49" fmla="*/ 203 h 518"/>
                  <a:gd name="T50" fmla="*/ 182 w 749"/>
                  <a:gd name="T51" fmla="*/ 195 h 518"/>
                  <a:gd name="T52" fmla="*/ 128 w 749"/>
                  <a:gd name="T53" fmla="*/ 215 h 518"/>
                  <a:gd name="T54" fmla="*/ 108 w 749"/>
                  <a:gd name="T55" fmla="*/ 231 h 518"/>
                  <a:gd name="T56" fmla="*/ 56 w 749"/>
                  <a:gd name="T57" fmla="*/ 234 h 518"/>
                  <a:gd name="T58" fmla="*/ 26 w 749"/>
                  <a:gd name="T59" fmla="*/ 234 h 518"/>
                  <a:gd name="T60" fmla="*/ 42 w 749"/>
                  <a:gd name="T61" fmla="*/ 287 h 518"/>
                  <a:gd name="T62" fmla="*/ 58 w 749"/>
                  <a:gd name="T63" fmla="*/ 343 h 518"/>
                  <a:gd name="T64" fmla="*/ 0 w 749"/>
                  <a:gd name="T65" fmla="*/ 410 h 518"/>
                  <a:gd name="T66" fmla="*/ 25 w 749"/>
                  <a:gd name="T67" fmla="*/ 421 h 518"/>
                  <a:gd name="T68" fmla="*/ 36 w 749"/>
                  <a:gd name="T69" fmla="*/ 444 h 518"/>
                  <a:gd name="T70" fmla="*/ 30 w 749"/>
                  <a:gd name="T71" fmla="*/ 475 h 518"/>
                  <a:gd name="T72" fmla="*/ 36 w 749"/>
                  <a:gd name="T73" fmla="*/ 479 h 518"/>
                  <a:gd name="T74" fmla="*/ 93 w 749"/>
                  <a:gd name="T75" fmla="*/ 456 h 518"/>
                  <a:gd name="T76" fmla="*/ 160 w 749"/>
                  <a:gd name="T77" fmla="*/ 443 h 518"/>
                  <a:gd name="T78" fmla="*/ 220 w 749"/>
                  <a:gd name="T79" fmla="*/ 446 h 518"/>
                  <a:gd name="T80" fmla="*/ 276 w 749"/>
                  <a:gd name="T81" fmla="*/ 458 h 518"/>
                  <a:gd name="T82" fmla="*/ 320 w 749"/>
                  <a:gd name="T83" fmla="*/ 474 h 518"/>
                  <a:gd name="T84" fmla="*/ 339 w 749"/>
                  <a:gd name="T85" fmla="*/ 478 h 518"/>
                  <a:gd name="T86" fmla="*/ 356 w 749"/>
                  <a:gd name="T87" fmla="*/ 484 h 518"/>
                  <a:gd name="T88" fmla="*/ 366 w 749"/>
                  <a:gd name="T89" fmla="*/ 479 h 518"/>
                  <a:gd name="T90" fmla="*/ 399 w 749"/>
                  <a:gd name="T91" fmla="*/ 473 h 518"/>
                  <a:gd name="T92" fmla="*/ 427 w 749"/>
                  <a:gd name="T93" fmla="*/ 490 h 518"/>
                  <a:gd name="T94" fmla="*/ 455 w 749"/>
                  <a:gd name="T95" fmla="*/ 485 h 518"/>
                  <a:gd name="T96" fmla="*/ 484 w 749"/>
                  <a:gd name="T97" fmla="*/ 503 h 518"/>
                  <a:gd name="T98" fmla="*/ 517 w 749"/>
                  <a:gd name="T99" fmla="*/ 498 h 518"/>
                  <a:gd name="T100" fmla="*/ 568 w 749"/>
                  <a:gd name="T101" fmla="*/ 513 h 518"/>
                  <a:gd name="T102" fmla="*/ 582 w 749"/>
                  <a:gd name="T103" fmla="*/ 501 h 518"/>
                  <a:gd name="T104" fmla="*/ 577 w 749"/>
                  <a:gd name="T105" fmla="*/ 479 h 518"/>
                  <a:gd name="T106" fmla="*/ 585 w 749"/>
                  <a:gd name="T107" fmla="*/ 458 h 518"/>
                  <a:gd name="T108" fmla="*/ 607 w 749"/>
                  <a:gd name="T109" fmla="*/ 434 h 518"/>
                  <a:gd name="T110" fmla="*/ 666 w 749"/>
                  <a:gd name="T111" fmla="*/ 428 h 518"/>
                  <a:gd name="T112" fmla="*/ 658 w 749"/>
                  <a:gd name="T113" fmla="*/ 405 h 518"/>
                  <a:gd name="T114" fmla="*/ 659 w 749"/>
                  <a:gd name="T115" fmla="*/ 379 h 518"/>
                  <a:gd name="T116" fmla="*/ 631 w 749"/>
                  <a:gd name="T117" fmla="*/ 331 h 518"/>
                  <a:gd name="T118" fmla="*/ 660 w 749"/>
                  <a:gd name="T119" fmla="*/ 311 h 518"/>
                  <a:gd name="T120" fmla="*/ 715 w 749"/>
                  <a:gd name="T121" fmla="*/ 318 h 518"/>
                  <a:gd name="T122" fmla="*/ 746 w 749"/>
                  <a:gd name="T123" fmla="*/ 300 h 51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749"/>
                  <a:gd name="T187" fmla="*/ 0 h 518"/>
                  <a:gd name="T188" fmla="*/ 749 w 749"/>
                  <a:gd name="T189" fmla="*/ 518 h 51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749" h="518">
                    <a:moveTo>
                      <a:pt x="748" y="292"/>
                    </a:moveTo>
                    <a:lnTo>
                      <a:pt x="748" y="289"/>
                    </a:lnTo>
                    <a:lnTo>
                      <a:pt x="749" y="286"/>
                    </a:lnTo>
                    <a:lnTo>
                      <a:pt x="748" y="285"/>
                    </a:lnTo>
                    <a:lnTo>
                      <a:pt x="741" y="285"/>
                    </a:lnTo>
                    <a:lnTo>
                      <a:pt x="740" y="284"/>
                    </a:lnTo>
                    <a:lnTo>
                      <a:pt x="740" y="282"/>
                    </a:lnTo>
                    <a:lnTo>
                      <a:pt x="739" y="282"/>
                    </a:lnTo>
                    <a:lnTo>
                      <a:pt x="738" y="283"/>
                    </a:lnTo>
                    <a:lnTo>
                      <a:pt x="736" y="283"/>
                    </a:lnTo>
                    <a:lnTo>
                      <a:pt x="736" y="280"/>
                    </a:lnTo>
                    <a:lnTo>
                      <a:pt x="733" y="279"/>
                    </a:lnTo>
                    <a:lnTo>
                      <a:pt x="726" y="276"/>
                    </a:lnTo>
                    <a:lnTo>
                      <a:pt x="726" y="274"/>
                    </a:lnTo>
                    <a:lnTo>
                      <a:pt x="724" y="273"/>
                    </a:lnTo>
                    <a:lnTo>
                      <a:pt x="723" y="270"/>
                    </a:lnTo>
                    <a:lnTo>
                      <a:pt x="724" y="266"/>
                    </a:lnTo>
                    <a:lnTo>
                      <a:pt x="722" y="266"/>
                    </a:lnTo>
                    <a:lnTo>
                      <a:pt x="723" y="264"/>
                    </a:lnTo>
                    <a:lnTo>
                      <a:pt x="728" y="262"/>
                    </a:lnTo>
                    <a:lnTo>
                      <a:pt x="728" y="260"/>
                    </a:lnTo>
                    <a:lnTo>
                      <a:pt x="728" y="259"/>
                    </a:lnTo>
                    <a:lnTo>
                      <a:pt x="726" y="257"/>
                    </a:lnTo>
                    <a:lnTo>
                      <a:pt x="725" y="256"/>
                    </a:lnTo>
                    <a:lnTo>
                      <a:pt x="721" y="257"/>
                    </a:lnTo>
                    <a:lnTo>
                      <a:pt x="718" y="257"/>
                    </a:lnTo>
                    <a:lnTo>
                      <a:pt x="716" y="255"/>
                    </a:lnTo>
                    <a:lnTo>
                      <a:pt x="713" y="255"/>
                    </a:lnTo>
                    <a:lnTo>
                      <a:pt x="713" y="254"/>
                    </a:lnTo>
                    <a:lnTo>
                      <a:pt x="710" y="252"/>
                    </a:lnTo>
                    <a:lnTo>
                      <a:pt x="706" y="253"/>
                    </a:lnTo>
                    <a:lnTo>
                      <a:pt x="706" y="251"/>
                    </a:lnTo>
                    <a:lnTo>
                      <a:pt x="705" y="250"/>
                    </a:lnTo>
                    <a:lnTo>
                      <a:pt x="701" y="250"/>
                    </a:lnTo>
                    <a:lnTo>
                      <a:pt x="699" y="248"/>
                    </a:lnTo>
                    <a:lnTo>
                      <a:pt x="692" y="250"/>
                    </a:lnTo>
                    <a:lnTo>
                      <a:pt x="689" y="250"/>
                    </a:lnTo>
                    <a:lnTo>
                      <a:pt x="688" y="251"/>
                    </a:lnTo>
                    <a:lnTo>
                      <a:pt x="683" y="251"/>
                    </a:lnTo>
                    <a:lnTo>
                      <a:pt x="681" y="252"/>
                    </a:lnTo>
                    <a:lnTo>
                      <a:pt x="675" y="250"/>
                    </a:lnTo>
                    <a:lnTo>
                      <a:pt x="673" y="249"/>
                    </a:lnTo>
                    <a:lnTo>
                      <a:pt x="672" y="250"/>
                    </a:lnTo>
                    <a:lnTo>
                      <a:pt x="671" y="250"/>
                    </a:lnTo>
                    <a:lnTo>
                      <a:pt x="671" y="249"/>
                    </a:lnTo>
                    <a:lnTo>
                      <a:pt x="672" y="248"/>
                    </a:lnTo>
                    <a:lnTo>
                      <a:pt x="672" y="247"/>
                    </a:lnTo>
                    <a:lnTo>
                      <a:pt x="673" y="246"/>
                    </a:lnTo>
                    <a:lnTo>
                      <a:pt x="673" y="245"/>
                    </a:lnTo>
                    <a:lnTo>
                      <a:pt x="675" y="244"/>
                    </a:lnTo>
                    <a:lnTo>
                      <a:pt x="676" y="240"/>
                    </a:lnTo>
                    <a:lnTo>
                      <a:pt x="678" y="236"/>
                    </a:lnTo>
                    <a:lnTo>
                      <a:pt x="678" y="234"/>
                    </a:lnTo>
                    <a:lnTo>
                      <a:pt x="679" y="232"/>
                    </a:lnTo>
                    <a:lnTo>
                      <a:pt x="679" y="230"/>
                    </a:lnTo>
                    <a:lnTo>
                      <a:pt x="679" y="229"/>
                    </a:lnTo>
                    <a:lnTo>
                      <a:pt x="681" y="227"/>
                    </a:lnTo>
                    <a:lnTo>
                      <a:pt x="681" y="225"/>
                    </a:lnTo>
                    <a:lnTo>
                      <a:pt x="678" y="222"/>
                    </a:lnTo>
                    <a:lnTo>
                      <a:pt x="675" y="222"/>
                    </a:lnTo>
                    <a:lnTo>
                      <a:pt x="674" y="219"/>
                    </a:lnTo>
                    <a:lnTo>
                      <a:pt x="671" y="219"/>
                    </a:lnTo>
                    <a:lnTo>
                      <a:pt x="672" y="218"/>
                    </a:lnTo>
                    <a:lnTo>
                      <a:pt x="672" y="216"/>
                    </a:lnTo>
                    <a:lnTo>
                      <a:pt x="665" y="218"/>
                    </a:lnTo>
                    <a:lnTo>
                      <a:pt x="661" y="214"/>
                    </a:lnTo>
                    <a:lnTo>
                      <a:pt x="655" y="213"/>
                    </a:lnTo>
                    <a:lnTo>
                      <a:pt x="654" y="212"/>
                    </a:lnTo>
                    <a:lnTo>
                      <a:pt x="649" y="211"/>
                    </a:lnTo>
                    <a:lnTo>
                      <a:pt x="650" y="209"/>
                    </a:lnTo>
                    <a:lnTo>
                      <a:pt x="636" y="201"/>
                    </a:lnTo>
                    <a:lnTo>
                      <a:pt x="636" y="197"/>
                    </a:lnTo>
                    <a:lnTo>
                      <a:pt x="634" y="194"/>
                    </a:lnTo>
                    <a:lnTo>
                      <a:pt x="635" y="193"/>
                    </a:lnTo>
                    <a:lnTo>
                      <a:pt x="635" y="191"/>
                    </a:lnTo>
                    <a:lnTo>
                      <a:pt x="635" y="190"/>
                    </a:lnTo>
                    <a:lnTo>
                      <a:pt x="632" y="189"/>
                    </a:lnTo>
                    <a:lnTo>
                      <a:pt x="632" y="186"/>
                    </a:lnTo>
                    <a:lnTo>
                      <a:pt x="632" y="185"/>
                    </a:lnTo>
                    <a:lnTo>
                      <a:pt x="630" y="182"/>
                    </a:lnTo>
                    <a:lnTo>
                      <a:pt x="630" y="181"/>
                    </a:lnTo>
                    <a:lnTo>
                      <a:pt x="629" y="179"/>
                    </a:lnTo>
                    <a:lnTo>
                      <a:pt x="626" y="178"/>
                    </a:lnTo>
                    <a:lnTo>
                      <a:pt x="623" y="178"/>
                    </a:lnTo>
                    <a:lnTo>
                      <a:pt x="618" y="176"/>
                    </a:lnTo>
                    <a:lnTo>
                      <a:pt x="618" y="174"/>
                    </a:lnTo>
                    <a:lnTo>
                      <a:pt x="620" y="173"/>
                    </a:lnTo>
                    <a:lnTo>
                      <a:pt x="623" y="169"/>
                    </a:lnTo>
                    <a:lnTo>
                      <a:pt x="626" y="164"/>
                    </a:lnTo>
                    <a:lnTo>
                      <a:pt x="628" y="161"/>
                    </a:lnTo>
                    <a:lnTo>
                      <a:pt x="627" y="160"/>
                    </a:lnTo>
                    <a:lnTo>
                      <a:pt x="627" y="158"/>
                    </a:lnTo>
                    <a:lnTo>
                      <a:pt x="618" y="158"/>
                    </a:lnTo>
                    <a:lnTo>
                      <a:pt x="610" y="158"/>
                    </a:lnTo>
                    <a:lnTo>
                      <a:pt x="610" y="157"/>
                    </a:lnTo>
                    <a:lnTo>
                      <a:pt x="612" y="154"/>
                    </a:lnTo>
                    <a:lnTo>
                      <a:pt x="611" y="153"/>
                    </a:lnTo>
                    <a:lnTo>
                      <a:pt x="607" y="152"/>
                    </a:lnTo>
                    <a:lnTo>
                      <a:pt x="598" y="145"/>
                    </a:lnTo>
                    <a:lnTo>
                      <a:pt x="593" y="144"/>
                    </a:lnTo>
                    <a:lnTo>
                      <a:pt x="592" y="143"/>
                    </a:lnTo>
                    <a:lnTo>
                      <a:pt x="595" y="137"/>
                    </a:lnTo>
                    <a:lnTo>
                      <a:pt x="597" y="136"/>
                    </a:lnTo>
                    <a:lnTo>
                      <a:pt x="598" y="133"/>
                    </a:lnTo>
                    <a:lnTo>
                      <a:pt x="598" y="128"/>
                    </a:lnTo>
                    <a:lnTo>
                      <a:pt x="606" y="127"/>
                    </a:lnTo>
                    <a:lnTo>
                      <a:pt x="607" y="127"/>
                    </a:lnTo>
                    <a:lnTo>
                      <a:pt x="606" y="125"/>
                    </a:lnTo>
                    <a:lnTo>
                      <a:pt x="608" y="123"/>
                    </a:lnTo>
                    <a:lnTo>
                      <a:pt x="606" y="122"/>
                    </a:lnTo>
                    <a:lnTo>
                      <a:pt x="605" y="121"/>
                    </a:lnTo>
                    <a:lnTo>
                      <a:pt x="605" y="120"/>
                    </a:lnTo>
                    <a:lnTo>
                      <a:pt x="611" y="120"/>
                    </a:lnTo>
                    <a:lnTo>
                      <a:pt x="612" y="119"/>
                    </a:lnTo>
                    <a:lnTo>
                      <a:pt x="613" y="116"/>
                    </a:lnTo>
                    <a:lnTo>
                      <a:pt x="610" y="113"/>
                    </a:lnTo>
                    <a:lnTo>
                      <a:pt x="610" y="112"/>
                    </a:lnTo>
                    <a:lnTo>
                      <a:pt x="610" y="110"/>
                    </a:lnTo>
                    <a:lnTo>
                      <a:pt x="613" y="109"/>
                    </a:lnTo>
                    <a:lnTo>
                      <a:pt x="613" y="108"/>
                    </a:lnTo>
                    <a:lnTo>
                      <a:pt x="610" y="107"/>
                    </a:lnTo>
                    <a:lnTo>
                      <a:pt x="610" y="105"/>
                    </a:lnTo>
                    <a:lnTo>
                      <a:pt x="609" y="104"/>
                    </a:lnTo>
                    <a:lnTo>
                      <a:pt x="605" y="100"/>
                    </a:lnTo>
                    <a:lnTo>
                      <a:pt x="604" y="99"/>
                    </a:lnTo>
                    <a:lnTo>
                      <a:pt x="603" y="95"/>
                    </a:lnTo>
                    <a:lnTo>
                      <a:pt x="597" y="92"/>
                    </a:lnTo>
                    <a:lnTo>
                      <a:pt x="597" y="89"/>
                    </a:lnTo>
                    <a:lnTo>
                      <a:pt x="598" y="88"/>
                    </a:lnTo>
                    <a:lnTo>
                      <a:pt x="602" y="85"/>
                    </a:lnTo>
                    <a:lnTo>
                      <a:pt x="602" y="84"/>
                    </a:lnTo>
                    <a:lnTo>
                      <a:pt x="605" y="82"/>
                    </a:lnTo>
                    <a:lnTo>
                      <a:pt x="606" y="81"/>
                    </a:lnTo>
                    <a:lnTo>
                      <a:pt x="605" y="80"/>
                    </a:lnTo>
                    <a:lnTo>
                      <a:pt x="603" y="75"/>
                    </a:lnTo>
                    <a:lnTo>
                      <a:pt x="604" y="73"/>
                    </a:lnTo>
                    <a:lnTo>
                      <a:pt x="607" y="71"/>
                    </a:lnTo>
                    <a:lnTo>
                      <a:pt x="606" y="68"/>
                    </a:lnTo>
                    <a:lnTo>
                      <a:pt x="606" y="67"/>
                    </a:lnTo>
                    <a:lnTo>
                      <a:pt x="608" y="65"/>
                    </a:lnTo>
                    <a:lnTo>
                      <a:pt x="607" y="59"/>
                    </a:lnTo>
                    <a:lnTo>
                      <a:pt x="606" y="58"/>
                    </a:lnTo>
                    <a:lnTo>
                      <a:pt x="599" y="57"/>
                    </a:lnTo>
                    <a:lnTo>
                      <a:pt x="596" y="60"/>
                    </a:lnTo>
                    <a:lnTo>
                      <a:pt x="593" y="61"/>
                    </a:lnTo>
                    <a:lnTo>
                      <a:pt x="592" y="59"/>
                    </a:lnTo>
                    <a:lnTo>
                      <a:pt x="592" y="56"/>
                    </a:lnTo>
                    <a:lnTo>
                      <a:pt x="590" y="53"/>
                    </a:lnTo>
                    <a:lnTo>
                      <a:pt x="586" y="55"/>
                    </a:lnTo>
                    <a:lnTo>
                      <a:pt x="585" y="53"/>
                    </a:lnTo>
                    <a:lnTo>
                      <a:pt x="583" y="52"/>
                    </a:lnTo>
                    <a:lnTo>
                      <a:pt x="582" y="51"/>
                    </a:lnTo>
                    <a:lnTo>
                      <a:pt x="584" y="50"/>
                    </a:lnTo>
                    <a:lnTo>
                      <a:pt x="580" y="45"/>
                    </a:lnTo>
                    <a:lnTo>
                      <a:pt x="574" y="44"/>
                    </a:lnTo>
                    <a:lnTo>
                      <a:pt x="573" y="43"/>
                    </a:lnTo>
                    <a:lnTo>
                      <a:pt x="572" y="39"/>
                    </a:lnTo>
                    <a:lnTo>
                      <a:pt x="571" y="38"/>
                    </a:lnTo>
                    <a:lnTo>
                      <a:pt x="564" y="38"/>
                    </a:lnTo>
                    <a:lnTo>
                      <a:pt x="559" y="35"/>
                    </a:lnTo>
                    <a:lnTo>
                      <a:pt x="556" y="35"/>
                    </a:lnTo>
                    <a:lnTo>
                      <a:pt x="555" y="35"/>
                    </a:lnTo>
                    <a:lnTo>
                      <a:pt x="555" y="32"/>
                    </a:lnTo>
                    <a:lnTo>
                      <a:pt x="548" y="32"/>
                    </a:lnTo>
                    <a:lnTo>
                      <a:pt x="543" y="35"/>
                    </a:lnTo>
                    <a:lnTo>
                      <a:pt x="542" y="35"/>
                    </a:lnTo>
                    <a:lnTo>
                      <a:pt x="539" y="34"/>
                    </a:lnTo>
                    <a:lnTo>
                      <a:pt x="532" y="33"/>
                    </a:lnTo>
                    <a:lnTo>
                      <a:pt x="523" y="33"/>
                    </a:lnTo>
                    <a:lnTo>
                      <a:pt x="522" y="35"/>
                    </a:lnTo>
                    <a:lnTo>
                      <a:pt x="520" y="37"/>
                    </a:lnTo>
                    <a:lnTo>
                      <a:pt x="519" y="39"/>
                    </a:lnTo>
                    <a:lnTo>
                      <a:pt x="518" y="39"/>
                    </a:lnTo>
                    <a:lnTo>
                      <a:pt x="518" y="41"/>
                    </a:lnTo>
                    <a:lnTo>
                      <a:pt x="517" y="41"/>
                    </a:lnTo>
                    <a:lnTo>
                      <a:pt x="514" y="41"/>
                    </a:lnTo>
                    <a:lnTo>
                      <a:pt x="515" y="40"/>
                    </a:lnTo>
                    <a:lnTo>
                      <a:pt x="514" y="39"/>
                    </a:lnTo>
                    <a:lnTo>
                      <a:pt x="513" y="39"/>
                    </a:lnTo>
                    <a:lnTo>
                      <a:pt x="503" y="41"/>
                    </a:lnTo>
                    <a:lnTo>
                      <a:pt x="501" y="43"/>
                    </a:lnTo>
                    <a:lnTo>
                      <a:pt x="500" y="46"/>
                    </a:lnTo>
                    <a:lnTo>
                      <a:pt x="494" y="49"/>
                    </a:lnTo>
                    <a:lnTo>
                      <a:pt x="492" y="49"/>
                    </a:lnTo>
                    <a:lnTo>
                      <a:pt x="487" y="45"/>
                    </a:lnTo>
                    <a:lnTo>
                      <a:pt x="483" y="44"/>
                    </a:lnTo>
                    <a:lnTo>
                      <a:pt x="483" y="42"/>
                    </a:lnTo>
                    <a:lnTo>
                      <a:pt x="483" y="39"/>
                    </a:lnTo>
                    <a:lnTo>
                      <a:pt x="485" y="36"/>
                    </a:lnTo>
                    <a:lnTo>
                      <a:pt x="485" y="32"/>
                    </a:lnTo>
                    <a:lnTo>
                      <a:pt x="486" y="31"/>
                    </a:lnTo>
                    <a:lnTo>
                      <a:pt x="487" y="29"/>
                    </a:lnTo>
                    <a:lnTo>
                      <a:pt x="491" y="27"/>
                    </a:lnTo>
                    <a:lnTo>
                      <a:pt x="492" y="25"/>
                    </a:lnTo>
                    <a:lnTo>
                      <a:pt x="489" y="24"/>
                    </a:lnTo>
                    <a:lnTo>
                      <a:pt x="489" y="22"/>
                    </a:lnTo>
                    <a:lnTo>
                      <a:pt x="481" y="20"/>
                    </a:lnTo>
                    <a:lnTo>
                      <a:pt x="478" y="19"/>
                    </a:lnTo>
                    <a:lnTo>
                      <a:pt x="472" y="19"/>
                    </a:lnTo>
                    <a:lnTo>
                      <a:pt x="470" y="17"/>
                    </a:lnTo>
                    <a:lnTo>
                      <a:pt x="462" y="12"/>
                    </a:lnTo>
                    <a:lnTo>
                      <a:pt x="461" y="13"/>
                    </a:lnTo>
                    <a:lnTo>
                      <a:pt x="458" y="12"/>
                    </a:lnTo>
                    <a:lnTo>
                      <a:pt x="455" y="13"/>
                    </a:lnTo>
                    <a:lnTo>
                      <a:pt x="448" y="17"/>
                    </a:lnTo>
                    <a:lnTo>
                      <a:pt x="444" y="20"/>
                    </a:lnTo>
                    <a:lnTo>
                      <a:pt x="443" y="21"/>
                    </a:lnTo>
                    <a:lnTo>
                      <a:pt x="443" y="22"/>
                    </a:lnTo>
                    <a:lnTo>
                      <a:pt x="442" y="22"/>
                    </a:lnTo>
                    <a:lnTo>
                      <a:pt x="434" y="21"/>
                    </a:lnTo>
                    <a:lnTo>
                      <a:pt x="432" y="19"/>
                    </a:lnTo>
                    <a:lnTo>
                      <a:pt x="432" y="17"/>
                    </a:lnTo>
                    <a:lnTo>
                      <a:pt x="432" y="15"/>
                    </a:lnTo>
                    <a:lnTo>
                      <a:pt x="429" y="12"/>
                    </a:lnTo>
                    <a:lnTo>
                      <a:pt x="428" y="10"/>
                    </a:lnTo>
                    <a:lnTo>
                      <a:pt x="429" y="8"/>
                    </a:lnTo>
                    <a:lnTo>
                      <a:pt x="428" y="7"/>
                    </a:lnTo>
                    <a:lnTo>
                      <a:pt x="420" y="6"/>
                    </a:lnTo>
                    <a:lnTo>
                      <a:pt x="412" y="7"/>
                    </a:lnTo>
                    <a:lnTo>
                      <a:pt x="405" y="12"/>
                    </a:lnTo>
                    <a:lnTo>
                      <a:pt x="398" y="10"/>
                    </a:lnTo>
                    <a:lnTo>
                      <a:pt x="398" y="8"/>
                    </a:lnTo>
                    <a:lnTo>
                      <a:pt x="397" y="8"/>
                    </a:lnTo>
                    <a:lnTo>
                      <a:pt x="396" y="7"/>
                    </a:lnTo>
                    <a:lnTo>
                      <a:pt x="395" y="4"/>
                    </a:lnTo>
                    <a:lnTo>
                      <a:pt x="390" y="2"/>
                    </a:lnTo>
                    <a:lnTo>
                      <a:pt x="388" y="0"/>
                    </a:lnTo>
                    <a:lnTo>
                      <a:pt x="385" y="1"/>
                    </a:lnTo>
                    <a:lnTo>
                      <a:pt x="383" y="3"/>
                    </a:lnTo>
                    <a:lnTo>
                      <a:pt x="380" y="4"/>
                    </a:lnTo>
                    <a:lnTo>
                      <a:pt x="379" y="5"/>
                    </a:lnTo>
                    <a:lnTo>
                      <a:pt x="377" y="4"/>
                    </a:lnTo>
                    <a:lnTo>
                      <a:pt x="374" y="5"/>
                    </a:lnTo>
                    <a:lnTo>
                      <a:pt x="371" y="11"/>
                    </a:lnTo>
                    <a:lnTo>
                      <a:pt x="365" y="13"/>
                    </a:lnTo>
                    <a:lnTo>
                      <a:pt x="361" y="14"/>
                    </a:lnTo>
                    <a:lnTo>
                      <a:pt x="362" y="15"/>
                    </a:lnTo>
                    <a:lnTo>
                      <a:pt x="361" y="17"/>
                    </a:lnTo>
                    <a:lnTo>
                      <a:pt x="362" y="17"/>
                    </a:lnTo>
                    <a:lnTo>
                      <a:pt x="361" y="19"/>
                    </a:lnTo>
                    <a:lnTo>
                      <a:pt x="357" y="20"/>
                    </a:lnTo>
                    <a:lnTo>
                      <a:pt x="350" y="25"/>
                    </a:lnTo>
                    <a:lnTo>
                      <a:pt x="349" y="27"/>
                    </a:lnTo>
                    <a:lnTo>
                      <a:pt x="347" y="29"/>
                    </a:lnTo>
                    <a:lnTo>
                      <a:pt x="348" y="35"/>
                    </a:lnTo>
                    <a:lnTo>
                      <a:pt x="346" y="39"/>
                    </a:lnTo>
                    <a:lnTo>
                      <a:pt x="337" y="39"/>
                    </a:lnTo>
                    <a:lnTo>
                      <a:pt x="330" y="38"/>
                    </a:lnTo>
                    <a:lnTo>
                      <a:pt x="327" y="37"/>
                    </a:lnTo>
                    <a:lnTo>
                      <a:pt x="326" y="38"/>
                    </a:lnTo>
                    <a:lnTo>
                      <a:pt x="322" y="39"/>
                    </a:lnTo>
                    <a:lnTo>
                      <a:pt x="318" y="38"/>
                    </a:lnTo>
                    <a:lnTo>
                      <a:pt x="312" y="33"/>
                    </a:lnTo>
                    <a:lnTo>
                      <a:pt x="308" y="33"/>
                    </a:lnTo>
                    <a:lnTo>
                      <a:pt x="305" y="35"/>
                    </a:lnTo>
                    <a:lnTo>
                      <a:pt x="299" y="35"/>
                    </a:lnTo>
                    <a:lnTo>
                      <a:pt x="292" y="41"/>
                    </a:lnTo>
                    <a:lnTo>
                      <a:pt x="289" y="47"/>
                    </a:lnTo>
                    <a:lnTo>
                      <a:pt x="287" y="49"/>
                    </a:lnTo>
                    <a:lnTo>
                      <a:pt x="281" y="51"/>
                    </a:lnTo>
                    <a:lnTo>
                      <a:pt x="272" y="49"/>
                    </a:lnTo>
                    <a:lnTo>
                      <a:pt x="271" y="50"/>
                    </a:lnTo>
                    <a:lnTo>
                      <a:pt x="268" y="52"/>
                    </a:lnTo>
                    <a:lnTo>
                      <a:pt x="269" y="53"/>
                    </a:lnTo>
                    <a:lnTo>
                      <a:pt x="269" y="58"/>
                    </a:lnTo>
                    <a:lnTo>
                      <a:pt x="269" y="62"/>
                    </a:lnTo>
                    <a:lnTo>
                      <a:pt x="265" y="67"/>
                    </a:lnTo>
                    <a:lnTo>
                      <a:pt x="260" y="68"/>
                    </a:lnTo>
                    <a:lnTo>
                      <a:pt x="260" y="69"/>
                    </a:lnTo>
                    <a:lnTo>
                      <a:pt x="262" y="69"/>
                    </a:lnTo>
                    <a:lnTo>
                      <a:pt x="263" y="71"/>
                    </a:lnTo>
                    <a:lnTo>
                      <a:pt x="264" y="82"/>
                    </a:lnTo>
                    <a:lnTo>
                      <a:pt x="255" y="86"/>
                    </a:lnTo>
                    <a:lnTo>
                      <a:pt x="264" y="88"/>
                    </a:lnTo>
                    <a:lnTo>
                      <a:pt x="266" y="88"/>
                    </a:lnTo>
                    <a:lnTo>
                      <a:pt x="266" y="89"/>
                    </a:lnTo>
                    <a:lnTo>
                      <a:pt x="269" y="88"/>
                    </a:lnTo>
                    <a:lnTo>
                      <a:pt x="272" y="88"/>
                    </a:lnTo>
                    <a:lnTo>
                      <a:pt x="272" y="87"/>
                    </a:lnTo>
                    <a:lnTo>
                      <a:pt x="277" y="89"/>
                    </a:lnTo>
                    <a:lnTo>
                      <a:pt x="282" y="88"/>
                    </a:lnTo>
                    <a:lnTo>
                      <a:pt x="286" y="90"/>
                    </a:lnTo>
                    <a:lnTo>
                      <a:pt x="288" y="93"/>
                    </a:lnTo>
                    <a:lnTo>
                      <a:pt x="278" y="96"/>
                    </a:lnTo>
                    <a:lnTo>
                      <a:pt x="277" y="98"/>
                    </a:lnTo>
                    <a:lnTo>
                      <a:pt x="276" y="100"/>
                    </a:lnTo>
                    <a:lnTo>
                      <a:pt x="273" y="102"/>
                    </a:lnTo>
                    <a:lnTo>
                      <a:pt x="274" y="106"/>
                    </a:lnTo>
                    <a:lnTo>
                      <a:pt x="273" y="107"/>
                    </a:lnTo>
                    <a:lnTo>
                      <a:pt x="268" y="108"/>
                    </a:lnTo>
                    <a:lnTo>
                      <a:pt x="267" y="108"/>
                    </a:lnTo>
                    <a:lnTo>
                      <a:pt x="263" y="108"/>
                    </a:lnTo>
                    <a:lnTo>
                      <a:pt x="261" y="106"/>
                    </a:lnTo>
                    <a:lnTo>
                      <a:pt x="259" y="107"/>
                    </a:lnTo>
                    <a:lnTo>
                      <a:pt x="257" y="110"/>
                    </a:lnTo>
                    <a:lnTo>
                      <a:pt x="254" y="108"/>
                    </a:lnTo>
                    <a:lnTo>
                      <a:pt x="249" y="107"/>
                    </a:lnTo>
                    <a:lnTo>
                      <a:pt x="245" y="108"/>
                    </a:lnTo>
                    <a:lnTo>
                      <a:pt x="240" y="112"/>
                    </a:lnTo>
                    <a:lnTo>
                      <a:pt x="241" y="114"/>
                    </a:lnTo>
                    <a:lnTo>
                      <a:pt x="241" y="115"/>
                    </a:lnTo>
                    <a:lnTo>
                      <a:pt x="240" y="116"/>
                    </a:lnTo>
                    <a:lnTo>
                      <a:pt x="240" y="119"/>
                    </a:lnTo>
                    <a:lnTo>
                      <a:pt x="237" y="123"/>
                    </a:lnTo>
                    <a:lnTo>
                      <a:pt x="234" y="124"/>
                    </a:lnTo>
                    <a:lnTo>
                      <a:pt x="228" y="126"/>
                    </a:lnTo>
                    <a:lnTo>
                      <a:pt x="226" y="130"/>
                    </a:lnTo>
                    <a:lnTo>
                      <a:pt x="223" y="130"/>
                    </a:lnTo>
                    <a:lnTo>
                      <a:pt x="218" y="127"/>
                    </a:lnTo>
                    <a:lnTo>
                      <a:pt x="218" y="128"/>
                    </a:lnTo>
                    <a:lnTo>
                      <a:pt x="210" y="131"/>
                    </a:lnTo>
                    <a:lnTo>
                      <a:pt x="209" y="132"/>
                    </a:lnTo>
                    <a:lnTo>
                      <a:pt x="208" y="134"/>
                    </a:lnTo>
                    <a:lnTo>
                      <a:pt x="201" y="143"/>
                    </a:lnTo>
                    <a:lnTo>
                      <a:pt x="200" y="147"/>
                    </a:lnTo>
                    <a:lnTo>
                      <a:pt x="201" y="150"/>
                    </a:lnTo>
                    <a:lnTo>
                      <a:pt x="201" y="152"/>
                    </a:lnTo>
                    <a:lnTo>
                      <a:pt x="200" y="155"/>
                    </a:lnTo>
                    <a:lnTo>
                      <a:pt x="199" y="157"/>
                    </a:lnTo>
                    <a:lnTo>
                      <a:pt x="201" y="166"/>
                    </a:lnTo>
                    <a:lnTo>
                      <a:pt x="200" y="169"/>
                    </a:lnTo>
                    <a:lnTo>
                      <a:pt x="198" y="171"/>
                    </a:lnTo>
                    <a:lnTo>
                      <a:pt x="195" y="173"/>
                    </a:lnTo>
                    <a:lnTo>
                      <a:pt x="191" y="179"/>
                    </a:lnTo>
                    <a:lnTo>
                      <a:pt x="190" y="181"/>
                    </a:lnTo>
                    <a:lnTo>
                      <a:pt x="192" y="182"/>
                    </a:lnTo>
                    <a:lnTo>
                      <a:pt x="191" y="184"/>
                    </a:lnTo>
                    <a:lnTo>
                      <a:pt x="191" y="185"/>
                    </a:lnTo>
                    <a:lnTo>
                      <a:pt x="189" y="185"/>
                    </a:lnTo>
                    <a:lnTo>
                      <a:pt x="189" y="187"/>
                    </a:lnTo>
                    <a:lnTo>
                      <a:pt x="188" y="189"/>
                    </a:lnTo>
                    <a:lnTo>
                      <a:pt x="186" y="191"/>
                    </a:lnTo>
                    <a:lnTo>
                      <a:pt x="185" y="192"/>
                    </a:lnTo>
                    <a:lnTo>
                      <a:pt x="185" y="193"/>
                    </a:lnTo>
                    <a:lnTo>
                      <a:pt x="188" y="195"/>
                    </a:lnTo>
                    <a:lnTo>
                      <a:pt x="196" y="195"/>
                    </a:lnTo>
                    <a:lnTo>
                      <a:pt x="197" y="195"/>
                    </a:lnTo>
                    <a:lnTo>
                      <a:pt x="199" y="199"/>
                    </a:lnTo>
                    <a:lnTo>
                      <a:pt x="201" y="200"/>
                    </a:lnTo>
                    <a:lnTo>
                      <a:pt x="202" y="202"/>
                    </a:lnTo>
                    <a:lnTo>
                      <a:pt x="205" y="203"/>
                    </a:lnTo>
                    <a:lnTo>
                      <a:pt x="203" y="205"/>
                    </a:lnTo>
                    <a:lnTo>
                      <a:pt x="204" y="207"/>
                    </a:lnTo>
                    <a:lnTo>
                      <a:pt x="204" y="211"/>
                    </a:lnTo>
                    <a:lnTo>
                      <a:pt x="200" y="211"/>
                    </a:lnTo>
                    <a:lnTo>
                      <a:pt x="193" y="214"/>
                    </a:lnTo>
                    <a:lnTo>
                      <a:pt x="191" y="213"/>
                    </a:lnTo>
                    <a:lnTo>
                      <a:pt x="184" y="212"/>
                    </a:lnTo>
                    <a:lnTo>
                      <a:pt x="182" y="209"/>
                    </a:lnTo>
                    <a:lnTo>
                      <a:pt x="187" y="207"/>
                    </a:lnTo>
                    <a:lnTo>
                      <a:pt x="187" y="204"/>
                    </a:lnTo>
                    <a:lnTo>
                      <a:pt x="188" y="203"/>
                    </a:lnTo>
                    <a:lnTo>
                      <a:pt x="185" y="199"/>
                    </a:lnTo>
                    <a:lnTo>
                      <a:pt x="183" y="197"/>
                    </a:lnTo>
                    <a:lnTo>
                      <a:pt x="182" y="195"/>
                    </a:lnTo>
                    <a:lnTo>
                      <a:pt x="181" y="195"/>
                    </a:lnTo>
                    <a:lnTo>
                      <a:pt x="180" y="197"/>
                    </a:lnTo>
                    <a:lnTo>
                      <a:pt x="177" y="197"/>
                    </a:lnTo>
                    <a:lnTo>
                      <a:pt x="171" y="199"/>
                    </a:lnTo>
                    <a:lnTo>
                      <a:pt x="165" y="199"/>
                    </a:lnTo>
                    <a:lnTo>
                      <a:pt x="160" y="201"/>
                    </a:lnTo>
                    <a:lnTo>
                      <a:pt x="154" y="209"/>
                    </a:lnTo>
                    <a:lnTo>
                      <a:pt x="148" y="213"/>
                    </a:lnTo>
                    <a:lnTo>
                      <a:pt x="146" y="214"/>
                    </a:lnTo>
                    <a:lnTo>
                      <a:pt x="142" y="213"/>
                    </a:lnTo>
                    <a:lnTo>
                      <a:pt x="139" y="211"/>
                    </a:lnTo>
                    <a:lnTo>
                      <a:pt x="138" y="211"/>
                    </a:lnTo>
                    <a:lnTo>
                      <a:pt x="133" y="214"/>
                    </a:lnTo>
                    <a:lnTo>
                      <a:pt x="128" y="215"/>
                    </a:lnTo>
                    <a:lnTo>
                      <a:pt x="126" y="220"/>
                    </a:lnTo>
                    <a:lnTo>
                      <a:pt x="129" y="224"/>
                    </a:lnTo>
                    <a:lnTo>
                      <a:pt x="129" y="227"/>
                    </a:lnTo>
                    <a:lnTo>
                      <a:pt x="129" y="230"/>
                    </a:lnTo>
                    <a:lnTo>
                      <a:pt x="124" y="233"/>
                    </a:lnTo>
                    <a:lnTo>
                      <a:pt x="121" y="232"/>
                    </a:lnTo>
                    <a:lnTo>
                      <a:pt x="119" y="233"/>
                    </a:lnTo>
                    <a:lnTo>
                      <a:pt x="118" y="233"/>
                    </a:lnTo>
                    <a:lnTo>
                      <a:pt x="120" y="230"/>
                    </a:lnTo>
                    <a:lnTo>
                      <a:pt x="120" y="228"/>
                    </a:lnTo>
                    <a:lnTo>
                      <a:pt x="119" y="227"/>
                    </a:lnTo>
                    <a:lnTo>
                      <a:pt x="117" y="227"/>
                    </a:lnTo>
                    <a:lnTo>
                      <a:pt x="113" y="228"/>
                    </a:lnTo>
                    <a:lnTo>
                      <a:pt x="108" y="231"/>
                    </a:lnTo>
                    <a:lnTo>
                      <a:pt x="98" y="238"/>
                    </a:lnTo>
                    <a:lnTo>
                      <a:pt x="94" y="238"/>
                    </a:lnTo>
                    <a:lnTo>
                      <a:pt x="83" y="237"/>
                    </a:lnTo>
                    <a:lnTo>
                      <a:pt x="80" y="236"/>
                    </a:lnTo>
                    <a:lnTo>
                      <a:pt x="78" y="233"/>
                    </a:lnTo>
                    <a:lnTo>
                      <a:pt x="76" y="233"/>
                    </a:lnTo>
                    <a:lnTo>
                      <a:pt x="74" y="233"/>
                    </a:lnTo>
                    <a:lnTo>
                      <a:pt x="71" y="235"/>
                    </a:lnTo>
                    <a:lnTo>
                      <a:pt x="66" y="235"/>
                    </a:lnTo>
                    <a:lnTo>
                      <a:pt x="63" y="235"/>
                    </a:lnTo>
                    <a:lnTo>
                      <a:pt x="58" y="232"/>
                    </a:lnTo>
                    <a:lnTo>
                      <a:pt x="57" y="232"/>
                    </a:lnTo>
                    <a:lnTo>
                      <a:pt x="56" y="234"/>
                    </a:lnTo>
                    <a:lnTo>
                      <a:pt x="53" y="234"/>
                    </a:lnTo>
                    <a:lnTo>
                      <a:pt x="52" y="233"/>
                    </a:lnTo>
                    <a:lnTo>
                      <a:pt x="49" y="236"/>
                    </a:lnTo>
                    <a:lnTo>
                      <a:pt x="50" y="237"/>
                    </a:lnTo>
                    <a:lnTo>
                      <a:pt x="50" y="238"/>
                    </a:lnTo>
                    <a:lnTo>
                      <a:pt x="47" y="239"/>
                    </a:lnTo>
                    <a:lnTo>
                      <a:pt x="46" y="236"/>
                    </a:lnTo>
                    <a:lnTo>
                      <a:pt x="44" y="236"/>
                    </a:lnTo>
                    <a:lnTo>
                      <a:pt x="39" y="236"/>
                    </a:lnTo>
                    <a:lnTo>
                      <a:pt x="35" y="237"/>
                    </a:lnTo>
                    <a:lnTo>
                      <a:pt x="34" y="237"/>
                    </a:lnTo>
                    <a:lnTo>
                      <a:pt x="33" y="236"/>
                    </a:lnTo>
                    <a:lnTo>
                      <a:pt x="31" y="235"/>
                    </a:lnTo>
                    <a:lnTo>
                      <a:pt x="26" y="234"/>
                    </a:lnTo>
                    <a:lnTo>
                      <a:pt x="27" y="240"/>
                    </a:lnTo>
                    <a:lnTo>
                      <a:pt x="29" y="244"/>
                    </a:lnTo>
                    <a:lnTo>
                      <a:pt x="29" y="248"/>
                    </a:lnTo>
                    <a:lnTo>
                      <a:pt x="29" y="250"/>
                    </a:lnTo>
                    <a:lnTo>
                      <a:pt x="32" y="255"/>
                    </a:lnTo>
                    <a:lnTo>
                      <a:pt x="32" y="257"/>
                    </a:lnTo>
                    <a:lnTo>
                      <a:pt x="32" y="259"/>
                    </a:lnTo>
                    <a:lnTo>
                      <a:pt x="33" y="261"/>
                    </a:lnTo>
                    <a:lnTo>
                      <a:pt x="33" y="262"/>
                    </a:lnTo>
                    <a:lnTo>
                      <a:pt x="39" y="281"/>
                    </a:lnTo>
                    <a:lnTo>
                      <a:pt x="42" y="287"/>
                    </a:lnTo>
                    <a:lnTo>
                      <a:pt x="44" y="291"/>
                    </a:lnTo>
                    <a:lnTo>
                      <a:pt x="50" y="307"/>
                    </a:lnTo>
                    <a:lnTo>
                      <a:pt x="53" y="310"/>
                    </a:lnTo>
                    <a:lnTo>
                      <a:pt x="53" y="313"/>
                    </a:lnTo>
                    <a:lnTo>
                      <a:pt x="58" y="316"/>
                    </a:lnTo>
                    <a:lnTo>
                      <a:pt x="58" y="317"/>
                    </a:lnTo>
                    <a:lnTo>
                      <a:pt x="58" y="319"/>
                    </a:lnTo>
                    <a:lnTo>
                      <a:pt x="55" y="323"/>
                    </a:lnTo>
                    <a:lnTo>
                      <a:pt x="55" y="326"/>
                    </a:lnTo>
                    <a:lnTo>
                      <a:pt x="55" y="327"/>
                    </a:lnTo>
                    <a:lnTo>
                      <a:pt x="59" y="333"/>
                    </a:lnTo>
                    <a:lnTo>
                      <a:pt x="59" y="336"/>
                    </a:lnTo>
                    <a:lnTo>
                      <a:pt x="60" y="338"/>
                    </a:lnTo>
                    <a:lnTo>
                      <a:pt x="58" y="343"/>
                    </a:lnTo>
                    <a:lnTo>
                      <a:pt x="59" y="345"/>
                    </a:lnTo>
                    <a:lnTo>
                      <a:pt x="59" y="351"/>
                    </a:lnTo>
                    <a:lnTo>
                      <a:pt x="60" y="356"/>
                    </a:lnTo>
                    <a:lnTo>
                      <a:pt x="60" y="363"/>
                    </a:lnTo>
                    <a:lnTo>
                      <a:pt x="58" y="366"/>
                    </a:lnTo>
                    <a:lnTo>
                      <a:pt x="46" y="375"/>
                    </a:lnTo>
                    <a:lnTo>
                      <a:pt x="40" y="374"/>
                    </a:lnTo>
                    <a:lnTo>
                      <a:pt x="33" y="377"/>
                    </a:lnTo>
                    <a:lnTo>
                      <a:pt x="26" y="379"/>
                    </a:lnTo>
                    <a:lnTo>
                      <a:pt x="19" y="384"/>
                    </a:lnTo>
                    <a:lnTo>
                      <a:pt x="13" y="391"/>
                    </a:lnTo>
                    <a:lnTo>
                      <a:pt x="11" y="395"/>
                    </a:lnTo>
                    <a:lnTo>
                      <a:pt x="5" y="400"/>
                    </a:lnTo>
                    <a:lnTo>
                      <a:pt x="0" y="410"/>
                    </a:lnTo>
                    <a:lnTo>
                      <a:pt x="1" y="410"/>
                    </a:lnTo>
                    <a:lnTo>
                      <a:pt x="2" y="414"/>
                    </a:lnTo>
                    <a:lnTo>
                      <a:pt x="1" y="415"/>
                    </a:lnTo>
                    <a:lnTo>
                      <a:pt x="2" y="416"/>
                    </a:lnTo>
                    <a:lnTo>
                      <a:pt x="7" y="416"/>
                    </a:lnTo>
                    <a:lnTo>
                      <a:pt x="9" y="416"/>
                    </a:lnTo>
                    <a:lnTo>
                      <a:pt x="10" y="418"/>
                    </a:lnTo>
                    <a:lnTo>
                      <a:pt x="17" y="419"/>
                    </a:lnTo>
                    <a:lnTo>
                      <a:pt x="17" y="420"/>
                    </a:lnTo>
                    <a:lnTo>
                      <a:pt x="19" y="420"/>
                    </a:lnTo>
                    <a:lnTo>
                      <a:pt x="20" y="422"/>
                    </a:lnTo>
                    <a:lnTo>
                      <a:pt x="21" y="420"/>
                    </a:lnTo>
                    <a:lnTo>
                      <a:pt x="23" y="422"/>
                    </a:lnTo>
                    <a:lnTo>
                      <a:pt x="25" y="421"/>
                    </a:lnTo>
                    <a:lnTo>
                      <a:pt x="25" y="422"/>
                    </a:lnTo>
                    <a:lnTo>
                      <a:pt x="24" y="423"/>
                    </a:lnTo>
                    <a:lnTo>
                      <a:pt x="24" y="424"/>
                    </a:lnTo>
                    <a:lnTo>
                      <a:pt x="26" y="424"/>
                    </a:lnTo>
                    <a:lnTo>
                      <a:pt x="27" y="426"/>
                    </a:lnTo>
                    <a:lnTo>
                      <a:pt x="29" y="428"/>
                    </a:lnTo>
                    <a:lnTo>
                      <a:pt x="33" y="428"/>
                    </a:lnTo>
                    <a:lnTo>
                      <a:pt x="35" y="430"/>
                    </a:lnTo>
                    <a:lnTo>
                      <a:pt x="37" y="431"/>
                    </a:lnTo>
                    <a:lnTo>
                      <a:pt x="37" y="434"/>
                    </a:lnTo>
                    <a:lnTo>
                      <a:pt x="38" y="435"/>
                    </a:lnTo>
                    <a:lnTo>
                      <a:pt x="37" y="436"/>
                    </a:lnTo>
                    <a:lnTo>
                      <a:pt x="39" y="440"/>
                    </a:lnTo>
                    <a:lnTo>
                      <a:pt x="36" y="444"/>
                    </a:lnTo>
                    <a:lnTo>
                      <a:pt x="36" y="446"/>
                    </a:lnTo>
                    <a:lnTo>
                      <a:pt x="34" y="448"/>
                    </a:lnTo>
                    <a:lnTo>
                      <a:pt x="36" y="450"/>
                    </a:lnTo>
                    <a:lnTo>
                      <a:pt x="35" y="452"/>
                    </a:lnTo>
                    <a:lnTo>
                      <a:pt x="34" y="453"/>
                    </a:lnTo>
                    <a:lnTo>
                      <a:pt x="34" y="455"/>
                    </a:lnTo>
                    <a:lnTo>
                      <a:pt x="33" y="457"/>
                    </a:lnTo>
                    <a:lnTo>
                      <a:pt x="36" y="460"/>
                    </a:lnTo>
                    <a:lnTo>
                      <a:pt x="35" y="463"/>
                    </a:lnTo>
                    <a:lnTo>
                      <a:pt x="30" y="466"/>
                    </a:lnTo>
                    <a:lnTo>
                      <a:pt x="29" y="470"/>
                    </a:lnTo>
                    <a:lnTo>
                      <a:pt x="30" y="472"/>
                    </a:lnTo>
                    <a:lnTo>
                      <a:pt x="29" y="473"/>
                    </a:lnTo>
                    <a:lnTo>
                      <a:pt x="30" y="475"/>
                    </a:lnTo>
                    <a:lnTo>
                      <a:pt x="28" y="476"/>
                    </a:lnTo>
                    <a:lnTo>
                      <a:pt x="29" y="477"/>
                    </a:lnTo>
                    <a:lnTo>
                      <a:pt x="29" y="483"/>
                    </a:lnTo>
                    <a:lnTo>
                      <a:pt x="31" y="486"/>
                    </a:lnTo>
                    <a:lnTo>
                      <a:pt x="30" y="487"/>
                    </a:lnTo>
                    <a:lnTo>
                      <a:pt x="31" y="489"/>
                    </a:lnTo>
                    <a:lnTo>
                      <a:pt x="34" y="489"/>
                    </a:lnTo>
                    <a:lnTo>
                      <a:pt x="35" y="492"/>
                    </a:lnTo>
                    <a:lnTo>
                      <a:pt x="38" y="492"/>
                    </a:lnTo>
                    <a:lnTo>
                      <a:pt x="39" y="491"/>
                    </a:lnTo>
                    <a:lnTo>
                      <a:pt x="40" y="489"/>
                    </a:lnTo>
                    <a:lnTo>
                      <a:pt x="36" y="485"/>
                    </a:lnTo>
                    <a:lnTo>
                      <a:pt x="37" y="482"/>
                    </a:lnTo>
                    <a:lnTo>
                      <a:pt x="36" y="479"/>
                    </a:lnTo>
                    <a:lnTo>
                      <a:pt x="43" y="475"/>
                    </a:lnTo>
                    <a:lnTo>
                      <a:pt x="46" y="475"/>
                    </a:lnTo>
                    <a:lnTo>
                      <a:pt x="50" y="478"/>
                    </a:lnTo>
                    <a:lnTo>
                      <a:pt x="53" y="477"/>
                    </a:lnTo>
                    <a:lnTo>
                      <a:pt x="56" y="477"/>
                    </a:lnTo>
                    <a:lnTo>
                      <a:pt x="58" y="478"/>
                    </a:lnTo>
                    <a:lnTo>
                      <a:pt x="58" y="480"/>
                    </a:lnTo>
                    <a:lnTo>
                      <a:pt x="58" y="482"/>
                    </a:lnTo>
                    <a:lnTo>
                      <a:pt x="66" y="484"/>
                    </a:lnTo>
                    <a:lnTo>
                      <a:pt x="68" y="484"/>
                    </a:lnTo>
                    <a:lnTo>
                      <a:pt x="86" y="471"/>
                    </a:lnTo>
                    <a:lnTo>
                      <a:pt x="91" y="465"/>
                    </a:lnTo>
                    <a:lnTo>
                      <a:pt x="92" y="462"/>
                    </a:lnTo>
                    <a:lnTo>
                      <a:pt x="93" y="456"/>
                    </a:lnTo>
                    <a:lnTo>
                      <a:pt x="93" y="451"/>
                    </a:lnTo>
                    <a:lnTo>
                      <a:pt x="94" y="449"/>
                    </a:lnTo>
                    <a:lnTo>
                      <a:pt x="97" y="447"/>
                    </a:lnTo>
                    <a:lnTo>
                      <a:pt x="105" y="447"/>
                    </a:lnTo>
                    <a:lnTo>
                      <a:pt x="114" y="448"/>
                    </a:lnTo>
                    <a:lnTo>
                      <a:pt x="119" y="450"/>
                    </a:lnTo>
                    <a:lnTo>
                      <a:pt x="122" y="450"/>
                    </a:lnTo>
                    <a:lnTo>
                      <a:pt x="124" y="448"/>
                    </a:lnTo>
                    <a:lnTo>
                      <a:pt x="126" y="448"/>
                    </a:lnTo>
                    <a:lnTo>
                      <a:pt x="142" y="448"/>
                    </a:lnTo>
                    <a:lnTo>
                      <a:pt x="144" y="448"/>
                    </a:lnTo>
                    <a:lnTo>
                      <a:pt x="153" y="443"/>
                    </a:lnTo>
                    <a:lnTo>
                      <a:pt x="156" y="442"/>
                    </a:lnTo>
                    <a:lnTo>
                      <a:pt x="160" y="443"/>
                    </a:lnTo>
                    <a:lnTo>
                      <a:pt x="165" y="442"/>
                    </a:lnTo>
                    <a:lnTo>
                      <a:pt x="173" y="447"/>
                    </a:lnTo>
                    <a:lnTo>
                      <a:pt x="176" y="448"/>
                    </a:lnTo>
                    <a:lnTo>
                      <a:pt x="182" y="446"/>
                    </a:lnTo>
                    <a:lnTo>
                      <a:pt x="195" y="448"/>
                    </a:lnTo>
                    <a:lnTo>
                      <a:pt x="202" y="447"/>
                    </a:lnTo>
                    <a:lnTo>
                      <a:pt x="203" y="445"/>
                    </a:lnTo>
                    <a:lnTo>
                      <a:pt x="205" y="444"/>
                    </a:lnTo>
                    <a:lnTo>
                      <a:pt x="207" y="446"/>
                    </a:lnTo>
                    <a:lnTo>
                      <a:pt x="212" y="448"/>
                    </a:lnTo>
                    <a:lnTo>
                      <a:pt x="214" y="447"/>
                    </a:lnTo>
                    <a:lnTo>
                      <a:pt x="217" y="448"/>
                    </a:lnTo>
                    <a:lnTo>
                      <a:pt x="219" y="448"/>
                    </a:lnTo>
                    <a:lnTo>
                      <a:pt x="220" y="446"/>
                    </a:lnTo>
                    <a:lnTo>
                      <a:pt x="224" y="448"/>
                    </a:lnTo>
                    <a:lnTo>
                      <a:pt x="227" y="447"/>
                    </a:lnTo>
                    <a:lnTo>
                      <a:pt x="231" y="450"/>
                    </a:lnTo>
                    <a:lnTo>
                      <a:pt x="234" y="450"/>
                    </a:lnTo>
                    <a:lnTo>
                      <a:pt x="235" y="452"/>
                    </a:lnTo>
                    <a:lnTo>
                      <a:pt x="241" y="453"/>
                    </a:lnTo>
                    <a:lnTo>
                      <a:pt x="243" y="452"/>
                    </a:lnTo>
                    <a:lnTo>
                      <a:pt x="247" y="454"/>
                    </a:lnTo>
                    <a:lnTo>
                      <a:pt x="249" y="454"/>
                    </a:lnTo>
                    <a:lnTo>
                      <a:pt x="252" y="453"/>
                    </a:lnTo>
                    <a:lnTo>
                      <a:pt x="258" y="460"/>
                    </a:lnTo>
                    <a:lnTo>
                      <a:pt x="260" y="460"/>
                    </a:lnTo>
                    <a:lnTo>
                      <a:pt x="269" y="457"/>
                    </a:lnTo>
                    <a:lnTo>
                      <a:pt x="276" y="458"/>
                    </a:lnTo>
                    <a:lnTo>
                      <a:pt x="281" y="462"/>
                    </a:lnTo>
                    <a:lnTo>
                      <a:pt x="282" y="462"/>
                    </a:lnTo>
                    <a:lnTo>
                      <a:pt x="285" y="461"/>
                    </a:lnTo>
                    <a:lnTo>
                      <a:pt x="290" y="464"/>
                    </a:lnTo>
                    <a:lnTo>
                      <a:pt x="292" y="465"/>
                    </a:lnTo>
                    <a:lnTo>
                      <a:pt x="296" y="465"/>
                    </a:lnTo>
                    <a:lnTo>
                      <a:pt x="298" y="462"/>
                    </a:lnTo>
                    <a:lnTo>
                      <a:pt x="313" y="462"/>
                    </a:lnTo>
                    <a:lnTo>
                      <a:pt x="314" y="463"/>
                    </a:lnTo>
                    <a:lnTo>
                      <a:pt x="314" y="474"/>
                    </a:lnTo>
                    <a:lnTo>
                      <a:pt x="315" y="474"/>
                    </a:lnTo>
                    <a:lnTo>
                      <a:pt x="318" y="474"/>
                    </a:lnTo>
                    <a:lnTo>
                      <a:pt x="320" y="474"/>
                    </a:lnTo>
                    <a:lnTo>
                      <a:pt x="318" y="478"/>
                    </a:lnTo>
                    <a:lnTo>
                      <a:pt x="317" y="478"/>
                    </a:lnTo>
                    <a:lnTo>
                      <a:pt x="317" y="480"/>
                    </a:lnTo>
                    <a:lnTo>
                      <a:pt x="316" y="480"/>
                    </a:lnTo>
                    <a:lnTo>
                      <a:pt x="316" y="481"/>
                    </a:lnTo>
                    <a:lnTo>
                      <a:pt x="316" y="482"/>
                    </a:lnTo>
                    <a:lnTo>
                      <a:pt x="318" y="482"/>
                    </a:lnTo>
                    <a:lnTo>
                      <a:pt x="320" y="480"/>
                    </a:lnTo>
                    <a:lnTo>
                      <a:pt x="327" y="479"/>
                    </a:lnTo>
                    <a:lnTo>
                      <a:pt x="332" y="479"/>
                    </a:lnTo>
                    <a:lnTo>
                      <a:pt x="334" y="480"/>
                    </a:lnTo>
                    <a:lnTo>
                      <a:pt x="337" y="480"/>
                    </a:lnTo>
                    <a:lnTo>
                      <a:pt x="338" y="479"/>
                    </a:lnTo>
                    <a:lnTo>
                      <a:pt x="339" y="478"/>
                    </a:lnTo>
                    <a:lnTo>
                      <a:pt x="338" y="475"/>
                    </a:lnTo>
                    <a:lnTo>
                      <a:pt x="339" y="474"/>
                    </a:lnTo>
                    <a:lnTo>
                      <a:pt x="340" y="476"/>
                    </a:lnTo>
                    <a:lnTo>
                      <a:pt x="340" y="477"/>
                    </a:lnTo>
                    <a:lnTo>
                      <a:pt x="341" y="478"/>
                    </a:lnTo>
                    <a:lnTo>
                      <a:pt x="342" y="478"/>
                    </a:lnTo>
                    <a:lnTo>
                      <a:pt x="342" y="477"/>
                    </a:lnTo>
                    <a:lnTo>
                      <a:pt x="343" y="477"/>
                    </a:lnTo>
                    <a:lnTo>
                      <a:pt x="348" y="479"/>
                    </a:lnTo>
                    <a:lnTo>
                      <a:pt x="349" y="479"/>
                    </a:lnTo>
                    <a:lnTo>
                      <a:pt x="351" y="480"/>
                    </a:lnTo>
                    <a:lnTo>
                      <a:pt x="354" y="479"/>
                    </a:lnTo>
                    <a:lnTo>
                      <a:pt x="356" y="480"/>
                    </a:lnTo>
                    <a:lnTo>
                      <a:pt x="356" y="484"/>
                    </a:lnTo>
                    <a:lnTo>
                      <a:pt x="355" y="486"/>
                    </a:lnTo>
                    <a:lnTo>
                      <a:pt x="351" y="489"/>
                    </a:lnTo>
                    <a:lnTo>
                      <a:pt x="350" y="490"/>
                    </a:lnTo>
                    <a:lnTo>
                      <a:pt x="351" y="492"/>
                    </a:lnTo>
                    <a:lnTo>
                      <a:pt x="354" y="492"/>
                    </a:lnTo>
                    <a:lnTo>
                      <a:pt x="357" y="495"/>
                    </a:lnTo>
                    <a:lnTo>
                      <a:pt x="358" y="494"/>
                    </a:lnTo>
                    <a:lnTo>
                      <a:pt x="358" y="492"/>
                    </a:lnTo>
                    <a:lnTo>
                      <a:pt x="364" y="488"/>
                    </a:lnTo>
                    <a:lnTo>
                      <a:pt x="363" y="485"/>
                    </a:lnTo>
                    <a:lnTo>
                      <a:pt x="363" y="483"/>
                    </a:lnTo>
                    <a:lnTo>
                      <a:pt x="364" y="481"/>
                    </a:lnTo>
                    <a:lnTo>
                      <a:pt x="366" y="479"/>
                    </a:lnTo>
                    <a:lnTo>
                      <a:pt x="368" y="479"/>
                    </a:lnTo>
                    <a:lnTo>
                      <a:pt x="370" y="480"/>
                    </a:lnTo>
                    <a:lnTo>
                      <a:pt x="370" y="485"/>
                    </a:lnTo>
                    <a:lnTo>
                      <a:pt x="371" y="485"/>
                    </a:lnTo>
                    <a:lnTo>
                      <a:pt x="373" y="486"/>
                    </a:lnTo>
                    <a:lnTo>
                      <a:pt x="378" y="486"/>
                    </a:lnTo>
                    <a:lnTo>
                      <a:pt x="381" y="485"/>
                    </a:lnTo>
                    <a:lnTo>
                      <a:pt x="382" y="483"/>
                    </a:lnTo>
                    <a:lnTo>
                      <a:pt x="384" y="483"/>
                    </a:lnTo>
                    <a:lnTo>
                      <a:pt x="386" y="480"/>
                    </a:lnTo>
                    <a:lnTo>
                      <a:pt x="389" y="480"/>
                    </a:lnTo>
                    <a:lnTo>
                      <a:pt x="391" y="477"/>
                    </a:lnTo>
                    <a:lnTo>
                      <a:pt x="398" y="473"/>
                    </a:lnTo>
                    <a:lnTo>
                      <a:pt x="399" y="473"/>
                    </a:lnTo>
                    <a:lnTo>
                      <a:pt x="397" y="478"/>
                    </a:lnTo>
                    <a:lnTo>
                      <a:pt x="400" y="480"/>
                    </a:lnTo>
                    <a:lnTo>
                      <a:pt x="405" y="484"/>
                    </a:lnTo>
                    <a:lnTo>
                      <a:pt x="407" y="487"/>
                    </a:lnTo>
                    <a:lnTo>
                      <a:pt x="408" y="487"/>
                    </a:lnTo>
                    <a:lnTo>
                      <a:pt x="413" y="484"/>
                    </a:lnTo>
                    <a:lnTo>
                      <a:pt x="415" y="483"/>
                    </a:lnTo>
                    <a:lnTo>
                      <a:pt x="417" y="483"/>
                    </a:lnTo>
                    <a:lnTo>
                      <a:pt x="423" y="486"/>
                    </a:lnTo>
                    <a:lnTo>
                      <a:pt x="428" y="485"/>
                    </a:lnTo>
                    <a:lnTo>
                      <a:pt x="429" y="485"/>
                    </a:lnTo>
                    <a:lnTo>
                      <a:pt x="430" y="486"/>
                    </a:lnTo>
                    <a:lnTo>
                      <a:pt x="427" y="489"/>
                    </a:lnTo>
                    <a:lnTo>
                      <a:pt x="427" y="490"/>
                    </a:lnTo>
                    <a:lnTo>
                      <a:pt x="429" y="494"/>
                    </a:lnTo>
                    <a:lnTo>
                      <a:pt x="429" y="499"/>
                    </a:lnTo>
                    <a:lnTo>
                      <a:pt x="432" y="498"/>
                    </a:lnTo>
                    <a:lnTo>
                      <a:pt x="434" y="496"/>
                    </a:lnTo>
                    <a:lnTo>
                      <a:pt x="435" y="496"/>
                    </a:lnTo>
                    <a:lnTo>
                      <a:pt x="435" y="499"/>
                    </a:lnTo>
                    <a:lnTo>
                      <a:pt x="437" y="501"/>
                    </a:lnTo>
                    <a:lnTo>
                      <a:pt x="439" y="499"/>
                    </a:lnTo>
                    <a:lnTo>
                      <a:pt x="438" y="492"/>
                    </a:lnTo>
                    <a:lnTo>
                      <a:pt x="441" y="486"/>
                    </a:lnTo>
                    <a:lnTo>
                      <a:pt x="448" y="483"/>
                    </a:lnTo>
                    <a:lnTo>
                      <a:pt x="452" y="483"/>
                    </a:lnTo>
                    <a:lnTo>
                      <a:pt x="454" y="484"/>
                    </a:lnTo>
                    <a:lnTo>
                      <a:pt x="455" y="485"/>
                    </a:lnTo>
                    <a:lnTo>
                      <a:pt x="463" y="477"/>
                    </a:lnTo>
                    <a:lnTo>
                      <a:pt x="467" y="477"/>
                    </a:lnTo>
                    <a:lnTo>
                      <a:pt x="472" y="479"/>
                    </a:lnTo>
                    <a:lnTo>
                      <a:pt x="472" y="480"/>
                    </a:lnTo>
                    <a:lnTo>
                      <a:pt x="471" y="483"/>
                    </a:lnTo>
                    <a:lnTo>
                      <a:pt x="475" y="485"/>
                    </a:lnTo>
                    <a:lnTo>
                      <a:pt x="476" y="486"/>
                    </a:lnTo>
                    <a:lnTo>
                      <a:pt x="475" y="492"/>
                    </a:lnTo>
                    <a:lnTo>
                      <a:pt x="475" y="493"/>
                    </a:lnTo>
                    <a:lnTo>
                      <a:pt x="478" y="499"/>
                    </a:lnTo>
                    <a:lnTo>
                      <a:pt x="480" y="503"/>
                    </a:lnTo>
                    <a:lnTo>
                      <a:pt x="481" y="504"/>
                    </a:lnTo>
                    <a:lnTo>
                      <a:pt x="484" y="503"/>
                    </a:lnTo>
                    <a:lnTo>
                      <a:pt x="486" y="501"/>
                    </a:lnTo>
                    <a:lnTo>
                      <a:pt x="488" y="501"/>
                    </a:lnTo>
                    <a:lnTo>
                      <a:pt x="492" y="503"/>
                    </a:lnTo>
                    <a:lnTo>
                      <a:pt x="494" y="503"/>
                    </a:lnTo>
                    <a:lnTo>
                      <a:pt x="496" y="501"/>
                    </a:lnTo>
                    <a:lnTo>
                      <a:pt x="496" y="497"/>
                    </a:lnTo>
                    <a:lnTo>
                      <a:pt x="497" y="495"/>
                    </a:lnTo>
                    <a:lnTo>
                      <a:pt x="500" y="496"/>
                    </a:lnTo>
                    <a:lnTo>
                      <a:pt x="504" y="492"/>
                    </a:lnTo>
                    <a:lnTo>
                      <a:pt x="508" y="491"/>
                    </a:lnTo>
                    <a:lnTo>
                      <a:pt x="511" y="491"/>
                    </a:lnTo>
                    <a:lnTo>
                      <a:pt x="513" y="495"/>
                    </a:lnTo>
                    <a:lnTo>
                      <a:pt x="516" y="498"/>
                    </a:lnTo>
                    <a:lnTo>
                      <a:pt x="517" y="498"/>
                    </a:lnTo>
                    <a:lnTo>
                      <a:pt x="519" y="497"/>
                    </a:lnTo>
                    <a:lnTo>
                      <a:pt x="523" y="498"/>
                    </a:lnTo>
                    <a:lnTo>
                      <a:pt x="524" y="495"/>
                    </a:lnTo>
                    <a:lnTo>
                      <a:pt x="525" y="494"/>
                    </a:lnTo>
                    <a:lnTo>
                      <a:pt x="532" y="493"/>
                    </a:lnTo>
                    <a:lnTo>
                      <a:pt x="536" y="492"/>
                    </a:lnTo>
                    <a:lnTo>
                      <a:pt x="545" y="491"/>
                    </a:lnTo>
                    <a:lnTo>
                      <a:pt x="553" y="494"/>
                    </a:lnTo>
                    <a:lnTo>
                      <a:pt x="560" y="501"/>
                    </a:lnTo>
                    <a:lnTo>
                      <a:pt x="561" y="504"/>
                    </a:lnTo>
                    <a:lnTo>
                      <a:pt x="559" y="507"/>
                    </a:lnTo>
                    <a:lnTo>
                      <a:pt x="562" y="511"/>
                    </a:lnTo>
                    <a:lnTo>
                      <a:pt x="565" y="513"/>
                    </a:lnTo>
                    <a:lnTo>
                      <a:pt x="568" y="513"/>
                    </a:lnTo>
                    <a:lnTo>
                      <a:pt x="569" y="513"/>
                    </a:lnTo>
                    <a:lnTo>
                      <a:pt x="568" y="515"/>
                    </a:lnTo>
                    <a:lnTo>
                      <a:pt x="570" y="516"/>
                    </a:lnTo>
                    <a:lnTo>
                      <a:pt x="572" y="515"/>
                    </a:lnTo>
                    <a:lnTo>
                      <a:pt x="574" y="517"/>
                    </a:lnTo>
                    <a:lnTo>
                      <a:pt x="577" y="518"/>
                    </a:lnTo>
                    <a:lnTo>
                      <a:pt x="578" y="516"/>
                    </a:lnTo>
                    <a:lnTo>
                      <a:pt x="577" y="514"/>
                    </a:lnTo>
                    <a:lnTo>
                      <a:pt x="578" y="513"/>
                    </a:lnTo>
                    <a:lnTo>
                      <a:pt x="584" y="510"/>
                    </a:lnTo>
                    <a:lnTo>
                      <a:pt x="583" y="508"/>
                    </a:lnTo>
                    <a:lnTo>
                      <a:pt x="584" y="506"/>
                    </a:lnTo>
                    <a:lnTo>
                      <a:pt x="582" y="505"/>
                    </a:lnTo>
                    <a:lnTo>
                      <a:pt x="582" y="501"/>
                    </a:lnTo>
                    <a:lnTo>
                      <a:pt x="579" y="499"/>
                    </a:lnTo>
                    <a:lnTo>
                      <a:pt x="580" y="497"/>
                    </a:lnTo>
                    <a:lnTo>
                      <a:pt x="582" y="497"/>
                    </a:lnTo>
                    <a:lnTo>
                      <a:pt x="580" y="495"/>
                    </a:lnTo>
                    <a:lnTo>
                      <a:pt x="580" y="492"/>
                    </a:lnTo>
                    <a:lnTo>
                      <a:pt x="577" y="490"/>
                    </a:lnTo>
                    <a:lnTo>
                      <a:pt x="579" y="488"/>
                    </a:lnTo>
                    <a:lnTo>
                      <a:pt x="576" y="488"/>
                    </a:lnTo>
                    <a:lnTo>
                      <a:pt x="575" y="486"/>
                    </a:lnTo>
                    <a:lnTo>
                      <a:pt x="574" y="485"/>
                    </a:lnTo>
                    <a:lnTo>
                      <a:pt x="576" y="484"/>
                    </a:lnTo>
                    <a:lnTo>
                      <a:pt x="574" y="483"/>
                    </a:lnTo>
                    <a:lnTo>
                      <a:pt x="574" y="482"/>
                    </a:lnTo>
                    <a:lnTo>
                      <a:pt x="577" y="479"/>
                    </a:lnTo>
                    <a:lnTo>
                      <a:pt x="577" y="478"/>
                    </a:lnTo>
                    <a:lnTo>
                      <a:pt x="578" y="477"/>
                    </a:lnTo>
                    <a:lnTo>
                      <a:pt x="577" y="475"/>
                    </a:lnTo>
                    <a:lnTo>
                      <a:pt x="579" y="474"/>
                    </a:lnTo>
                    <a:lnTo>
                      <a:pt x="579" y="471"/>
                    </a:lnTo>
                    <a:lnTo>
                      <a:pt x="582" y="471"/>
                    </a:lnTo>
                    <a:lnTo>
                      <a:pt x="582" y="470"/>
                    </a:lnTo>
                    <a:lnTo>
                      <a:pt x="583" y="467"/>
                    </a:lnTo>
                    <a:lnTo>
                      <a:pt x="584" y="466"/>
                    </a:lnTo>
                    <a:lnTo>
                      <a:pt x="582" y="464"/>
                    </a:lnTo>
                    <a:lnTo>
                      <a:pt x="585" y="463"/>
                    </a:lnTo>
                    <a:lnTo>
                      <a:pt x="586" y="461"/>
                    </a:lnTo>
                    <a:lnTo>
                      <a:pt x="585" y="459"/>
                    </a:lnTo>
                    <a:lnTo>
                      <a:pt x="585" y="458"/>
                    </a:lnTo>
                    <a:lnTo>
                      <a:pt x="588" y="457"/>
                    </a:lnTo>
                    <a:lnTo>
                      <a:pt x="589" y="454"/>
                    </a:lnTo>
                    <a:lnTo>
                      <a:pt x="591" y="453"/>
                    </a:lnTo>
                    <a:lnTo>
                      <a:pt x="592" y="450"/>
                    </a:lnTo>
                    <a:lnTo>
                      <a:pt x="596" y="450"/>
                    </a:lnTo>
                    <a:lnTo>
                      <a:pt x="596" y="448"/>
                    </a:lnTo>
                    <a:lnTo>
                      <a:pt x="596" y="446"/>
                    </a:lnTo>
                    <a:lnTo>
                      <a:pt x="596" y="445"/>
                    </a:lnTo>
                    <a:lnTo>
                      <a:pt x="601" y="444"/>
                    </a:lnTo>
                    <a:lnTo>
                      <a:pt x="604" y="442"/>
                    </a:lnTo>
                    <a:lnTo>
                      <a:pt x="603" y="440"/>
                    </a:lnTo>
                    <a:lnTo>
                      <a:pt x="606" y="438"/>
                    </a:lnTo>
                    <a:lnTo>
                      <a:pt x="606" y="436"/>
                    </a:lnTo>
                    <a:lnTo>
                      <a:pt x="607" y="434"/>
                    </a:lnTo>
                    <a:lnTo>
                      <a:pt x="606" y="433"/>
                    </a:lnTo>
                    <a:lnTo>
                      <a:pt x="607" y="432"/>
                    </a:lnTo>
                    <a:lnTo>
                      <a:pt x="610" y="432"/>
                    </a:lnTo>
                    <a:lnTo>
                      <a:pt x="621" y="430"/>
                    </a:lnTo>
                    <a:lnTo>
                      <a:pt x="632" y="435"/>
                    </a:lnTo>
                    <a:lnTo>
                      <a:pt x="635" y="434"/>
                    </a:lnTo>
                    <a:lnTo>
                      <a:pt x="635" y="430"/>
                    </a:lnTo>
                    <a:lnTo>
                      <a:pt x="637" y="429"/>
                    </a:lnTo>
                    <a:lnTo>
                      <a:pt x="640" y="428"/>
                    </a:lnTo>
                    <a:lnTo>
                      <a:pt x="641" y="425"/>
                    </a:lnTo>
                    <a:lnTo>
                      <a:pt x="643" y="424"/>
                    </a:lnTo>
                    <a:lnTo>
                      <a:pt x="646" y="425"/>
                    </a:lnTo>
                    <a:lnTo>
                      <a:pt x="649" y="427"/>
                    </a:lnTo>
                    <a:lnTo>
                      <a:pt x="666" y="428"/>
                    </a:lnTo>
                    <a:lnTo>
                      <a:pt x="669" y="430"/>
                    </a:lnTo>
                    <a:lnTo>
                      <a:pt x="673" y="428"/>
                    </a:lnTo>
                    <a:lnTo>
                      <a:pt x="674" y="427"/>
                    </a:lnTo>
                    <a:lnTo>
                      <a:pt x="672" y="425"/>
                    </a:lnTo>
                    <a:lnTo>
                      <a:pt x="672" y="421"/>
                    </a:lnTo>
                    <a:lnTo>
                      <a:pt x="672" y="420"/>
                    </a:lnTo>
                    <a:lnTo>
                      <a:pt x="666" y="419"/>
                    </a:lnTo>
                    <a:lnTo>
                      <a:pt x="667" y="415"/>
                    </a:lnTo>
                    <a:lnTo>
                      <a:pt x="666" y="410"/>
                    </a:lnTo>
                    <a:lnTo>
                      <a:pt x="663" y="411"/>
                    </a:lnTo>
                    <a:lnTo>
                      <a:pt x="662" y="409"/>
                    </a:lnTo>
                    <a:lnTo>
                      <a:pt x="660" y="409"/>
                    </a:lnTo>
                    <a:lnTo>
                      <a:pt x="659" y="408"/>
                    </a:lnTo>
                    <a:lnTo>
                      <a:pt x="658" y="405"/>
                    </a:lnTo>
                    <a:lnTo>
                      <a:pt x="660" y="404"/>
                    </a:lnTo>
                    <a:lnTo>
                      <a:pt x="660" y="399"/>
                    </a:lnTo>
                    <a:lnTo>
                      <a:pt x="660" y="397"/>
                    </a:lnTo>
                    <a:lnTo>
                      <a:pt x="658" y="395"/>
                    </a:lnTo>
                    <a:lnTo>
                      <a:pt x="659" y="393"/>
                    </a:lnTo>
                    <a:lnTo>
                      <a:pt x="658" y="392"/>
                    </a:lnTo>
                    <a:lnTo>
                      <a:pt x="660" y="389"/>
                    </a:lnTo>
                    <a:lnTo>
                      <a:pt x="658" y="386"/>
                    </a:lnTo>
                    <a:lnTo>
                      <a:pt x="658" y="383"/>
                    </a:lnTo>
                    <a:lnTo>
                      <a:pt x="660" y="383"/>
                    </a:lnTo>
                    <a:lnTo>
                      <a:pt x="663" y="383"/>
                    </a:lnTo>
                    <a:lnTo>
                      <a:pt x="663" y="381"/>
                    </a:lnTo>
                    <a:lnTo>
                      <a:pt x="659" y="379"/>
                    </a:lnTo>
                    <a:lnTo>
                      <a:pt x="657" y="378"/>
                    </a:lnTo>
                    <a:lnTo>
                      <a:pt x="656" y="377"/>
                    </a:lnTo>
                    <a:lnTo>
                      <a:pt x="655" y="372"/>
                    </a:lnTo>
                    <a:lnTo>
                      <a:pt x="651" y="367"/>
                    </a:lnTo>
                    <a:lnTo>
                      <a:pt x="655" y="365"/>
                    </a:lnTo>
                    <a:lnTo>
                      <a:pt x="658" y="361"/>
                    </a:lnTo>
                    <a:lnTo>
                      <a:pt x="657" y="357"/>
                    </a:lnTo>
                    <a:lnTo>
                      <a:pt x="653" y="353"/>
                    </a:lnTo>
                    <a:lnTo>
                      <a:pt x="654" y="349"/>
                    </a:lnTo>
                    <a:lnTo>
                      <a:pt x="648" y="349"/>
                    </a:lnTo>
                    <a:lnTo>
                      <a:pt x="641" y="341"/>
                    </a:lnTo>
                    <a:lnTo>
                      <a:pt x="641" y="339"/>
                    </a:lnTo>
                    <a:lnTo>
                      <a:pt x="638" y="335"/>
                    </a:lnTo>
                    <a:lnTo>
                      <a:pt x="631" y="331"/>
                    </a:lnTo>
                    <a:lnTo>
                      <a:pt x="632" y="330"/>
                    </a:lnTo>
                    <a:lnTo>
                      <a:pt x="637" y="330"/>
                    </a:lnTo>
                    <a:lnTo>
                      <a:pt x="638" y="325"/>
                    </a:lnTo>
                    <a:lnTo>
                      <a:pt x="638" y="324"/>
                    </a:lnTo>
                    <a:lnTo>
                      <a:pt x="642" y="324"/>
                    </a:lnTo>
                    <a:lnTo>
                      <a:pt x="643" y="323"/>
                    </a:lnTo>
                    <a:lnTo>
                      <a:pt x="640" y="320"/>
                    </a:lnTo>
                    <a:lnTo>
                      <a:pt x="643" y="317"/>
                    </a:lnTo>
                    <a:lnTo>
                      <a:pt x="644" y="314"/>
                    </a:lnTo>
                    <a:lnTo>
                      <a:pt x="643" y="312"/>
                    </a:lnTo>
                    <a:lnTo>
                      <a:pt x="644" y="312"/>
                    </a:lnTo>
                    <a:lnTo>
                      <a:pt x="656" y="314"/>
                    </a:lnTo>
                    <a:lnTo>
                      <a:pt x="658" y="312"/>
                    </a:lnTo>
                    <a:lnTo>
                      <a:pt x="660" y="311"/>
                    </a:lnTo>
                    <a:lnTo>
                      <a:pt x="672" y="315"/>
                    </a:lnTo>
                    <a:lnTo>
                      <a:pt x="675" y="322"/>
                    </a:lnTo>
                    <a:lnTo>
                      <a:pt x="682" y="323"/>
                    </a:lnTo>
                    <a:lnTo>
                      <a:pt x="683" y="324"/>
                    </a:lnTo>
                    <a:lnTo>
                      <a:pt x="687" y="325"/>
                    </a:lnTo>
                    <a:lnTo>
                      <a:pt x="689" y="324"/>
                    </a:lnTo>
                    <a:lnTo>
                      <a:pt x="694" y="326"/>
                    </a:lnTo>
                    <a:lnTo>
                      <a:pt x="700" y="326"/>
                    </a:lnTo>
                    <a:lnTo>
                      <a:pt x="701" y="326"/>
                    </a:lnTo>
                    <a:lnTo>
                      <a:pt x="703" y="323"/>
                    </a:lnTo>
                    <a:lnTo>
                      <a:pt x="707" y="323"/>
                    </a:lnTo>
                    <a:lnTo>
                      <a:pt x="709" y="320"/>
                    </a:lnTo>
                    <a:lnTo>
                      <a:pt x="713" y="320"/>
                    </a:lnTo>
                    <a:lnTo>
                      <a:pt x="715" y="318"/>
                    </a:lnTo>
                    <a:lnTo>
                      <a:pt x="717" y="315"/>
                    </a:lnTo>
                    <a:lnTo>
                      <a:pt x="721" y="314"/>
                    </a:lnTo>
                    <a:lnTo>
                      <a:pt x="723" y="313"/>
                    </a:lnTo>
                    <a:lnTo>
                      <a:pt x="728" y="307"/>
                    </a:lnTo>
                    <a:lnTo>
                      <a:pt x="729" y="306"/>
                    </a:lnTo>
                    <a:lnTo>
                      <a:pt x="728" y="305"/>
                    </a:lnTo>
                    <a:lnTo>
                      <a:pt x="729" y="303"/>
                    </a:lnTo>
                    <a:lnTo>
                      <a:pt x="733" y="303"/>
                    </a:lnTo>
                    <a:lnTo>
                      <a:pt x="737" y="301"/>
                    </a:lnTo>
                    <a:lnTo>
                      <a:pt x="737" y="300"/>
                    </a:lnTo>
                    <a:lnTo>
                      <a:pt x="738" y="299"/>
                    </a:lnTo>
                    <a:lnTo>
                      <a:pt x="739" y="300"/>
                    </a:lnTo>
                    <a:lnTo>
                      <a:pt x="741" y="299"/>
                    </a:lnTo>
                    <a:lnTo>
                      <a:pt x="746" y="300"/>
                    </a:lnTo>
                    <a:lnTo>
                      <a:pt x="747" y="299"/>
                    </a:lnTo>
                    <a:lnTo>
                      <a:pt x="746" y="295"/>
                    </a:lnTo>
                    <a:lnTo>
                      <a:pt x="747" y="294"/>
                    </a:lnTo>
                    <a:lnTo>
                      <a:pt x="748" y="292"/>
                    </a:lnTo>
                    <a:close/>
                  </a:path>
                </a:pathLst>
              </a:custGeom>
              <a:solidFill>
                <a:srgbClr val="E7E7E4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61" name="Poland">
                <a:extLst>
                  <a:ext uri="{FF2B5EF4-FFF2-40B4-BE49-F238E27FC236}">
                    <a16:creationId xmlns:a16="http://schemas.microsoft.com/office/drawing/2014/main" id="{E52742B8-7AB5-41FC-B8AB-FA53024E9AE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075630" y="2904346"/>
                <a:ext cx="877290" cy="786798"/>
              </a:xfrm>
              <a:custGeom>
                <a:avLst/>
                <a:gdLst>
                  <a:gd name="T0" fmla="*/ 128 w 783"/>
                  <a:gd name="T1" fmla="*/ 66 h 616"/>
                  <a:gd name="T2" fmla="*/ 8 w 783"/>
                  <a:gd name="T3" fmla="*/ 96 h 616"/>
                  <a:gd name="T4" fmla="*/ 19 w 783"/>
                  <a:gd name="T5" fmla="*/ 102 h 616"/>
                  <a:gd name="T6" fmla="*/ 39 w 783"/>
                  <a:gd name="T7" fmla="*/ 105 h 616"/>
                  <a:gd name="T8" fmla="*/ 31 w 783"/>
                  <a:gd name="T9" fmla="*/ 125 h 616"/>
                  <a:gd name="T10" fmla="*/ 13 w 783"/>
                  <a:gd name="T11" fmla="*/ 125 h 616"/>
                  <a:gd name="T12" fmla="*/ 24 w 783"/>
                  <a:gd name="T13" fmla="*/ 165 h 616"/>
                  <a:gd name="T14" fmla="*/ 3 w 783"/>
                  <a:gd name="T15" fmla="*/ 207 h 616"/>
                  <a:gd name="T16" fmla="*/ 36 w 783"/>
                  <a:gd name="T17" fmla="*/ 254 h 616"/>
                  <a:gd name="T18" fmla="*/ 45 w 783"/>
                  <a:gd name="T19" fmla="*/ 289 h 616"/>
                  <a:gd name="T20" fmla="*/ 42 w 783"/>
                  <a:gd name="T21" fmla="*/ 312 h 616"/>
                  <a:gd name="T22" fmla="*/ 47 w 783"/>
                  <a:gd name="T23" fmla="*/ 348 h 616"/>
                  <a:gd name="T24" fmla="*/ 71 w 783"/>
                  <a:gd name="T25" fmla="*/ 379 h 616"/>
                  <a:gd name="T26" fmla="*/ 61 w 783"/>
                  <a:gd name="T27" fmla="*/ 409 h 616"/>
                  <a:gd name="T28" fmla="*/ 70 w 783"/>
                  <a:gd name="T29" fmla="*/ 408 h 616"/>
                  <a:gd name="T30" fmla="*/ 82 w 783"/>
                  <a:gd name="T31" fmla="*/ 403 h 616"/>
                  <a:gd name="T32" fmla="*/ 98 w 783"/>
                  <a:gd name="T33" fmla="*/ 429 h 616"/>
                  <a:gd name="T34" fmla="*/ 133 w 783"/>
                  <a:gd name="T35" fmla="*/ 435 h 616"/>
                  <a:gd name="T36" fmla="*/ 161 w 783"/>
                  <a:gd name="T37" fmla="*/ 443 h 616"/>
                  <a:gd name="T38" fmla="*/ 175 w 783"/>
                  <a:gd name="T39" fmla="*/ 458 h 616"/>
                  <a:gd name="T40" fmla="*/ 175 w 783"/>
                  <a:gd name="T41" fmla="*/ 473 h 616"/>
                  <a:gd name="T42" fmla="*/ 212 w 783"/>
                  <a:gd name="T43" fmla="*/ 491 h 616"/>
                  <a:gd name="T44" fmla="*/ 223 w 783"/>
                  <a:gd name="T45" fmla="*/ 478 h 616"/>
                  <a:gd name="T46" fmla="*/ 240 w 783"/>
                  <a:gd name="T47" fmla="*/ 472 h 616"/>
                  <a:gd name="T48" fmla="*/ 263 w 783"/>
                  <a:gd name="T49" fmla="*/ 482 h 616"/>
                  <a:gd name="T50" fmla="*/ 272 w 783"/>
                  <a:gd name="T51" fmla="*/ 493 h 616"/>
                  <a:gd name="T52" fmla="*/ 290 w 783"/>
                  <a:gd name="T53" fmla="*/ 512 h 616"/>
                  <a:gd name="T54" fmla="*/ 311 w 783"/>
                  <a:gd name="T55" fmla="*/ 510 h 616"/>
                  <a:gd name="T56" fmla="*/ 345 w 783"/>
                  <a:gd name="T57" fmla="*/ 521 h 616"/>
                  <a:gd name="T58" fmla="*/ 364 w 783"/>
                  <a:gd name="T59" fmla="*/ 544 h 616"/>
                  <a:gd name="T60" fmla="*/ 379 w 783"/>
                  <a:gd name="T61" fmla="*/ 574 h 616"/>
                  <a:gd name="T62" fmla="*/ 402 w 783"/>
                  <a:gd name="T63" fmla="*/ 560 h 616"/>
                  <a:gd name="T64" fmla="*/ 431 w 783"/>
                  <a:gd name="T65" fmla="*/ 570 h 616"/>
                  <a:gd name="T66" fmla="*/ 445 w 783"/>
                  <a:gd name="T67" fmla="*/ 595 h 616"/>
                  <a:gd name="T68" fmla="*/ 472 w 783"/>
                  <a:gd name="T69" fmla="*/ 584 h 616"/>
                  <a:gd name="T70" fmla="*/ 500 w 783"/>
                  <a:gd name="T71" fmla="*/ 576 h 616"/>
                  <a:gd name="T72" fmla="*/ 529 w 783"/>
                  <a:gd name="T73" fmla="*/ 582 h 616"/>
                  <a:gd name="T74" fmla="*/ 561 w 783"/>
                  <a:gd name="T75" fmla="*/ 570 h 616"/>
                  <a:gd name="T76" fmla="*/ 598 w 783"/>
                  <a:gd name="T77" fmla="*/ 578 h 616"/>
                  <a:gd name="T78" fmla="*/ 643 w 783"/>
                  <a:gd name="T79" fmla="*/ 602 h 616"/>
                  <a:gd name="T80" fmla="*/ 685 w 783"/>
                  <a:gd name="T81" fmla="*/ 615 h 616"/>
                  <a:gd name="T82" fmla="*/ 673 w 783"/>
                  <a:gd name="T83" fmla="*/ 597 h 616"/>
                  <a:gd name="T84" fmla="*/ 677 w 783"/>
                  <a:gd name="T85" fmla="*/ 544 h 616"/>
                  <a:gd name="T86" fmla="*/ 744 w 783"/>
                  <a:gd name="T87" fmla="*/ 477 h 616"/>
                  <a:gd name="T88" fmla="*/ 779 w 783"/>
                  <a:gd name="T89" fmla="*/ 448 h 616"/>
                  <a:gd name="T90" fmla="*/ 782 w 783"/>
                  <a:gd name="T91" fmla="*/ 423 h 616"/>
                  <a:gd name="T92" fmla="*/ 760 w 783"/>
                  <a:gd name="T93" fmla="*/ 392 h 616"/>
                  <a:gd name="T94" fmla="*/ 748 w 783"/>
                  <a:gd name="T95" fmla="*/ 363 h 616"/>
                  <a:gd name="T96" fmla="*/ 735 w 783"/>
                  <a:gd name="T97" fmla="*/ 336 h 616"/>
                  <a:gd name="T98" fmla="*/ 742 w 783"/>
                  <a:gd name="T99" fmla="*/ 308 h 616"/>
                  <a:gd name="T100" fmla="*/ 731 w 783"/>
                  <a:gd name="T101" fmla="*/ 283 h 616"/>
                  <a:gd name="T102" fmla="*/ 708 w 783"/>
                  <a:gd name="T103" fmla="*/ 270 h 616"/>
                  <a:gd name="T104" fmla="*/ 765 w 783"/>
                  <a:gd name="T105" fmla="*/ 203 h 616"/>
                  <a:gd name="T106" fmla="*/ 746 w 783"/>
                  <a:gd name="T107" fmla="*/ 141 h 616"/>
                  <a:gd name="T108" fmla="*/ 726 w 783"/>
                  <a:gd name="T109" fmla="*/ 69 h 616"/>
                  <a:gd name="T110" fmla="*/ 693 w 783"/>
                  <a:gd name="T111" fmla="*/ 48 h 616"/>
                  <a:gd name="T112" fmla="*/ 463 w 783"/>
                  <a:gd name="T113" fmla="*/ 45 h 616"/>
                  <a:gd name="T114" fmla="*/ 409 w 783"/>
                  <a:gd name="T115" fmla="*/ 63 h 616"/>
                  <a:gd name="T116" fmla="*/ 411 w 783"/>
                  <a:gd name="T117" fmla="*/ 50 h 616"/>
                  <a:gd name="T118" fmla="*/ 347 w 783"/>
                  <a:gd name="T119" fmla="*/ 31 h 616"/>
                  <a:gd name="T120" fmla="*/ 363 w 783"/>
                  <a:gd name="T121" fmla="*/ 22 h 616"/>
                  <a:gd name="T122" fmla="*/ 255 w 783"/>
                  <a:gd name="T123" fmla="*/ 9 h 616"/>
                  <a:gd name="T124" fmla="*/ 169 w 783"/>
                  <a:gd name="T125" fmla="*/ 51 h 61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783"/>
                  <a:gd name="T190" fmla="*/ 0 h 616"/>
                  <a:gd name="T191" fmla="*/ 783 w 783"/>
                  <a:gd name="T192" fmla="*/ 616 h 61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783" h="616">
                    <a:moveTo>
                      <a:pt x="165" y="54"/>
                    </a:moveTo>
                    <a:lnTo>
                      <a:pt x="165" y="55"/>
                    </a:lnTo>
                    <a:lnTo>
                      <a:pt x="163" y="56"/>
                    </a:lnTo>
                    <a:lnTo>
                      <a:pt x="158" y="58"/>
                    </a:lnTo>
                    <a:lnTo>
                      <a:pt x="163" y="57"/>
                    </a:lnTo>
                    <a:lnTo>
                      <a:pt x="163" y="60"/>
                    </a:lnTo>
                    <a:lnTo>
                      <a:pt x="161" y="60"/>
                    </a:lnTo>
                    <a:lnTo>
                      <a:pt x="160" y="62"/>
                    </a:lnTo>
                    <a:lnTo>
                      <a:pt x="158" y="62"/>
                    </a:lnTo>
                    <a:lnTo>
                      <a:pt x="152" y="62"/>
                    </a:lnTo>
                    <a:lnTo>
                      <a:pt x="155" y="60"/>
                    </a:lnTo>
                    <a:lnTo>
                      <a:pt x="157" y="59"/>
                    </a:lnTo>
                    <a:lnTo>
                      <a:pt x="151" y="61"/>
                    </a:lnTo>
                    <a:lnTo>
                      <a:pt x="134" y="63"/>
                    </a:lnTo>
                    <a:lnTo>
                      <a:pt x="128" y="66"/>
                    </a:lnTo>
                    <a:lnTo>
                      <a:pt x="119" y="68"/>
                    </a:lnTo>
                    <a:lnTo>
                      <a:pt x="114" y="69"/>
                    </a:lnTo>
                    <a:lnTo>
                      <a:pt x="112" y="69"/>
                    </a:lnTo>
                    <a:lnTo>
                      <a:pt x="111" y="70"/>
                    </a:lnTo>
                    <a:lnTo>
                      <a:pt x="107" y="71"/>
                    </a:lnTo>
                    <a:lnTo>
                      <a:pt x="100" y="72"/>
                    </a:lnTo>
                    <a:lnTo>
                      <a:pt x="92" y="73"/>
                    </a:lnTo>
                    <a:lnTo>
                      <a:pt x="64" y="82"/>
                    </a:lnTo>
                    <a:lnTo>
                      <a:pt x="49" y="86"/>
                    </a:lnTo>
                    <a:lnTo>
                      <a:pt x="41" y="89"/>
                    </a:lnTo>
                    <a:lnTo>
                      <a:pt x="35" y="90"/>
                    </a:lnTo>
                    <a:lnTo>
                      <a:pt x="24" y="96"/>
                    </a:lnTo>
                    <a:lnTo>
                      <a:pt x="20" y="98"/>
                    </a:lnTo>
                    <a:lnTo>
                      <a:pt x="17" y="98"/>
                    </a:lnTo>
                    <a:lnTo>
                      <a:pt x="8" y="96"/>
                    </a:lnTo>
                    <a:lnTo>
                      <a:pt x="7" y="97"/>
                    </a:lnTo>
                    <a:lnTo>
                      <a:pt x="5" y="98"/>
                    </a:lnTo>
                    <a:lnTo>
                      <a:pt x="7" y="99"/>
                    </a:lnTo>
                    <a:lnTo>
                      <a:pt x="7" y="103"/>
                    </a:lnTo>
                    <a:lnTo>
                      <a:pt x="8" y="102"/>
                    </a:lnTo>
                    <a:lnTo>
                      <a:pt x="11" y="106"/>
                    </a:lnTo>
                    <a:lnTo>
                      <a:pt x="17" y="109"/>
                    </a:lnTo>
                    <a:lnTo>
                      <a:pt x="17" y="108"/>
                    </a:lnTo>
                    <a:lnTo>
                      <a:pt x="16" y="107"/>
                    </a:lnTo>
                    <a:lnTo>
                      <a:pt x="20" y="106"/>
                    </a:lnTo>
                    <a:lnTo>
                      <a:pt x="21" y="106"/>
                    </a:lnTo>
                    <a:lnTo>
                      <a:pt x="23" y="105"/>
                    </a:lnTo>
                    <a:lnTo>
                      <a:pt x="23" y="102"/>
                    </a:lnTo>
                    <a:lnTo>
                      <a:pt x="19" y="102"/>
                    </a:lnTo>
                    <a:lnTo>
                      <a:pt x="20" y="100"/>
                    </a:lnTo>
                    <a:lnTo>
                      <a:pt x="23" y="100"/>
                    </a:lnTo>
                    <a:lnTo>
                      <a:pt x="24" y="99"/>
                    </a:lnTo>
                    <a:lnTo>
                      <a:pt x="24" y="100"/>
                    </a:lnTo>
                    <a:lnTo>
                      <a:pt x="23" y="102"/>
                    </a:lnTo>
                    <a:lnTo>
                      <a:pt x="24" y="103"/>
                    </a:lnTo>
                    <a:lnTo>
                      <a:pt x="33" y="104"/>
                    </a:lnTo>
                    <a:lnTo>
                      <a:pt x="36" y="105"/>
                    </a:lnTo>
                    <a:lnTo>
                      <a:pt x="36" y="106"/>
                    </a:lnTo>
                    <a:lnTo>
                      <a:pt x="35" y="108"/>
                    </a:lnTo>
                    <a:lnTo>
                      <a:pt x="36" y="109"/>
                    </a:lnTo>
                    <a:lnTo>
                      <a:pt x="37" y="109"/>
                    </a:lnTo>
                    <a:lnTo>
                      <a:pt x="37" y="108"/>
                    </a:lnTo>
                    <a:lnTo>
                      <a:pt x="38" y="106"/>
                    </a:lnTo>
                    <a:lnTo>
                      <a:pt x="39" y="105"/>
                    </a:lnTo>
                    <a:lnTo>
                      <a:pt x="39" y="106"/>
                    </a:lnTo>
                    <a:lnTo>
                      <a:pt x="38" y="108"/>
                    </a:lnTo>
                    <a:lnTo>
                      <a:pt x="39" y="114"/>
                    </a:lnTo>
                    <a:lnTo>
                      <a:pt x="35" y="114"/>
                    </a:lnTo>
                    <a:lnTo>
                      <a:pt x="33" y="120"/>
                    </a:lnTo>
                    <a:lnTo>
                      <a:pt x="34" y="122"/>
                    </a:lnTo>
                    <a:lnTo>
                      <a:pt x="34" y="123"/>
                    </a:lnTo>
                    <a:lnTo>
                      <a:pt x="36" y="125"/>
                    </a:lnTo>
                    <a:lnTo>
                      <a:pt x="39" y="126"/>
                    </a:lnTo>
                    <a:lnTo>
                      <a:pt x="39" y="127"/>
                    </a:lnTo>
                    <a:lnTo>
                      <a:pt x="37" y="129"/>
                    </a:lnTo>
                    <a:lnTo>
                      <a:pt x="37" y="131"/>
                    </a:lnTo>
                    <a:lnTo>
                      <a:pt x="36" y="131"/>
                    </a:lnTo>
                    <a:lnTo>
                      <a:pt x="33" y="126"/>
                    </a:lnTo>
                    <a:lnTo>
                      <a:pt x="31" y="125"/>
                    </a:lnTo>
                    <a:lnTo>
                      <a:pt x="22" y="123"/>
                    </a:lnTo>
                    <a:lnTo>
                      <a:pt x="19" y="120"/>
                    </a:lnTo>
                    <a:lnTo>
                      <a:pt x="17" y="118"/>
                    </a:lnTo>
                    <a:lnTo>
                      <a:pt x="17" y="117"/>
                    </a:lnTo>
                    <a:lnTo>
                      <a:pt x="13" y="116"/>
                    </a:lnTo>
                    <a:lnTo>
                      <a:pt x="14" y="117"/>
                    </a:lnTo>
                    <a:lnTo>
                      <a:pt x="14" y="118"/>
                    </a:lnTo>
                    <a:lnTo>
                      <a:pt x="12" y="118"/>
                    </a:lnTo>
                    <a:lnTo>
                      <a:pt x="14" y="119"/>
                    </a:lnTo>
                    <a:lnTo>
                      <a:pt x="14" y="120"/>
                    </a:lnTo>
                    <a:lnTo>
                      <a:pt x="12" y="120"/>
                    </a:lnTo>
                    <a:lnTo>
                      <a:pt x="13" y="123"/>
                    </a:lnTo>
                    <a:lnTo>
                      <a:pt x="12" y="124"/>
                    </a:lnTo>
                    <a:lnTo>
                      <a:pt x="13" y="125"/>
                    </a:lnTo>
                    <a:lnTo>
                      <a:pt x="13" y="127"/>
                    </a:lnTo>
                    <a:lnTo>
                      <a:pt x="15" y="130"/>
                    </a:lnTo>
                    <a:lnTo>
                      <a:pt x="15" y="134"/>
                    </a:lnTo>
                    <a:lnTo>
                      <a:pt x="14" y="137"/>
                    </a:lnTo>
                    <a:lnTo>
                      <a:pt x="15" y="138"/>
                    </a:lnTo>
                    <a:lnTo>
                      <a:pt x="16" y="141"/>
                    </a:lnTo>
                    <a:lnTo>
                      <a:pt x="18" y="143"/>
                    </a:lnTo>
                    <a:lnTo>
                      <a:pt x="19" y="146"/>
                    </a:lnTo>
                    <a:lnTo>
                      <a:pt x="20" y="147"/>
                    </a:lnTo>
                    <a:lnTo>
                      <a:pt x="20" y="149"/>
                    </a:lnTo>
                    <a:lnTo>
                      <a:pt x="22" y="155"/>
                    </a:lnTo>
                    <a:lnTo>
                      <a:pt x="21" y="157"/>
                    </a:lnTo>
                    <a:lnTo>
                      <a:pt x="23" y="158"/>
                    </a:lnTo>
                    <a:lnTo>
                      <a:pt x="23" y="162"/>
                    </a:lnTo>
                    <a:lnTo>
                      <a:pt x="24" y="165"/>
                    </a:lnTo>
                    <a:lnTo>
                      <a:pt x="25" y="165"/>
                    </a:lnTo>
                    <a:lnTo>
                      <a:pt x="25" y="168"/>
                    </a:lnTo>
                    <a:lnTo>
                      <a:pt x="22" y="171"/>
                    </a:lnTo>
                    <a:lnTo>
                      <a:pt x="22" y="172"/>
                    </a:lnTo>
                    <a:lnTo>
                      <a:pt x="20" y="174"/>
                    </a:lnTo>
                    <a:lnTo>
                      <a:pt x="20" y="177"/>
                    </a:lnTo>
                    <a:lnTo>
                      <a:pt x="21" y="179"/>
                    </a:lnTo>
                    <a:lnTo>
                      <a:pt x="18" y="189"/>
                    </a:lnTo>
                    <a:lnTo>
                      <a:pt x="13" y="192"/>
                    </a:lnTo>
                    <a:lnTo>
                      <a:pt x="2" y="198"/>
                    </a:lnTo>
                    <a:lnTo>
                      <a:pt x="1" y="199"/>
                    </a:lnTo>
                    <a:lnTo>
                      <a:pt x="3" y="200"/>
                    </a:lnTo>
                    <a:lnTo>
                      <a:pt x="2" y="202"/>
                    </a:lnTo>
                    <a:lnTo>
                      <a:pt x="3" y="206"/>
                    </a:lnTo>
                    <a:lnTo>
                      <a:pt x="3" y="207"/>
                    </a:lnTo>
                    <a:lnTo>
                      <a:pt x="0" y="210"/>
                    </a:lnTo>
                    <a:lnTo>
                      <a:pt x="1" y="212"/>
                    </a:lnTo>
                    <a:lnTo>
                      <a:pt x="7" y="213"/>
                    </a:lnTo>
                    <a:lnTo>
                      <a:pt x="14" y="219"/>
                    </a:lnTo>
                    <a:lnTo>
                      <a:pt x="18" y="220"/>
                    </a:lnTo>
                    <a:lnTo>
                      <a:pt x="27" y="230"/>
                    </a:lnTo>
                    <a:lnTo>
                      <a:pt x="36" y="235"/>
                    </a:lnTo>
                    <a:lnTo>
                      <a:pt x="40" y="239"/>
                    </a:lnTo>
                    <a:lnTo>
                      <a:pt x="41" y="240"/>
                    </a:lnTo>
                    <a:lnTo>
                      <a:pt x="39" y="241"/>
                    </a:lnTo>
                    <a:lnTo>
                      <a:pt x="38" y="244"/>
                    </a:lnTo>
                    <a:lnTo>
                      <a:pt x="38" y="245"/>
                    </a:lnTo>
                    <a:lnTo>
                      <a:pt x="40" y="247"/>
                    </a:lnTo>
                    <a:lnTo>
                      <a:pt x="40" y="248"/>
                    </a:lnTo>
                    <a:lnTo>
                      <a:pt x="36" y="254"/>
                    </a:lnTo>
                    <a:lnTo>
                      <a:pt x="33" y="255"/>
                    </a:lnTo>
                    <a:lnTo>
                      <a:pt x="32" y="258"/>
                    </a:lnTo>
                    <a:lnTo>
                      <a:pt x="33" y="260"/>
                    </a:lnTo>
                    <a:lnTo>
                      <a:pt x="35" y="265"/>
                    </a:lnTo>
                    <a:lnTo>
                      <a:pt x="36" y="268"/>
                    </a:lnTo>
                    <a:lnTo>
                      <a:pt x="36" y="269"/>
                    </a:lnTo>
                    <a:lnTo>
                      <a:pt x="37" y="270"/>
                    </a:lnTo>
                    <a:lnTo>
                      <a:pt x="45" y="273"/>
                    </a:lnTo>
                    <a:lnTo>
                      <a:pt x="46" y="274"/>
                    </a:lnTo>
                    <a:lnTo>
                      <a:pt x="46" y="276"/>
                    </a:lnTo>
                    <a:lnTo>
                      <a:pt x="45" y="279"/>
                    </a:lnTo>
                    <a:lnTo>
                      <a:pt x="45" y="282"/>
                    </a:lnTo>
                    <a:lnTo>
                      <a:pt x="44" y="285"/>
                    </a:lnTo>
                    <a:lnTo>
                      <a:pt x="44" y="288"/>
                    </a:lnTo>
                    <a:lnTo>
                      <a:pt x="45" y="289"/>
                    </a:lnTo>
                    <a:lnTo>
                      <a:pt x="47" y="290"/>
                    </a:lnTo>
                    <a:lnTo>
                      <a:pt x="50" y="293"/>
                    </a:lnTo>
                    <a:lnTo>
                      <a:pt x="49" y="294"/>
                    </a:lnTo>
                    <a:lnTo>
                      <a:pt x="49" y="296"/>
                    </a:lnTo>
                    <a:lnTo>
                      <a:pt x="46" y="299"/>
                    </a:lnTo>
                    <a:lnTo>
                      <a:pt x="47" y="300"/>
                    </a:lnTo>
                    <a:lnTo>
                      <a:pt x="45" y="303"/>
                    </a:lnTo>
                    <a:lnTo>
                      <a:pt x="47" y="305"/>
                    </a:lnTo>
                    <a:lnTo>
                      <a:pt x="45" y="307"/>
                    </a:lnTo>
                    <a:lnTo>
                      <a:pt x="45" y="308"/>
                    </a:lnTo>
                    <a:lnTo>
                      <a:pt x="45" y="310"/>
                    </a:lnTo>
                    <a:lnTo>
                      <a:pt x="45" y="311"/>
                    </a:lnTo>
                    <a:lnTo>
                      <a:pt x="42" y="312"/>
                    </a:lnTo>
                    <a:lnTo>
                      <a:pt x="41" y="314"/>
                    </a:lnTo>
                    <a:lnTo>
                      <a:pt x="38" y="316"/>
                    </a:lnTo>
                    <a:lnTo>
                      <a:pt x="37" y="319"/>
                    </a:lnTo>
                    <a:lnTo>
                      <a:pt x="38" y="321"/>
                    </a:lnTo>
                    <a:lnTo>
                      <a:pt x="41" y="322"/>
                    </a:lnTo>
                    <a:lnTo>
                      <a:pt x="42" y="325"/>
                    </a:lnTo>
                    <a:lnTo>
                      <a:pt x="42" y="327"/>
                    </a:lnTo>
                    <a:lnTo>
                      <a:pt x="42" y="329"/>
                    </a:lnTo>
                    <a:lnTo>
                      <a:pt x="45" y="331"/>
                    </a:lnTo>
                    <a:lnTo>
                      <a:pt x="48" y="333"/>
                    </a:lnTo>
                    <a:lnTo>
                      <a:pt x="50" y="335"/>
                    </a:lnTo>
                    <a:lnTo>
                      <a:pt x="50" y="342"/>
                    </a:lnTo>
                    <a:lnTo>
                      <a:pt x="46" y="347"/>
                    </a:lnTo>
                    <a:lnTo>
                      <a:pt x="47" y="348"/>
                    </a:lnTo>
                    <a:lnTo>
                      <a:pt x="49" y="349"/>
                    </a:lnTo>
                    <a:lnTo>
                      <a:pt x="53" y="351"/>
                    </a:lnTo>
                    <a:lnTo>
                      <a:pt x="58" y="354"/>
                    </a:lnTo>
                    <a:lnTo>
                      <a:pt x="62" y="354"/>
                    </a:lnTo>
                    <a:lnTo>
                      <a:pt x="65" y="355"/>
                    </a:lnTo>
                    <a:lnTo>
                      <a:pt x="66" y="359"/>
                    </a:lnTo>
                    <a:lnTo>
                      <a:pt x="66" y="360"/>
                    </a:lnTo>
                    <a:lnTo>
                      <a:pt x="66" y="361"/>
                    </a:lnTo>
                    <a:lnTo>
                      <a:pt x="65" y="363"/>
                    </a:lnTo>
                    <a:lnTo>
                      <a:pt x="67" y="366"/>
                    </a:lnTo>
                    <a:lnTo>
                      <a:pt x="66" y="368"/>
                    </a:lnTo>
                    <a:lnTo>
                      <a:pt x="67" y="370"/>
                    </a:lnTo>
                    <a:lnTo>
                      <a:pt x="71" y="374"/>
                    </a:lnTo>
                    <a:lnTo>
                      <a:pt x="71" y="376"/>
                    </a:lnTo>
                    <a:lnTo>
                      <a:pt x="71" y="379"/>
                    </a:lnTo>
                    <a:lnTo>
                      <a:pt x="71" y="380"/>
                    </a:lnTo>
                    <a:lnTo>
                      <a:pt x="69" y="384"/>
                    </a:lnTo>
                    <a:lnTo>
                      <a:pt x="69" y="386"/>
                    </a:lnTo>
                    <a:lnTo>
                      <a:pt x="68" y="388"/>
                    </a:lnTo>
                    <a:lnTo>
                      <a:pt x="69" y="390"/>
                    </a:lnTo>
                    <a:lnTo>
                      <a:pt x="68" y="391"/>
                    </a:lnTo>
                    <a:lnTo>
                      <a:pt x="68" y="392"/>
                    </a:lnTo>
                    <a:lnTo>
                      <a:pt x="66" y="394"/>
                    </a:lnTo>
                    <a:lnTo>
                      <a:pt x="67" y="396"/>
                    </a:lnTo>
                    <a:lnTo>
                      <a:pt x="67" y="397"/>
                    </a:lnTo>
                    <a:lnTo>
                      <a:pt x="66" y="400"/>
                    </a:lnTo>
                    <a:lnTo>
                      <a:pt x="64" y="401"/>
                    </a:lnTo>
                    <a:lnTo>
                      <a:pt x="63" y="405"/>
                    </a:lnTo>
                    <a:lnTo>
                      <a:pt x="61" y="409"/>
                    </a:lnTo>
                    <a:lnTo>
                      <a:pt x="60" y="412"/>
                    </a:lnTo>
                    <a:lnTo>
                      <a:pt x="55" y="418"/>
                    </a:lnTo>
                    <a:lnTo>
                      <a:pt x="55" y="419"/>
                    </a:lnTo>
                    <a:lnTo>
                      <a:pt x="58" y="420"/>
                    </a:lnTo>
                    <a:lnTo>
                      <a:pt x="59" y="418"/>
                    </a:lnTo>
                    <a:lnTo>
                      <a:pt x="61" y="419"/>
                    </a:lnTo>
                    <a:lnTo>
                      <a:pt x="62" y="418"/>
                    </a:lnTo>
                    <a:lnTo>
                      <a:pt x="65" y="420"/>
                    </a:lnTo>
                    <a:lnTo>
                      <a:pt x="69" y="419"/>
                    </a:lnTo>
                    <a:lnTo>
                      <a:pt x="68" y="417"/>
                    </a:lnTo>
                    <a:lnTo>
                      <a:pt x="69" y="415"/>
                    </a:lnTo>
                    <a:lnTo>
                      <a:pt x="68" y="414"/>
                    </a:lnTo>
                    <a:lnTo>
                      <a:pt x="69" y="413"/>
                    </a:lnTo>
                    <a:lnTo>
                      <a:pt x="70" y="410"/>
                    </a:lnTo>
                    <a:lnTo>
                      <a:pt x="70" y="408"/>
                    </a:lnTo>
                    <a:lnTo>
                      <a:pt x="69" y="407"/>
                    </a:lnTo>
                    <a:lnTo>
                      <a:pt x="67" y="407"/>
                    </a:lnTo>
                    <a:lnTo>
                      <a:pt x="66" y="406"/>
                    </a:lnTo>
                    <a:lnTo>
                      <a:pt x="68" y="404"/>
                    </a:lnTo>
                    <a:lnTo>
                      <a:pt x="70" y="404"/>
                    </a:lnTo>
                    <a:lnTo>
                      <a:pt x="70" y="402"/>
                    </a:lnTo>
                    <a:lnTo>
                      <a:pt x="71" y="404"/>
                    </a:lnTo>
                    <a:lnTo>
                      <a:pt x="73" y="404"/>
                    </a:lnTo>
                    <a:lnTo>
                      <a:pt x="74" y="403"/>
                    </a:lnTo>
                    <a:lnTo>
                      <a:pt x="77" y="404"/>
                    </a:lnTo>
                    <a:lnTo>
                      <a:pt x="76" y="406"/>
                    </a:lnTo>
                    <a:lnTo>
                      <a:pt x="79" y="406"/>
                    </a:lnTo>
                    <a:lnTo>
                      <a:pt x="80" y="406"/>
                    </a:lnTo>
                    <a:lnTo>
                      <a:pt x="80" y="404"/>
                    </a:lnTo>
                    <a:lnTo>
                      <a:pt x="82" y="403"/>
                    </a:lnTo>
                    <a:lnTo>
                      <a:pt x="83" y="407"/>
                    </a:lnTo>
                    <a:lnTo>
                      <a:pt x="87" y="406"/>
                    </a:lnTo>
                    <a:lnTo>
                      <a:pt x="88" y="408"/>
                    </a:lnTo>
                    <a:lnTo>
                      <a:pt x="90" y="408"/>
                    </a:lnTo>
                    <a:lnTo>
                      <a:pt x="90" y="409"/>
                    </a:lnTo>
                    <a:lnTo>
                      <a:pt x="92" y="410"/>
                    </a:lnTo>
                    <a:lnTo>
                      <a:pt x="90" y="412"/>
                    </a:lnTo>
                    <a:lnTo>
                      <a:pt x="90" y="414"/>
                    </a:lnTo>
                    <a:lnTo>
                      <a:pt x="91" y="416"/>
                    </a:lnTo>
                    <a:lnTo>
                      <a:pt x="93" y="420"/>
                    </a:lnTo>
                    <a:lnTo>
                      <a:pt x="97" y="422"/>
                    </a:lnTo>
                    <a:lnTo>
                      <a:pt x="97" y="424"/>
                    </a:lnTo>
                    <a:lnTo>
                      <a:pt x="97" y="427"/>
                    </a:lnTo>
                    <a:lnTo>
                      <a:pt x="98" y="429"/>
                    </a:lnTo>
                    <a:lnTo>
                      <a:pt x="100" y="429"/>
                    </a:lnTo>
                    <a:lnTo>
                      <a:pt x="103" y="425"/>
                    </a:lnTo>
                    <a:lnTo>
                      <a:pt x="104" y="426"/>
                    </a:lnTo>
                    <a:lnTo>
                      <a:pt x="109" y="429"/>
                    </a:lnTo>
                    <a:lnTo>
                      <a:pt x="116" y="429"/>
                    </a:lnTo>
                    <a:lnTo>
                      <a:pt x="118" y="430"/>
                    </a:lnTo>
                    <a:lnTo>
                      <a:pt x="120" y="430"/>
                    </a:lnTo>
                    <a:lnTo>
                      <a:pt x="121" y="431"/>
                    </a:lnTo>
                    <a:lnTo>
                      <a:pt x="122" y="433"/>
                    </a:lnTo>
                    <a:lnTo>
                      <a:pt x="126" y="433"/>
                    </a:lnTo>
                    <a:lnTo>
                      <a:pt x="130" y="432"/>
                    </a:lnTo>
                    <a:lnTo>
                      <a:pt x="131" y="431"/>
                    </a:lnTo>
                    <a:lnTo>
                      <a:pt x="132" y="432"/>
                    </a:lnTo>
                    <a:lnTo>
                      <a:pt x="133" y="432"/>
                    </a:lnTo>
                    <a:lnTo>
                      <a:pt x="133" y="435"/>
                    </a:lnTo>
                    <a:lnTo>
                      <a:pt x="135" y="436"/>
                    </a:lnTo>
                    <a:lnTo>
                      <a:pt x="136" y="440"/>
                    </a:lnTo>
                    <a:lnTo>
                      <a:pt x="144" y="438"/>
                    </a:lnTo>
                    <a:lnTo>
                      <a:pt x="146" y="439"/>
                    </a:lnTo>
                    <a:lnTo>
                      <a:pt x="148" y="441"/>
                    </a:lnTo>
                    <a:lnTo>
                      <a:pt x="147" y="442"/>
                    </a:lnTo>
                    <a:lnTo>
                      <a:pt x="149" y="444"/>
                    </a:lnTo>
                    <a:lnTo>
                      <a:pt x="146" y="446"/>
                    </a:lnTo>
                    <a:lnTo>
                      <a:pt x="146" y="447"/>
                    </a:lnTo>
                    <a:lnTo>
                      <a:pt x="147" y="447"/>
                    </a:lnTo>
                    <a:lnTo>
                      <a:pt x="151" y="447"/>
                    </a:lnTo>
                    <a:lnTo>
                      <a:pt x="152" y="443"/>
                    </a:lnTo>
                    <a:lnTo>
                      <a:pt x="155" y="441"/>
                    </a:lnTo>
                    <a:lnTo>
                      <a:pt x="159" y="442"/>
                    </a:lnTo>
                    <a:lnTo>
                      <a:pt x="161" y="443"/>
                    </a:lnTo>
                    <a:lnTo>
                      <a:pt x="161" y="444"/>
                    </a:lnTo>
                    <a:lnTo>
                      <a:pt x="164" y="443"/>
                    </a:lnTo>
                    <a:lnTo>
                      <a:pt x="165" y="440"/>
                    </a:lnTo>
                    <a:lnTo>
                      <a:pt x="169" y="441"/>
                    </a:lnTo>
                    <a:lnTo>
                      <a:pt x="172" y="441"/>
                    </a:lnTo>
                    <a:lnTo>
                      <a:pt x="174" y="441"/>
                    </a:lnTo>
                    <a:lnTo>
                      <a:pt x="177" y="445"/>
                    </a:lnTo>
                    <a:lnTo>
                      <a:pt x="180" y="447"/>
                    </a:lnTo>
                    <a:lnTo>
                      <a:pt x="181" y="449"/>
                    </a:lnTo>
                    <a:lnTo>
                      <a:pt x="181" y="450"/>
                    </a:lnTo>
                    <a:lnTo>
                      <a:pt x="179" y="450"/>
                    </a:lnTo>
                    <a:lnTo>
                      <a:pt x="179" y="452"/>
                    </a:lnTo>
                    <a:lnTo>
                      <a:pt x="178" y="454"/>
                    </a:lnTo>
                    <a:lnTo>
                      <a:pt x="178" y="455"/>
                    </a:lnTo>
                    <a:lnTo>
                      <a:pt x="175" y="458"/>
                    </a:lnTo>
                    <a:lnTo>
                      <a:pt x="174" y="459"/>
                    </a:lnTo>
                    <a:lnTo>
                      <a:pt x="171" y="457"/>
                    </a:lnTo>
                    <a:lnTo>
                      <a:pt x="170" y="460"/>
                    </a:lnTo>
                    <a:lnTo>
                      <a:pt x="169" y="460"/>
                    </a:lnTo>
                    <a:lnTo>
                      <a:pt x="165" y="462"/>
                    </a:lnTo>
                    <a:lnTo>
                      <a:pt x="165" y="464"/>
                    </a:lnTo>
                    <a:lnTo>
                      <a:pt x="163" y="463"/>
                    </a:lnTo>
                    <a:lnTo>
                      <a:pt x="163" y="466"/>
                    </a:lnTo>
                    <a:lnTo>
                      <a:pt x="164" y="467"/>
                    </a:lnTo>
                    <a:lnTo>
                      <a:pt x="166" y="467"/>
                    </a:lnTo>
                    <a:lnTo>
                      <a:pt x="168" y="471"/>
                    </a:lnTo>
                    <a:lnTo>
                      <a:pt x="169" y="472"/>
                    </a:lnTo>
                    <a:lnTo>
                      <a:pt x="171" y="471"/>
                    </a:lnTo>
                    <a:lnTo>
                      <a:pt x="175" y="471"/>
                    </a:lnTo>
                    <a:lnTo>
                      <a:pt x="175" y="473"/>
                    </a:lnTo>
                    <a:lnTo>
                      <a:pt x="175" y="475"/>
                    </a:lnTo>
                    <a:lnTo>
                      <a:pt x="177" y="477"/>
                    </a:lnTo>
                    <a:lnTo>
                      <a:pt x="181" y="477"/>
                    </a:lnTo>
                    <a:lnTo>
                      <a:pt x="187" y="486"/>
                    </a:lnTo>
                    <a:lnTo>
                      <a:pt x="189" y="487"/>
                    </a:lnTo>
                    <a:lnTo>
                      <a:pt x="191" y="489"/>
                    </a:lnTo>
                    <a:lnTo>
                      <a:pt x="191" y="493"/>
                    </a:lnTo>
                    <a:lnTo>
                      <a:pt x="195" y="498"/>
                    </a:lnTo>
                    <a:lnTo>
                      <a:pt x="196" y="499"/>
                    </a:lnTo>
                    <a:lnTo>
                      <a:pt x="203" y="500"/>
                    </a:lnTo>
                    <a:lnTo>
                      <a:pt x="206" y="497"/>
                    </a:lnTo>
                    <a:lnTo>
                      <a:pt x="208" y="496"/>
                    </a:lnTo>
                    <a:lnTo>
                      <a:pt x="208" y="495"/>
                    </a:lnTo>
                    <a:lnTo>
                      <a:pt x="210" y="491"/>
                    </a:lnTo>
                    <a:lnTo>
                      <a:pt x="212" y="491"/>
                    </a:lnTo>
                    <a:lnTo>
                      <a:pt x="213" y="489"/>
                    </a:lnTo>
                    <a:lnTo>
                      <a:pt x="216" y="490"/>
                    </a:lnTo>
                    <a:lnTo>
                      <a:pt x="218" y="487"/>
                    </a:lnTo>
                    <a:lnTo>
                      <a:pt x="221" y="487"/>
                    </a:lnTo>
                    <a:lnTo>
                      <a:pt x="223" y="487"/>
                    </a:lnTo>
                    <a:lnTo>
                      <a:pt x="222" y="486"/>
                    </a:lnTo>
                    <a:lnTo>
                      <a:pt x="223" y="485"/>
                    </a:lnTo>
                    <a:lnTo>
                      <a:pt x="224" y="486"/>
                    </a:lnTo>
                    <a:lnTo>
                      <a:pt x="225" y="488"/>
                    </a:lnTo>
                    <a:lnTo>
                      <a:pt x="227" y="488"/>
                    </a:lnTo>
                    <a:lnTo>
                      <a:pt x="227" y="486"/>
                    </a:lnTo>
                    <a:lnTo>
                      <a:pt x="226" y="484"/>
                    </a:lnTo>
                    <a:lnTo>
                      <a:pt x="227" y="483"/>
                    </a:lnTo>
                    <a:lnTo>
                      <a:pt x="226" y="481"/>
                    </a:lnTo>
                    <a:lnTo>
                      <a:pt x="223" y="478"/>
                    </a:lnTo>
                    <a:lnTo>
                      <a:pt x="220" y="477"/>
                    </a:lnTo>
                    <a:lnTo>
                      <a:pt x="220" y="475"/>
                    </a:lnTo>
                    <a:lnTo>
                      <a:pt x="219" y="473"/>
                    </a:lnTo>
                    <a:lnTo>
                      <a:pt x="219" y="471"/>
                    </a:lnTo>
                    <a:lnTo>
                      <a:pt x="214" y="467"/>
                    </a:lnTo>
                    <a:lnTo>
                      <a:pt x="216" y="465"/>
                    </a:lnTo>
                    <a:lnTo>
                      <a:pt x="218" y="464"/>
                    </a:lnTo>
                    <a:lnTo>
                      <a:pt x="223" y="467"/>
                    </a:lnTo>
                    <a:lnTo>
                      <a:pt x="225" y="466"/>
                    </a:lnTo>
                    <a:lnTo>
                      <a:pt x="229" y="468"/>
                    </a:lnTo>
                    <a:lnTo>
                      <a:pt x="233" y="468"/>
                    </a:lnTo>
                    <a:lnTo>
                      <a:pt x="234" y="469"/>
                    </a:lnTo>
                    <a:lnTo>
                      <a:pt x="237" y="471"/>
                    </a:lnTo>
                    <a:lnTo>
                      <a:pt x="241" y="470"/>
                    </a:lnTo>
                    <a:lnTo>
                      <a:pt x="240" y="472"/>
                    </a:lnTo>
                    <a:lnTo>
                      <a:pt x="241" y="473"/>
                    </a:lnTo>
                    <a:lnTo>
                      <a:pt x="247" y="477"/>
                    </a:lnTo>
                    <a:lnTo>
                      <a:pt x="252" y="477"/>
                    </a:lnTo>
                    <a:lnTo>
                      <a:pt x="251" y="478"/>
                    </a:lnTo>
                    <a:lnTo>
                      <a:pt x="252" y="479"/>
                    </a:lnTo>
                    <a:lnTo>
                      <a:pt x="252" y="481"/>
                    </a:lnTo>
                    <a:lnTo>
                      <a:pt x="253" y="483"/>
                    </a:lnTo>
                    <a:lnTo>
                      <a:pt x="254" y="483"/>
                    </a:lnTo>
                    <a:lnTo>
                      <a:pt x="254" y="481"/>
                    </a:lnTo>
                    <a:lnTo>
                      <a:pt x="256" y="481"/>
                    </a:lnTo>
                    <a:lnTo>
                      <a:pt x="259" y="482"/>
                    </a:lnTo>
                    <a:lnTo>
                      <a:pt x="259" y="484"/>
                    </a:lnTo>
                    <a:lnTo>
                      <a:pt x="260" y="485"/>
                    </a:lnTo>
                    <a:lnTo>
                      <a:pt x="261" y="483"/>
                    </a:lnTo>
                    <a:lnTo>
                      <a:pt x="263" y="482"/>
                    </a:lnTo>
                    <a:lnTo>
                      <a:pt x="272" y="482"/>
                    </a:lnTo>
                    <a:lnTo>
                      <a:pt x="273" y="483"/>
                    </a:lnTo>
                    <a:lnTo>
                      <a:pt x="276" y="482"/>
                    </a:lnTo>
                    <a:lnTo>
                      <a:pt x="279" y="479"/>
                    </a:lnTo>
                    <a:lnTo>
                      <a:pt x="279" y="477"/>
                    </a:lnTo>
                    <a:lnTo>
                      <a:pt x="281" y="477"/>
                    </a:lnTo>
                    <a:lnTo>
                      <a:pt x="282" y="479"/>
                    </a:lnTo>
                    <a:lnTo>
                      <a:pt x="284" y="479"/>
                    </a:lnTo>
                    <a:lnTo>
                      <a:pt x="282" y="483"/>
                    </a:lnTo>
                    <a:lnTo>
                      <a:pt x="285" y="486"/>
                    </a:lnTo>
                    <a:lnTo>
                      <a:pt x="285" y="489"/>
                    </a:lnTo>
                    <a:lnTo>
                      <a:pt x="282" y="489"/>
                    </a:lnTo>
                    <a:lnTo>
                      <a:pt x="281" y="491"/>
                    </a:lnTo>
                    <a:lnTo>
                      <a:pt x="279" y="492"/>
                    </a:lnTo>
                    <a:lnTo>
                      <a:pt x="272" y="493"/>
                    </a:lnTo>
                    <a:lnTo>
                      <a:pt x="272" y="494"/>
                    </a:lnTo>
                    <a:lnTo>
                      <a:pt x="273" y="496"/>
                    </a:lnTo>
                    <a:lnTo>
                      <a:pt x="275" y="497"/>
                    </a:lnTo>
                    <a:lnTo>
                      <a:pt x="276" y="499"/>
                    </a:lnTo>
                    <a:lnTo>
                      <a:pt x="278" y="499"/>
                    </a:lnTo>
                    <a:lnTo>
                      <a:pt x="279" y="498"/>
                    </a:lnTo>
                    <a:lnTo>
                      <a:pt x="282" y="500"/>
                    </a:lnTo>
                    <a:lnTo>
                      <a:pt x="284" y="500"/>
                    </a:lnTo>
                    <a:lnTo>
                      <a:pt x="282" y="501"/>
                    </a:lnTo>
                    <a:lnTo>
                      <a:pt x="282" y="502"/>
                    </a:lnTo>
                    <a:lnTo>
                      <a:pt x="284" y="503"/>
                    </a:lnTo>
                    <a:lnTo>
                      <a:pt x="285" y="507"/>
                    </a:lnTo>
                    <a:lnTo>
                      <a:pt x="287" y="510"/>
                    </a:lnTo>
                    <a:lnTo>
                      <a:pt x="289" y="510"/>
                    </a:lnTo>
                    <a:lnTo>
                      <a:pt x="290" y="512"/>
                    </a:lnTo>
                    <a:lnTo>
                      <a:pt x="296" y="513"/>
                    </a:lnTo>
                    <a:lnTo>
                      <a:pt x="298" y="513"/>
                    </a:lnTo>
                    <a:lnTo>
                      <a:pt x="301" y="510"/>
                    </a:lnTo>
                    <a:lnTo>
                      <a:pt x="302" y="510"/>
                    </a:lnTo>
                    <a:lnTo>
                      <a:pt x="303" y="510"/>
                    </a:lnTo>
                    <a:lnTo>
                      <a:pt x="307" y="510"/>
                    </a:lnTo>
                    <a:lnTo>
                      <a:pt x="307" y="507"/>
                    </a:lnTo>
                    <a:lnTo>
                      <a:pt x="304" y="507"/>
                    </a:lnTo>
                    <a:lnTo>
                      <a:pt x="304" y="505"/>
                    </a:lnTo>
                    <a:lnTo>
                      <a:pt x="306" y="504"/>
                    </a:lnTo>
                    <a:lnTo>
                      <a:pt x="308" y="505"/>
                    </a:lnTo>
                    <a:lnTo>
                      <a:pt x="310" y="507"/>
                    </a:lnTo>
                    <a:lnTo>
                      <a:pt x="311" y="508"/>
                    </a:lnTo>
                    <a:lnTo>
                      <a:pt x="311" y="510"/>
                    </a:lnTo>
                    <a:lnTo>
                      <a:pt x="311" y="511"/>
                    </a:lnTo>
                    <a:lnTo>
                      <a:pt x="314" y="511"/>
                    </a:lnTo>
                    <a:lnTo>
                      <a:pt x="318" y="511"/>
                    </a:lnTo>
                    <a:lnTo>
                      <a:pt x="320" y="514"/>
                    </a:lnTo>
                    <a:lnTo>
                      <a:pt x="324" y="515"/>
                    </a:lnTo>
                    <a:lnTo>
                      <a:pt x="325" y="518"/>
                    </a:lnTo>
                    <a:lnTo>
                      <a:pt x="328" y="520"/>
                    </a:lnTo>
                    <a:lnTo>
                      <a:pt x="329" y="518"/>
                    </a:lnTo>
                    <a:lnTo>
                      <a:pt x="330" y="519"/>
                    </a:lnTo>
                    <a:lnTo>
                      <a:pt x="330" y="517"/>
                    </a:lnTo>
                    <a:lnTo>
                      <a:pt x="333" y="518"/>
                    </a:lnTo>
                    <a:lnTo>
                      <a:pt x="337" y="517"/>
                    </a:lnTo>
                    <a:lnTo>
                      <a:pt x="337" y="519"/>
                    </a:lnTo>
                    <a:lnTo>
                      <a:pt x="343" y="522"/>
                    </a:lnTo>
                    <a:lnTo>
                      <a:pt x="345" y="521"/>
                    </a:lnTo>
                    <a:lnTo>
                      <a:pt x="346" y="519"/>
                    </a:lnTo>
                    <a:lnTo>
                      <a:pt x="348" y="519"/>
                    </a:lnTo>
                    <a:lnTo>
                      <a:pt x="348" y="520"/>
                    </a:lnTo>
                    <a:lnTo>
                      <a:pt x="348" y="524"/>
                    </a:lnTo>
                    <a:lnTo>
                      <a:pt x="351" y="525"/>
                    </a:lnTo>
                    <a:lnTo>
                      <a:pt x="349" y="527"/>
                    </a:lnTo>
                    <a:lnTo>
                      <a:pt x="349" y="528"/>
                    </a:lnTo>
                    <a:lnTo>
                      <a:pt x="348" y="529"/>
                    </a:lnTo>
                    <a:lnTo>
                      <a:pt x="353" y="538"/>
                    </a:lnTo>
                    <a:lnTo>
                      <a:pt x="353" y="540"/>
                    </a:lnTo>
                    <a:lnTo>
                      <a:pt x="354" y="542"/>
                    </a:lnTo>
                    <a:lnTo>
                      <a:pt x="359" y="542"/>
                    </a:lnTo>
                    <a:lnTo>
                      <a:pt x="360" y="544"/>
                    </a:lnTo>
                    <a:lnTo>
                      <a:pt x="361" y="545"/>
                    </a:lnTo>
                    <a:lnTo>
                      <a:pt x="364" y="544"/>
                    </a:lnTo>
                    <a:lnTo>
                      <a:pt x="366" y="545"/>
                    </a:lnTo>
                    <a:lnTo>
                      <a:pt x="366" y="548"/>
                    </a:lnTo>
                    <a:lnTo>
                      <a:pt x="368" y="554"/>
                    </a:lnTo>
                    <a:lnTo>
                      <a:pt x="369" y="557"/>
                    </a:lnTo>
                    <a:lnTo>
                      <a:pt x="370" y="559"/>
                    </a:lnTo>
                    <a:lnTo>
                      <a:pt x="369" y="561"/>
                    </a:lnTo>
                    <a:lnTo>
                      <a:pt x="370" y="562"/>
                    </a:lnTo>
                    <a:lnTo>
                      <a:pt x="377" y="562"/>
                    </a:lnTo>
                    <a:lnTo>
                      <a:pt x="379" y="563"/>
                    </a:lnTo>
                    <a:lnTo>
                      <a:pt x="378" y="566"/>
                    </a:lnTo>
                    <a:lnTo>
                      <a:pt x="379" y="566"/>
                    </a:lnTo>
                    <a:lnTo>
                      <a:pt x="379" y="568"/>
                    </a:lnTo>
                    <a:lnTo>
                      <a:pt x="379" y="569"/>
                    </a:lnTo>
                    <a:lnTo>
                      <a:pt x="380" y="571"/>
                    </a:lnTo>
                    <a:lnTo>
                      <a:pt x="379" y="574"/>
                    </a:lnTo>
                    <a:lnTo>
                      <a:pt x="384" y="575"/>
                    </a:lnTo>
                    <a:lnTo>
                      <a:pt x="385" y="574"/>
                    </a:lnTo>
                    <a:lnTo>
                      <a:pt x="386" y="573"/>
                    </a:lnTo>
                    <a:lnTo>
                      <a:pt x="388" y="572"/>
                    </a:lnTo>
                    <a:lnTo>
                      <a:pt x="391" y="574"/>
                    </a:lnTo>
                    <a:lnTo>
                      <a:pt x="392" y="574"/>
                    </a:lnTo>
                    <a:lnTo>
                      <a:pt x="394" y="574"/>
                    </a:lnTo>
                    <a:lnTo>
                      <a:pt x="397" y="573"/>
                    </a:lnTo>
                    <a:lnTo>
                      <a:pt x="396" y="570"/>
                    </a:lnTo>
                    <a:lnTo>
                      <a:pt x="397" y="569"/>
                    </a:lnTo>
                    <a:lnTo>
                      <a:pt x="399" y="568"/>
                    </a:lnTo>
                    <a:lnTo>
                      <a:pt x="398" y="566"/>
                    </a:lnTo>
                    <a:lnTo>
                      <a:pt x="400" y="563"/>
                    </a:lnTo>
                    <a:lnTo>
                      <a:pt x="402" y="560"/>
                    </a:lnTo>
                    <a:lnTo>
                      <a:pt x="410" y="560"/>
                    </a:lnTo>
                    <a:lnTo>
                      <a:pt x="411" y="556"/>
                    </a:lnTo>
                    <a:lnTo>
                      <a:pt x="414" y="555"/>
                    </a:lnTo>
                    <a:lnTo>
                      <a:pt x="414" y="554"/>
                    </a:lnTo>
                    <a:lnTo>
                      <a:pt x="415" y="553"/>
                    </a:lnTo>
                    <a:lnTo>
                      <a:pt x="417" y="552"/>
                    </a:lnTo>
                    <a:lnTo>
                      <a:pt x="420" y="555"/>
                    </a:lnTo>
                    <a:lnTo>
                      <a:pt x="421" y="555"/>
                    </a:lnTo>
                    <a:lnTo>
                      <a:pt x="423" y="556"/>
                    </a:lnTo>
                    <a:lnTo>
                      <a:pt x="423" y="561"/>
                    </a:lnTo>
                    <a:lnTo>
                      <a:pt x="426" y="568"/>
                    </a:lnTo>
                    <a:lnTo>
                      <a:pt x="429" y="569"/>
                    </a:lnTo>
                    <a:lnTo>
                      <a:pt x="432" y="568"/>
                    </a:lnTo>
                    <a:lnTo>
                      <a:pt x="431" y="570"/>
                    </a:lnTo>
                    <a:lnTo>
                      <a:pt x="432" y="571"/>
                    </a:lnTo>
                    <a:lnTo>
                      <a:pt x="431" y="574"/>
                    </a:lnTo>
                    <a:lnTo>
                      <a:pt x="436" y="574"/>
                    </a:lnTo>
                    <a:lnTo>
                      <a:pt x="438" y="575"/>
                    </a:lnTo>
                    <a:lnTo>
                      <a:pt x="441" y="573"/>
                    </a:lnTo>
                    <a:lnTo>
                      <a:pt x="443" y="574"/>
                    </a:lnTo>
                    <a:lnTo>
                      <a:pt x="444" y="582"/>
                    </a:lnTo>
                    <a:lnTo>
                      <a:pt x="443" y="584"/>
                    </a:lnTo>
                    <a:lnTo>
                      <a:pt x="446" y="587"/>
                    </a:lnTo>
                    <a:lnTo>
                      <a:pt x="444" y="588"/>
                    </a:lnTo>
                    <a:lnTo>
                      <a:pt x="443" y="590"/>
                    </a:lnTo>
                    <a:lnTo>
                      <a:pt x="441" y="592"/>
                    </a:lnTo>
                    <a:lnTo>
                      <a:pt x="441" y="594"/>
                    </a:lnTo>
                    <a:lnTo>
                      <a:pt x="443" y="595"/>
                    </a:lnTo>
                    <a:lnTo>
                      <a:pt x="445" y="595"/>
                    </a:lnTo>
                    <a:lnTo>
                      <a:pt x="446" y="596"/>
                    </a:lnTo>
                    <a:lnTo>
                      <a:pt x="449" y="595"/>
                    </a:lnTo>
                    <a:lnTo>
                      <a:pt x="451" y="594"/>
                    </a:lnTo>
                    <a:lnTo>
                      <a:pt x="452" y="592"/>
                    </a:lnTo>
                    <a:lnTo>
                      <a:pt x="454" y="592"/>
                    </a:lnTo>
                    <a:lnTo>
                      <a:pt x="459" y="592"/>
                    </a:lnTo>
                    <a:lnTo>
                      <a:pt x="459" y="594"/>
                    </a:lnTo>
                    <a:lnTo>
                      <a:pt x="462" y="597"/>
                    </a:lnTo>
                    <a:lnTo>
                      <a:pt x="466" y="598"/>
                    </a:lnTo>
                    <a:lnTo>
                      <a:pt x="466" y="597"/>
                    </a:lnTo>
                    <a:lnTo>
                      <a:pt x="467" y="590"/>
                    </a:lnTo>
                    <a:lnTo>
                      <a:pt x="469" y="588"/>
                    </a:lnTo>
                    <a:lnTo>
                      <a:pt x="470" y="582"/>
                    </a:lnTo>
                    <a:lnTo>
                      <a:pt x="472" y="584"/>
                    </a:lnTo>
                    <a:lnTo>
                      <a:pt x="473" y="582"/>
                    </a:lnTo>
                    <a:lnTo>
                      <a:pt x="475" y="580"/>
                    </a:lnTo>
                    <a:lnTo>
                      <a:pt x="483" y="580"/>
                    </a:lnTo>
                    <a:lnTo>
                      <a:pt x="484" y="577"/>
                    </a:lnTo>
                    <a:lnTo>
                      <a:pt x="485" y="576"/>
                    </a:lnTo>
                    <a:lnTo>
                      <a:pt x="484" y="574"/>
                    </a:lnTo>
                    <a:lnTo>
                      <a:pt x="485" y="574"/>
                    </a:lnTo>
                    <a:lnTo>
                      <a:pt x="489" y="574"/>
                    </a:lnTo>
                    <a:lnTo>
                      <a:pt x="490" y="576"/>
                    </a:lnTo>
                    <a:lnTo>
                      <a:pt x="491" y="574"/>
                    </a:lnTo>
                    <a:lnTo>
                      <a:pt x="493" y="575"/>
                    </a:lnTo>
                    <a:lnTo>
                      <a:pt x="493" y="573"/>
                    </a:lnTo>
                    <a:lnTo>
                      <a:pt x="494" y="573"/>
                    </a:lnTo>
                    <a:lnTo>
                      <a:pt x="498" y="574"/>
                    </a:lnTo>
                    <a:lnTo>
                      <a:pt x="500" y="576"/>
                    </a:lnTo>
                    <a:lnTo>
                      <a:pt x="504" y="576"/>
                    </a:lnTo>
                    <a:lnTo>
                      <a:pt x="506" y="574"/>
                    </a:lnTo>
                    <a:lnTo>
                      <a:pt x="507" y="573"/>
                    </a:lnTo>
                    <a:lnTo>
                      <a:pt x="511" y="574"/>
                    </a:lnTo>
                    <a:lnTo>
                      <a:pt x="513" y="572"/>
                    </a:lnTo>
                    <a:lnTo>
                      <a:pt x="514" y="572"/>
                    </a:lnTo>
                    <a:lnTo>
                      <a:pt x="517" y="574"/>
                    </a:lnTo>
                    <a:lnTo>
                      <a:pt x="517" y="577"/>
                    </a:lnTo>
                    <a:lnTo>
                      <a:pt x="519" y="578"/>
                    </a:lnTo>
                    <a:lnTo>
                      <a:pt x="520" y="579"/>
                    </a:lnTo>
                    <a:lnTo>
                      <a:pt x="522" y="579"/>
                    </a:lnTo>
                    <a:lnTo>
                      <a:pt x="522" y="581"/>
                    </a:lnTo>
                    <a:lnTo>
                      <a:pt x="527" y="581"/>
                    </a:lnTo>
                    <a:lnTo>
                      <a:pt x="528" y="582"/>
                    </a:lnTo>
                    <a:lnTo>
                      <a:pt x="529" y="582"/>
                    </a:lnTo>
                    <a:lnTo>
                      <a:pt x="530" y="584"/>
                    </a:lnTo>
                    <a:lnTo>
                      <a:pt x="531" y="585"/>
                    </a:lnTo>
                    <a:lnTo>
                      <a:pt x="536" y="584"/>
                    </a:lnTo>
                    <a:lnTo>
                      <a:pt x="540" y="578"/>
                    </a:lnTo>
                    <a:lnTo>
                      <a:pt x="545" y="578"/>
                    </a:lnTo>
                    <a:lnTo>
                      <a:pt x="545" y="576"/>
                    </a:lnTo>
                    <a:lnTo>
                      <a:pt x="541" y="574"/>
                    </a:lnTo>
                    <a:lnTo>
                      <a:pt x="541" y="572"/>
                    </a:lnTo>
                    <a:lnTo>
                      <a:pt x="542" y="572"/>
                    </a:lnTo>
                    <a:lnTo>
                      <a:pt x="547" y="570"/>
                    </a:lnTo>
                    <a:lnTo>
                      <a:pt x="549" y="571"/>
                    </a:lnTo>
                    <a:lnTo>
                      <a:pt x="551" y="573"/>
                    </a:lnTo>
                    <a:lnTo>
                      <a:pt x="553" y="574"/>
                    </a:lnTo>
                    <a:lnTo>
                      <a:pt x="559" y="568"/>
                    </a:lnTo>
                    <a:lnTo>
                      <a:pt x="561" y="570"/>
                    </a:lnTo>
                    <a:lnTo>
                      <a:pt x="563" y="569"/>
                    </a:lnTo>
                    <a:lnTo>
                      <a:pt x="566" y="571"/>
                    </a:lnTo>
                    <a:lnTo>
                      <a:pt x="569" y="571"/>
                    </a:lnTo>
                    <a:lnTo>
                      <a:pt x="572" y="573"/>
                    </a:lnTo>
                    <a:lnTo>
                      <a:pt x="576" y="572"/>
                    </a:lnTo>
                    <a:lnTo>
                      <a:pt x="577" y="572"/>
                    </a:lnTo>
                    <a:lnTo>
                      <a:pt x="579" y="571"/>
                    </a:lnTo>
                    <a:lnTo>
                      <a:pt x="583" y="571"/>
                    </a:lnTo>
                    <a:lnTo>
                      <a:pt x="585" y="570"/>
                    </a:lnTo>
                    <a:lnTo>
                      <a:pt x="590" y="573"/>
                    </a:lnTo>
                    <a:lnTo>
                      <a:pt x="591" y="572"/>
                    </a:lnTo>
                    <a:lnTo>
                      <a:pt x="592" y="572"/>
                    </a:lnTo>
                    <a:lnTo>
                      <a:pt x="594" y="575"/>
                    </a:lnTo>
                    <a:lnTo>
                      <a:pt x="596" y="576"/>
                    </a:lnTo>
                    <a:lnTo>
                      <a:pt x="598" y="578"/>
                    </a:lnTo>
                    <a:lnTo>
                      <a:pt x="599" y="576"/>
                    </a:lnTo>
                    <a:lnTo>
                      <a:pt x="602" y="576"/>
                    </a:lnTo>
                    <a:lnTo>
                      <a:pt x="610" y="580"/>
                    </a:lnTo>
                    <a:lnTo>
                      <a:pt x="612" y="580"/>
                    </a:lnTo>
                    <a:lnTo>
                      <a:pt x="615" y="585"/>
                    </a:lnTo>
                    <a:lnTo>
                      <a:pt x="617" y="587"/>
                    </a:lnTo>
                    <a:lnTo>
                      <a:pt x="618" y="594"/>
                    </a:lnTo>
                    <a:lnTo>
                      <a:pt x="625" y="595"/>
                    </a:lnTo>
                    <a:lnTo>
                      <a:pt x="630" y="598"/>
                    </a:lnTo>
                    <a:lnTo>
                      <a:pt x="633" y="597"/>
                    </a:lnTo>
                    <a:lnTo>
                      <a:pt x="634" y="598"/>
                    </a:lnTo>
                    <a:lnTo>
                      <a:pt x="633" y="600"/>
                    </a:lnTo>
                    <a:lnTo>
                      <a:pt x="634" y="600"/>
                    </a:lnTo>
                    <a:lnTo>
                      <a:pt x="638" y="602"/>
                    </a:lnTo>
                    <a:lnTo>
                      <a:pt x="643" y="602"/>
                    </a:lnTo>
                    <a:lnTo>
                      <a:pt x="648" y="606"/>
                    </a:lnTo>
                    <a:lnTo>
                      <a:pt x="651" y="606"/>
                    </a:lnTo>
                    <a:lnTo>
                      <a:pt x="653" y="607"/>
                    </a:lnTo>
                    <a:lnTo>
                      <a:pt x="657" y="607"/>
                    </a:lnTo>
                    <a:lnTo>
                      <a:pt x="659" y="608"/>
                    </a:lnTo>
                    <a:lnTo>
                      <a:pt x="660" y="607"/>
                    </a:lnTo>
                    <a:lnTo>
                      <a:pt x="662" y="607"/>
                    </a:lnTo>
                    <a:lnTo>
                      <a:pt x="665" y="609"/>
                    </a:lnTo>
                    <a:lnTo>
                      <a:pt x="668" y="611"/>
                    </a:lnTo>
                    <a:lnTo>
                      <a:pt x="676" y="610"/>
                    </a:lnTo>
                    <a:lnTo>
                      <a:pt x="678" y="613"/>
                    </a:lnTo>
                    <a:lnTo>
                      <a:pt x="681" y="614"/>
                    </a:lnTo>
                    <a:lnTo>
                      <a:pt x="681" y="615"/>
                    </a:lnTo>
                    <a:lnTo>
                      <a:pt x="683" y="616"/>
                    </a:lnTo>
                    <a:lnTo>
                      <a:pt x="685" y="615"/>
                    </a:lnTo>
                    <a:lnTo>
                      <a:pt x="684" y="615"/>
                    </a:lnTo>
                    <a:lnTo>
                      <a:pt x="685" y="615"/>
                    </a:lnTo>
                    <a:lnTo>
                      <a:pt x="683" y="613"/>
                    </a:lnTo>
                    <a:lnTo>
                      <a:pt x="683" y="611"/>
                    </a:lnTo>
                    <a:lnTo>
                      <a:pt x="683" y="609"/>
                    </a:lnTo>
                    <a:lnTo>
                      <a:pt x="684" y="607"/>
                    </a:lnTo>
                    <a:lnTo>
                      <a:pt x="682" y="606"/>
                    </a:lnTo>
                    <a:lnTo>
                      <a:pt x="682" y="605"/>
                    </a:lnTo>
                    <a:lnTo>
                      <a:pt x="680" y="604"/>
                    </a:lnTo>
                    <a:lnTo>
                      <a:pt x="679" y="603"/>
                    </a:lnTo>
                    <a:lnTo>
                      <a:pt x="677" y="603"/>
                    </a:lnTo>
                    <a:lnTo>
                      <a:pt x="676" y="600"/>
                    </a:lnTo>
                    <a:lnTo>
                      <a:pt x="673" y="600"/>
                    </a:lnTo>
                    <a:lnTo>
                      <a:pt x="673" y="598"/>
                    </a:lnTo>
                    <a:lnTo>
                      <a:pt x="673" y="597"/>
                    </a:lnTo>
                    <a:lnTo>
                      <a:pt x="671" y="598"/>
                    </a:lnTo>
                    <a:lnTo>
                      <a:pt x="670" y="598"/>
                    </a:lnTo>
                    <a:lnTo>
                      <a:pt x="672" y="593"/>
                    </a:lnTo>
                    <a:lnTo>
                      <a:pt x="675" y="586"/>
                    </a:lnTo>
                    <a:lnTo>
                      <a:pt x="675" y="584"/>
                    </a:lnTo>
                    <a:lnTo>
                      <a:pt x="673" y="581"/>
                    </a:lnTo>
                    <a:lnTo>
                      <a:pt x="673" y="575"/>
                    </a:lnTo>
                    <a:lnTo>
                      <a:pt x="672" y="574"/>
                    </a:lnTo>
                    <a:lnTo>
                      <a:pt x="669" y="572"/>
                    </a:lnTo>
                    <a:lnTo>
                      <a:pt x="670" y="568"/>
                    </a:lnTo>
                    <a:lnTo>
                      <a:pt x="669" y="564"/>
                    </a:lnTo>
                    <a:lnTo>
                      <a:pt x="667" y="560"/>
                    </a:lnTo>
                    <a:lnTo>
                      <a:pt x="669" y="556"/>
                    </a:lnTo>
                    <a:lnTo>
                      <a:pt x="674" y="550"/>
                    </a:lnTo>
                    <a:lnTo>
                      <a:pt x="677" y="544"/>
                    </a:lnTo>
                    <a:lnTo>
                      <a:pt x="681" y="543"/>
                    </a:lnTo>
                    <a:lnTo>
                      <a:pt x="681" y="542"/>
                    </a:lnTo>
                    <a:lnTo>
                      <a:pt x="685" y="538"/>
                    </a:lnTo>
                    <a:lnTo>
                      <a:pt x="686" y="535"/>
                    </a:lnTo>
                    <a:lnTo>
                      <a:pt x="690" y="532"/>
                    </a:lnTo>
                    <a:lnTo>
                      <a:pt x="691" y="528"/>
                    </a:lnTo>
                    <a:lnTo>
                      <a:pt x="693" y="528"/>
                    </a:lnTo>
                    <a:lnTo>
                      <a:pt x="705" y="512"/>
                    </a:lnTo>
                    <a:lnTo>
                      <a:pt x="710" y="509"/>
                    </a:lnTo>
                    <a:lnTo>
                      <a:pt x="711" y="506"/>
                    </a:lnTo>
                    <a:lnTo>
                      <a:pt x="715" y="503"/>
                    </a:lnTo>
                    <a:lnTo>
                      <a:pt x="717" y="500"/>
                    </a:lnTo>
                    <a:lnTo>
                      <a:pt x="730" y="489"/>
                    </a:lnTo>
                    <a:lnTo>
                      <a:pt x="740" y="482"/>
                    </a:lnTo>
                    <a:lnTo>
                      <a:pt x="744" y="477"/>
                    </a:lnTo>
                    <a:lnTo>
                      <a:pt x="746" y="477"/>
                    </a:lnTo>
                    <a:lnTo>
                      <a:pt x="747" y="476"/>
                    </a:lnTo>
                    <a:lnTo>
                      <a:pt x="749" y="471"/>
                    </a:lnTo>
                    <a:lnTo>
                      <a:pt x="757" y="468"/>
                    </a:lnTo>
                    <a:lnTo>
                      <a:pt x="771" y="468"/>
                    </a:lnTo>
                    <a:lnTo>
                      <a:pt x="772" y="467"/>
                    </a:lnTo>
                    <a:lnTo>
                      <a:pt x="774" y="462"/>
                    </a:lnTo>
                    <a:lnTo>
                      <a:pt x="774" y="461"/>
                    </a:lnTo>
                    <a:lnTo>
                      <a:pt x="773" y="459"/>
                    </a:lnTo>
                    <a:lnTo>
                      <a:pt x="774" y="458"/>
                    </a:lnTo>
                    <a:lnTo>
                      <a:pt x="775" y="457"/>
                    </a:lnTo>
                    <a:lnTo>
                      <a:pt x="778" y="456"/>
                    </a:lnTo>
                    <a:lnTo>
                      <a:pt x="779" y="455"/>
                    </a:lnTo>
                    <a:lnTo>
                      <a:pt x="782" y="453"/>
                    </a:lnTo>
                    <a:lnTo>
                      <a:pt x="779" y="448"/>
                    </a:lnTo>
                    <a:lnTo>
                      <a:pt x="780" y="444"/>
                    </a:lnTo>
                    <a:lnTo>
                      <a:pt x="779" y="441"/>
                    </a:lnTo>
                    <a:lnTo>
                      <a:pt x="777" y="439"/>
                    </a:lnTo>
                    <a:lnTo>
                      <a:pt x="777" y="437"/>
                    </a:lnTo>
                    <a:lnTo>
                      <a:pt x="778" y="436"/>
                    </a:lnTo>
                    <a:lnTo>
                      <a:pt x="774" y="435"/>
                    </a:lnTo>
                    <a:lnTo>
                      <a:pt x="773" y="432"/>
                    </a:lnTo>
                    <a:lnTo>
                      <a:pt x="773" y="430"/>
                    </a:lnTo>
                    <a:lnTo>
                      <a:pt x="770" y="430"/>
                    </a:lnTo>
                    <a:lnTo>
                      <a:pt x="768" y="428"/>
                    </a:lnTo>
                    <a:lnTo>
                      <a:pt x="768" y="426"/>
                    </a:lnTo>
                    <a:lnTo>
                      <a:pt x="769" y="424"/>
                    </a:lnTo>
                    <a:lnTo>
                      <a:pt x="770" y="423"/>
                    </a:lnTo>
                    <a:lnTo>
                      <a:pt x="781" y="423"/>
                    </a:lnTo>
                    <a:lnTo>
                      <a:pt x="782" y="423"/>
                    </a:lnTo>
                    <a:lnTo>
                      <a:pt x="783" y="420"/>
                    </a:lnTo>
                    <a:lnTo>
                      <a:pt x="780" y="419"/>
                    </a:lnTo>
                    <a:lnTo>
                      <a:pt x="779" y="418"/>
                    </a:lnTo>
                    <a:lnTo>
                      <a:pt x="775" y="416"/>
                    </a:lnTo>
                    <a:lnTo>
                      <a:pt x="769" y="410"/>
                    </a:lnTo>
                    <a:lnTo>
                      <a:pt x="768" y="408"/>
                    </a:lnTo>
                    <a:lnTo>
                      <a:pt x="765" y="404"/>
                    </a:lnTo>
                    <a:lnTo>
                      <a:pt x="765" y="402"/>
                    </a:lnTo>
                    <a:lnTo>
                      <a:pt x="765" y="401"/>
                    </a:lnTo>
                    <a:lnTo>
                      <a:pt x="765" y="400"/>
                    </a:lnTo>
                    <a:lnTo>
                      <a:pt x="765" y="398"/>
                    </a:lnTo>
                    <a:lnTo>
                      <a:pt x="762" y="397"/>
                    </a:lnTo>
                    <a:lnTo>
                      <a:pt x="761" y="395"/>
                    </a:lnTo>
                    <a:lnTo>
                      <a:pt x="760" y="392"/>
                    </a:lnTo>
                    <a:lnTo>
                      <a:pt x="762" y="392"/>
                    </a:lnTo>
                    <a:lnTo>
                      <a:pt x="762" y="390"/>
                    </a:lnTo>
                    <a:lnTo>
                      <a:pt x="759" y="387"/>
                    </a:lnTo>
                    <a:lnTo>
                      <a:pt x="757" y="387"/>
                    </a:lnTo>
                    <a:lnTo>
                      <a:pt x="756" y="386"/>
                    </a:lnTo>
                    <a:lnTo>
                      <a:pt x="751" y="382"/>
                    </a:lnTo>
                    <a:lnTo>
                      <a:pt x="751" y="381"/>
                    </a:lnTo>
                    <a:lnTo>
                      <a:pt x="750" y="380"/>
                    </a:lnTo>
                    <a:lnTo>
                      <a:pt x="748" y="375"/>
                    </a:lnTo>
                    <a:lnTo>
                      <a:pt x="743" y="374"/>
                    </a:lnTo>
                    <a:lnTo>
                      <a:pt x="743" y="370"/>
                    </a:lnTo>
                    <a:lnTo>
                      <a:pt x="744" y="368"/>
                    </a:lnTo>
                    <a:lnTo>
                      <a:pt x="747" y="366"/>
                    </a:lnTo>
                    <a:lnTo>
                      <a:pt x="746" y="364"/>
                    </a:lnTo>
                    <a:lnTo>
                      <a:pt x="748" y="363"/>
                    </a:lnTo>
                    <a:lnTo>
                      <a:pt x="748" y="362"/>
                    </a:lnTo>
                    <a:lnTo>
                      <a:pt x="746" y="360"/>
                    </a:lnTo>
                    <a:lnTo>
                      <a:pt x="744" y="357"/>
                    </a:lnTo>
                    <a:lnTo>
                      <a:pt x="745" y="355"/>
                    </a:lnTo>
                    <a:lnTo>
                      <a:pt x="745" y="354"/>
                    </a:lnTo>
                    <a:lnTo>
                      <a:pt x="742" y="354"/>
                    </a:lnTo>
                    <a:lnTo>
                      <a:pt x="742" y="353"/>
                    </a:lnTo>
                    <a:lnTo>
                      <a:pt x="741" y="349"/>
                    </a:lnTo>
                    <a:lnTo>
                      <a:pt x="738" y="349"/>
                    </a:lnTo>
                    <a:lnTo>
                      <a:pt x="737" y="348"/>
                    </a:lnTo>
                    <a:lnTo>
                      <a:pt x="738" y="347"/>
                    </a:lnTo>
                    <a:lnTo>
                      <a:pt x="736" y="343"/>
                    </a:lnTo>
                    <a:lnTo>
                      <a:pt x="736" y="337"/>
                    </a:lnTo>
                    <a:lnTo>
                      <a:pt x="735" y="336"/>
                    </a:lnTo>
                    <a:lnTo>
                      <a:pt x="737" y="335"/>
                    </a:lnTo>
                    <a:lnTo>
                      <a:pt x="736" y="333"/>
                    </a:lnTo>
                    <a:lnTo>
                      <a:pt x="737" y="332"/>
                    </a:lnTo>
                    <a:lnTo>
                      <a:pt x="736" y="330"/>
                    </a:lnTo>
                    <a:lnTo>
                      <a:pt x="737" y="326"/>
                    </a:lnTo>
                    <a:lnTo>
                      <a:pt x="742" y="323"/>
                    </a:lnTo>
                    <a:lnTo>
                      <a:pt x="743" y="320"/>
                    </a:lnTo>
                    <a:lnTo>
                      <a:pt x="740" y="317"/>
                    </a:lnTo>
                    <a:lnTo>
                      <a:pt x="741" y="315"/>
                    </a:lnTo>
                    <a:lnTo>
                      <a:pt x="741" y="313"/>
                    </a:lnTo>
                    <a:lnTo>
                      <a:pt x="742" y="313"/>
                    </a:lnTo>
                    <a:lnTo>
                      <a:pt x="743" y="311"/>
                    </a:lnTo>
                    <a:lnTo>
                      <a:pt x="741" y="309"/>
                    </a:lnTo>
                    <a:lnTo>
                      <a:pt x="741" y="308"/>
                    </a:lnTo>
                    <a:lnTo>
                      <a:pt x="742" y="308"/>
                    </a:lnTo>
                    <a:lnTo>
                      <a:pt x="742" y="307"/>
                    </a:lnTo>
                    <a:lnTo>
                      <a:pt x="743" y="306"/>
                    </a:lnTo>
                    <a:lnTo>
                      <a:pt x="743" y="305"/>
                    </a:lnTo>
                    <a:lnTo>
                      <a:pt x="746" y="300"/>
                    </a:lnTo>
                    <a:lnTo>
                      <a:pt x="744" y="297"/>
                    </a:lnTo>
                    <a:lnTo>
                      <a:pt x="745" y="295"/>
                    </a:lnTo>
                    <a:lnTo>
                      <a:pt x="744" y="294"/>
                    </a:lnTo>
                    <a:lnTo>
                      <a:pt x="744" y="291"/>
                    </a:lnTo>
                    <a:lnTo>
                      <a:pt x="742" y="291"/>
                    </a:lnTo>
                    <a:lnTo>
                      <a:pt x="740" y="288"/>
                    </a:lnTo>
                    <a:lnTo>
                      <a:pt x="736" y="288"/>
                    </a:lnTo>
                    <a:lnTo>
                      <a:pt x="734" y="287"/>
                    </a:lnTo>
                    <a:lnTo>
                      <a:pt x="733" y="285"/>
                    </a:lnTo>
                    <a:lnTo>
                      <a:pt x="731" y="284"/>
                    </a:lnTo>
                    <a:lnTo>
                      <a:pt x="731" y="283"/>
                    </a:lnTo>
                    <a:lnTo>
                      <a:pt x="732" y="282"/>
                    </a:lnTo>
                    <a:lnTo>
                      <a:pt x="732" y="281"/>
                    </a:lnTo>
                    <a:lnTo>
                      <a:pt x="730" y="282"/>
                    </a:lnTo>
                    <a:lnTo>
                      <a:pt x="728" y="281"/>
                    </a:lnTo>
                    <a:lnTo>
                      <a:pt x="727" y="282"/>
                    </a:lnTo>
                    <a:lnTo>
                      <a:pt x="726" y="281"/>
                    </a:lnTo>
                    <a:lnTo>
                      <a:pt x="724" y="281"/>
                    </a:lnTo>
                    <a:lnTo>
                      <a:pt x="724" y="279"/>
                    </a:lnTo>
                    <a:lnTo>
                      <a:pt x="717" y="278"/>
                    </a:lnTo>
                    <a:lnTo>
                      <a:pt x="716" y="276"/>
                    </a:lnTo>
                    <a:lnTo>
                      <a:pt x="714" y="276"/>
                    </a:lnTo>
                    <a:lnTo>
                      <a:pt x="709" y="276"/>
                    </a:lnTo>
                    <a:lnTo>
                      <a:pt x="708" y="275"/>
                    </a:lnTo>
                    <a:lnTo>
                      <a:pt x="709" y="274"/>
                    </a:lnTo>
                    <a:lnTo>
                      <a:pt x="708" y="270"/>
                    </a:lnTo>
                    <a:lnTo>
                      <a:pt x="707" y="270"/>
                    </a:lnTo>
                    <a:lnTo>
                      <a:pt x="712" y="261"/>
                    </a:lnTo>
                    <a:lnTo>
                      <a:pt x="718" y="256"/>
                    </a:lnTo>
                    <a:lnTo>
                      <a:pt x="720" y="251"/>
                    </a:lnTo>
                    <a:lnTo>
                      <a:pt x="726" y="244"/>
                    </a:lnTo>
                    <a:lnTo>
                      <a:pt x="733" y="240"/>
                    </a:lnTo>
                    <a:lnTo>
                      <a:pt x="740" y="237"/>
                    </a:lnTo>
                    <a:lnTo>
                      <a:pt x="747" y="234"/>
                    </a:lnTo>
                    <a:lnTo>
                      <a:pt x="753" y="235"/>
                    </a:lnTo>
                    <a:lnTo>
                      <a:pt x="765" y="226"/>
                    </a:lnTo>
                    <a:lnTo>
                      <a:pt x="767" y="224"/>
                    </a:lnTo>
                    <a:lnTo>
                      <a:pt x="767" y="216"/>
                    </a:lnTo>
                    <a:lnTo>
                      <a:pt x="766" y="211"/>
                    </a:lnTo>
                    <a:lnTo>
                      <a:pt x="766" y="206"/>
                    </a:lnTo>
                    <a:lnTo>
                      <a:pt x="765" y="203"/>
                    </a:lnTo>
                    <a:lnTo>
                      <a:pt x="767" y="198"/>
                    </a:lnTo>
                    <a:lnTo>
                      <a:pt x="766" y="196"/>
                    </a:lnTo>
                    <a:lnTo>
                      <a:pt x="766" y="193"/>
                    </a:lnTo>
                    <a:lnTo>
                      <a:pt x="762" y="187"/>
                    </a:lnTo>
                    <a:lnTo>
                      <a:pt x="762" y="186"/>
                    </a:lnTo>
                    <a:lnTo>
                      <a:pt x="762" y="183"/>
                    </a:lnTo>
                    <a:lnTo>
                      <a:pt x="765" y="180"/>
                    </a:lnTo>
                    <a:lnTo>
                      <a:pt x="765" y="177"/>
                    </a:lnTo>
                    <a:lnTo>
                      <a:pt x="765" y="176"/>
                    </a:lnTo>
                    <a:lnTo>
                      <a:pt x="760" y="174"/>
                    </a:lnTo>
                    <a:lnTo>
                      <a:pt x="760" y="170"/>
                    </a:lnTo>
                    <a:lnTo>
                      <a:pt x="757" y="168"/>
                    </a:lnTo>
                    <a:lnTo>
                      <a:pt x="751" y="151"/>
                    </a:lnTo>
                    <a:lnTo>
                      <a:pt x="749" y="147"/>
                    </a:lnTo>
                    <a:lnTo>
                      <a:pt x="746" y="141"/>
                    </a:lnTo>
                    <a:lnTo>
                      <a:pt x="740" y="123"/>
                    </a:lnTo>
                    <a:lnTo>
                      <a:pt x="739" y="117"/>
                    </a:lnTo>
                    <a:lnTo>
                      <a:pt x="739" y="115"/>
                    </a:lnTo>
                    <a:lnTo>
                      <a:pt x="736" y="111"/>
                    </a:lnTo>
                    <a:lnTo>
                      <a:pt x="736" y="108"/>
                    </a:lnTo>
                    <a:lnTo>
                      <a:pt x="736" y="104"/>
                    </a:lnTo>
                    <a:lnTo>
                      <a:pt x="734" y="100"/>
                    </a:lnTo>
                    <a:lnTo>
                      <a:pt x="733" y="94"/>
                    </a:lnTo>
                    <a:lnTo>
                      <a:pt x="733" y="93"/>
                    </a:lnTo>
                    <a:lnTo>
                      <a:pt x="731" y="90"/>
                    </a:lnTo>
                    <a:lnTo>
                      <a:pt x="731" y="89"/>
                    </a:lnTo>
                    <a:lnTo>
                      <a:pt x="734" y="86"/>
                    </a:lnTo>
                    <a:lnTo>
                      <a:pt x="731" y="74"/>
                    </a:lnTo>
                    <a:lnTo>
                      <a:pt x="729" y="70"/>
                    </a:lnTo>
                    <a:lnTo>
                      <a:pt x="726" y="69"/>
                    </a:lnTo>
                    <a:lnTo>
                      <a:pt x="724" y="66"/>
                    </a:lnTo>
                    <a:lnTo>
                      <a:pt x="721" y="64"/>
                    </a:lnTo>
                    <a:lnTo>
                      <a:pt x="718" y="62"/>
                    </a:lnTo>
                    <a:lnTo>
                      <a:pt x="712" y="62"/>
                    </a:lnTo>
                    <a:lnTo>
                      <a:pt x="710" y="58"/>
                    </a:lnTo>
                    <a:lnTo>
                      <a:pt x="706" y="58"/>
                    </a:lnTo>
                    <a:lnTo>
                      <a:pt x="704" y="56"/>
                    </a:lnTo>
                    <a:lnTo>
                      <a:pt x="701" y="57"/>
                    </a:lnTo>
                    <a:lnTo>
                      <a:pt x="699" y="56"/>
                    </a:lnTo>
                    <a:lnTo>
                      <a:pt x="697" y="55"/>
                    </a:lnTo>
                    <a:lnTo>
                      <a:pt x="699" y="52"/>
                    </a:lnTo>
                    <a:lnTo>
                      <a:pt x="695" y="51"/>
                    </a:lnTo>
                    <a:lnTo>
                      <a:pt x="694" y="50"/>
                    </a:lnTo>
                    <a:lnTo>
                      <a:pt x="693" y="48"/>
                    </a:lnTo>
                    <a:lnTo>
                      <a:pt x="690" y="48"/>
                    </a:lnTo>
                    <a:lnTo>
                      <a:pt x="682" y="45"/>
                    </a:lnTo>
                    <a:lnTo>
                      <a:pt x="679" y="47"/>
                    </a:lnTo>
                    <a:lnTo>
                      <a:pt x="678" y="49"/>
                    </a:lnTo>
                    <a:lnTo>
                      <a:pt x="676" y="50"/>
                    </a:lnTo>
                    <a:lnTo>
                      <a:pt x="665" y="52"/>
                    </a:lnTo>
                    <a:lnTo>
                      <a:pt x="628" y="54"/>
                    </a:lnTo>
                    <a:lnTo>
                      <a:pt x="572" y="54"/>
                    </a:lnTo>
                    <a:lnTo>
                      <a:pt x="559" y="54"/>
                    </a:lnTo>
                    <a:lnTo>
                      <a:pt x="544" y="52"/>
                    </a:lnTo>
                    <a:lnTo>
                      <a:pt x="517" y="51"/>
                    </a:lnTo>
                    <a:lnTo>
                      <a:pt x="504" y="49"/>
                    </a:lnTo>
                    <a:lnTo>
                      <a:pt x="490" y="48"/>
                    </a:lnTo>
                    <a:lnTo>
                      <a:pt x="466" y="44"/>
                    </a:lnTo>
                    <a:lnTo>
                      <a:pt x="463" y="45"/>
                    </a:lnTo>
                    <a:lnTo>
                      <a:pt x="443" y="42"/>
                    </a:lnTo>
                    <a:lnTo>
                      <a:pt x="439" y="44"/>
                    </a:lnTo>
                    <a:lnTo>
                      <a:pt x="439" y="45"/>
                    </a:lnTo>
                    <a:lnTo>
                      <a:pt x="438" y="45"/>
                    </a:lnTo>
                    <a:lnTo>
                      <a:pt x="437" y="48"/>
                    </a:lnTo>
                    <a:lnTo>
                      <a:pt x="435" y="48"/>
                    </a:lnTo>
                    <a:lnTo>
                      <a:pt x="430" y="52"/>
                    </a:lnTo>
                    <a:lnTo>
                      <a:pt x="425" y="52"/>
                    </a:lnTo>
                    <a:lnTo>
                      <a:pt x="422" y="54"/>
                    </a:lnTo>
                    <a:lnTo>
                      <a:pt x="418" y="56"/>
                    </a:lnTo>
                    <a:lnTo>
                      <a:pt x="414" y="58"/>
                    </a:lnTo>
                    <a:lnTo>
                      <a:pt x="411" y="64"/>
                    </a:lnTo>
                    <a:lnTo>
                      <a:pt x="410" y="65"/>
                    </a:lnTo>
                    <a:lnTo>
                      <a:pt x="409" y="64"/>
                    </a:lnTo>
                    <a:lnTo>
                      <a:pt x="409" y="63"/>
                    </a:lnTo>
                    <a:lnTo>
                      <a:pt x="411" y="60"/>
                    </a:lnTo>
                    <a:lnTo>
                      <a:pt x="410" y="60"/>
                    </a:lnTo>
                    <a:lnTo>
                      <a:pt x="404" y="59"/>
                    </a:lnTo>
                    <a:lnTo>
                      <a:pt x="401" y="59"/>
                    </a:lnTo>
                    <a:lnTo>
                      <a:pt x="401" y="58"/>
                    </a:lnTo>
                    <a:lnTo>
                      <a:pt x="401" y="56"/>
                    </a:lnTo>
                    <a:lnTo>
                      <a:pt x="398" y="54"/>
                    </a:lnTo>
                    <a:lnTo>
                      <a:pt x="403" y="52"/>
                    </a:lnTo>
                    <a:lnTo>
                      <a:pt x="413" y="51"/>
                    </a:lnTo>
                    <a:lnTo>
                      <a:pt x="422" y="47"/>
                    </a:lnTo>
                    <a:lnTo>
                      <a:pt x="430" y="42"/>
                    </a:lnTo>
                    <a:lnTo>
                      <a:pt x="431" y="41"/>
                    </a:lnTo>
                    <a:lnTo>
                      <a:pt x="430" y="40"/>
                    </a:lnTo>
                    <a:lnTo>
                      <a:pt x="422" y="45"/>
                    </a:lnTo>
                    <a:lnTo>
                      <a:pt x="411" y="50"/>
                    </a:lnTo>
                    <a:lnTo>
                      <a:pt x="392" y="52"/>
                    </a:lnTo>
                    <a:lnTo>
                      <a:pt x="381" y="52"/>
                    </a:lnTo>
                    <a:lnTo>
                      <a:pt x="377" y="52"/>
                    </a:lnTo>
                    <a:lnTo>
                      <a:pt x="372" y="52"/>
                    </a:lnTo>
                    <a:lnTo>
                      <a:pt x="366" y="50"/>
                    </a:lnTo>
                    <a:lnTo>
                      <a:pt x="359" y="49"/>
                    </a:lnTo>
                    <a:lnTo>
                      <a:pt x="356" y="45"/>
                    </a:lnTo>
                    <a:lnTo>
                      <a:pt x="352" y="45"/>
                    </a:lnTo>
                    <a:lnTo>
                      <a:pt x="348" y="42"/>
                    </a:lnTo>
                    <a:lnTo>
                      <a:pt x="347" y="39"/>
                    </a:lnTo>
                    <a:lnTo>
                      <a:pt x="348" y="38"/>
                    </a:lnTo>
                    <a:lnTo>
                      <a:pt x="347" y="34"/>
                    </a:lnTo>
                    <a:lnTo>
                      <a:pt x="347" y="33"/>
                    </a:lnTo>
                    <a:lnTo>
                      <a:pt x="346" y="32"/>
                    </a:lnTo>
                    <a:lnTo>
                      <a:pt x="347" y="31"/>
                    </a:lnTo>
                    <a:lnTo>
                      <a:pt x="345" y="26"/>
                    </a:lnTo>
                    <a:lnTo>
                      <a:pt x="343" y="23"/>
                    </a:lnTo>
                    <a:lnTo>
                      <a:pt x="343" y="21"/>
                    </a:lnTo>
                    <a:lnTo>
                      <a:pt x="343" y="22"/>
                    </a:lnTo>
                    <a:lnTo>
                      <a:pt x="340" y="22"/>
                    </a:lnTo>
                    <a:lnTo>
                      <a:pt x="340" y="19"/>
                    </a:lnTo>
                    <a:lnTo>
                      <a:pt x="340" y="18"/>
                    </a:lnTo>
                    <a:lnTo>
                      <a:pt x="340" y="15"/>
                    </a:lnTo>
                    <a:lnTo>
                      <a:pt x="335" y="11"/>
                    </a:lnTo>
                    <a:lnTo>
                      <a:pt x="337" y="5"/>
                    </a:lnTo>
                    <a:lnTo>
                      <a:pt x="353" y="13"/>
                    </a:lnTo>
                    <a:lnTo>
                      <a:pt x="354" y="15"/>
                    </a:lnTo>
                    <a:lnTo>
                      <a:pt x="359" y="15"/>
                    </a:lnTo>
                    <a:lnTo>
                      <a:pt x="361" y="19"/>
                    </a:lnTo>
                    <a:lnTo>
                      <a:pt x="363" y="22"/>
                    </a:lnTo>
                    <a:lnTo>
                      <a:pt x="366" y="24"/>
                    </a:lnTo>
                    <a:lnTo>
                      <a:pt x="367" y="26"/>
                    </a:lnTo>
                    <a:lnTo>
                      <a:pt x="368" y="24"/>
                    </a:lnTo>
                    <a:lnTo>
                      <a:pt x="368" y="22"/>
                    </a:lnTo>
                    <a:lnTo>
                      <a:pt x="361" y="16"/>
                    </a:lnTo>
                    <a:lnTo>
                      <a:pt x="332" y="3"/>
                    </a:lnTo>
                    <a:lnTo>
                      <a:pt x="330" y="1"/>
                    </a:lnTo>
                    <a:lnTo>
                      <a:pt x="329" y="0"/>
                    </a:lnTo>
                    <a:lnTo>
                      <a:pt x="321" y="1"/>
                    </a:lnTo>
                    <a:lnTo>
                      <a:pt x="307" y="1"/>
                    </a:lnTo>
                    <a:lnTo>
                      <a:pt x="296" y="1"/>
                    </a:lnTo>
                    <a:lnTo>
                      <a:pt x="285" y="3"/>
                    </a:lnTo>
                    <a:lnTo>
                      <a:pt x="270" y="7"/>
                    </a:lnTo>
                    <a:lnTo>
                      <a:pt x="255" y="9"/>
                    </a:lnTo>
                    <a:lnTo>
                      <a:pt x="245" y="11"/>
                    </a:lnTo>
                    <a:lnTo>
                      <a:pt x="230" y="18"/>
                    </a:lnTo>
                    <a:lnTo>
                      <a:pt x="221" y="24"/>
                    </a:lnTo>
                    <a:lnTo>
                      <a:pt x="216" y="26"/>
                    </a:lnTo>
                    <a:lnTo>
                      <a:pt x="206" y="29"/>
                    </a:lnTo>
                    <a:lnTo>
                      <a:pt x="198" y="29"/>
                    </a:lnTo>
                    <a:lnTo>
                      <a:pt x="189" y="32"/>
                    </a:lnTo>
                    <a:lnTo>
                      <a:pt x="186" y="33"/>
                    </a:lnTo>
                    <a:lnTo>
                      <a:pt x="181" y="37"/>
                    </a:lnTo>
                    <a:lnTo>
                      <a:pt x="184" y="36"/>
                    </a:lnTo>
                    <a:lnTo>
                      <a:pt x="183" y="39"/>
                    </a:lnTo>
                    <a:lnTo>
                      <a:pt x="180" y="39"/>
                    </a:lnTo>
                    <a:lnTo>
                      <a:pt x="181" y="38"/>
                    </a:lnTo>
                    <a:lnTo>
                      <a:pt x="180" y="38"/>
                    </a:lnTo>
                    <a:lnTo>
                      <a:pt x="169" y="51"/>
                    </a:lnTo>
                    <a:lnTo>
                      <a:pt x="170" y="50"/>
                    </a:lnTo>
                    <a:lnTo>
                      <a:pt x="172" y="49"/>
                    </a:lnTo>
                    <a:lnTo>
                      <a:pt x="172" y="52"/>
                    </a:lnTo>
                    <a:lnTo>
                      <a:pt x="168" y="54"/>
                    </a:lnTo>
                    <a:lnTo>
                      <a:pt x="167" y="55"/>
                    </a:lnTo>
                    <a:lnTo>
                      <a:pt x="165" y="55"/>
                    </a:lnTo>
                    <a:lnTo>
                      <a:pt x="168" y="52"/>
                    </a:lnTo>
                    <a:lnTo>
                      <a:pt x="165" y="54"/>
                    </a:lnTo>
                    <a:close/>
                  </a:path>
                </a:pathLst>
              </a:custGeom>
              <a:solidFill>
                <a:schemeClr val="tx1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62" name="France">
                <a:extLst>
                  <a:ext uri="{FF2B5EF4-FFF2-40B4-BE49-F238E27FC236}">
                    <a16:creationId xmlns:a16="http://schemas.microsoft.com/office/drawing/2014/main" id="{22E30CA6-F157-493B-898E-4E467D642A43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3417981" y="3420336"/>
                <a:ext cx="1258433" cy="1308553"/>
              </a:xfrm>
              <a:custGeom>
                <a:avLst/>
                <a:gdLst>
                  <a:gd name="T0" fmla="*/ 312 w 1122"/>
                  <a:gd name="T1" fmla="*/ 856 h 1025"/>
                  <a:gd name="T2" fmla="*/ 406 w 1122"/>
                  <a:gd name="T3" fmla="*/ 880 h 1025"/>
                  <a:gd name="T4" fmla="*/ 514 w 1122"/>
                  <a:gd name="T5" fmla="*/ 892 h 1025"/>
                  <a:gd name="T6" fmla="*/ 619 w 1122"/>
                  <a:gd name="T7" fmla="*/ 912 h 1025"/>
                  <a:gd name="T8" fmla="*/ 618 w 1122"/>
                  <a:gd name="T9" fmla="*/ 846 h 1025"/>
                  <a:gd name="T10" fmla="*/ 692 w 1122"/>
                  <a:gd name="T11" fmla="*/ 789 h 1025"/>
                  <a:gd name="T12" fmla="*/ 763 w 1122"/>
                  <a:gd name="T13" fmla="*/ 808 h 1025"/>
                  <a:gd name="T14" fmla="*/ 801 w 1122"/>
                  <a:gd name="T15" fmla="*/ 829 h 1025"/>
                  <a:gd name="T16" fmla="*/ 853 w 1122"/>
                  <a:gd name="T17" fmla="*/ 844 h 1025"/>
                  <a:gd name="T18" fmla="*/ 889 w 1122"/>
                  <a:gd name="T19" fmla="*/ 822 h 1025"/>
                  <a:gd name="T20" fmla="*/ 952 w 1122"/>
                  <a:gd name="T21" fmla="*/ 776 h 1025"/>
                  <a:gd name="T22" fmla="*/ 943 w 1122"/>
                  <a:gd name="T23" fmla="*/ 730 h 1025"/>
                  <a:gd name="T24" fmla="*/ 922 w 1122"/>
                  <a:gd name="T25" fmla="*/ 658 h 1025"/>
                  <a:gd name="T26" fmla="*/ 932 w 1122"/>
                  <a:gd name="T27" fmla="*/ 604 h 1025"/>
                  <a:gd name="T28" fmla="*/ 916 w 1122"/>
                  <a:gd name="T29" fmla="*/ 530 h 1025"/>
                  <a:gd name="T30" fmla="*/ 844 w 1122"/>
                  <a:gd name="T31" fmla="*/ 521 h 1025"/>
                  <a:gd name="T32" fmla="*/ 882 w 1122"/>
                  <a:gd name="T33" fmla="*/ 435 h 1025"/>
                  <a:gd name="T34" fmla="*/ 921 w 1122"/>
                  <a:gd name="T35" fmla="*/ 379 h 1025"/>
                  <a:gd name="T36" fmla="*/ 963 w 1122"/>
                  <a:gd name="T37" fmla="*/ 347 h 1025"/>
                  <a:gd name="T38" fmla="*/ 1013 w 1122"/>
                  <a:gd name="T39" fmla="*/ 228 h 1025"/>
                  <a:gd name="T40" fmla="*/ 930 w 1122"/>
                  <a:gd name="T41" fmla="*/ 205 h 1025"/>
                  <a:gd name="T42" fmla="*/ 885 w 1122"/>
                  <a:gd name="T43" fmla="*/ 175 h 1025"/>
                  <a:gd name="T44" fmla="*/ 802 w 1122"/>
                  <a:gd name="T45" fmla="*/ 167 h 1025"/>
                  <a:gd name="T46" fmla="*/ 752 w 1122"/>
                  <a:gd name="T47" fmla="*/ 112 h 1025"/>
                  <a:gd name="T48" fmla="*/ 701 w 1122"/>
                  <a:gd name="T49" fmla="*/ 100 h 1025"/>
                  <a:gd name="T50" fmla="*/ 647 w 1122"/>
                  <a:gd name="T51" fmla="*/ 59 h 1025"/>
                  <a:gd name="T52" fmla="*/ 580 w 1122"/>
                  <a:gd name="T53" fmla="*/ 26 h 1025"/>
                  <a:gd name="T54" fmla="*/ 504 w 1122"/>
                  <a:gd name="T55" fmla="*/ 92 h 1025"/>
                  <a:gd name="T56" fmla="*/ 399 w 1122"/>
                  <a:gd name="T57" fmla="*/ 173 h 1025"/>
                  <a:gd name="T58" fmla="*/ 277 w 1122"/>
                  <a:gd name="T59" fmla="*/ 156 h 1025"/>
                  <a:gd name="T60" fmla="*/ 241 w 1122"/>
                  <a:gd name="T61" fmla="*/ 183 h 1025"/>
                  <a:gd name="T62" fmla="*/ 252 w 1122"/>
                  <a:gd name="T63" fmla="*/ 231 h 1025"/>
                  <a:gd name="T64" fmla="*/ 216 w 1122"/>
                  <a:gd name="T65" fmla="*/ 258 h 1025"/>
                  <a:gd name="T66" fmla="*/ 199 w 1122"/>
                  <a:gd name="T67" fmla="*/ 258 h 1025"/>
                  <a:gd name="T68" fmla="*/ 139 w 1122"/>
                  <a:gd name="T69" fmla="*/ 240 h 1025"/>
                  <a:gd name="T70" fmla="*/ 95 w 1122"/>
                  <a:gd name="T71" fmla="*/ 245 h 1025"/>
                  <a:gd name="T72" fmla="*/ 64 w 1122"/>
                  <a:gd name="T73" fmla="*/ 252 h 1025"/>
                  <a:gd name="T74" fmla="*/ 16 w 1122"/>
                  <a:gd name="T75" fmla="*/ 265 h 1025"/>
                  <a:gd name="T76" fmla="*/ 32 w 1122"/>
                  <a:gd name="T77" fmla="*/ 291 h 1025"/>
                  <a:gd name="T78" fmla="*/ 17 w 1122"/>
                  <a:gd name="T79" fmla="*/ 296 h 1025"/>
                  <a:gd name="T80" fmla="*/ 21 w 1122"/>
                  <a:gd name="T81" fmla="*/ 323 h 1025"/>
                  <a:gd name="T82" fmla="*/ 59 w 1122"/>
                  <a:gd name="T83" fmla="*/ 341 h 1025"/>
                  <a:gd name="T84" fmla="*/ 118 w 1122"/>
                  <a:gd name="T85" fmla="*/ 349 h 1025"/>
                  <a:gd name="T86" fmla="*/ 133 w 1122"/>
                  <a:gd name="T87" fmla="*/ 381 h 1025"/>
                  <a:gd name="T88" fmla="*/ 152 w 1122"/>
                  <a:gd name="T89" fmla="*/ 365 h 1025"/>
                  <a:gd name="T90" fmla="*/ 161 w 1122"/>
                  <a:gd name="T91" fmla="*/ 378 h 1025"/>
                  <a:gd name="T92" fmla="*/ 179 w 1122"/>
                  <a:gd name="T93" fmla="*/ 398 h 1025"/>
                  <a:gd name="T94" fmla="*/ 225 w 1122"/>
                  <a:gd name="T95" fmla="*/ 402 h 1025"/>
                  <a:gd name="T96" fmla="*/ 229 w 1122"/>
                  <a:gd name="T97" fmla="*/ 469 h 1025"/>
                  <a:gd name="T98" fmla="*/ 281 w 1122"/>
                  <a:gd name="T99" fmla="*/ 520 h 1025"/>
                  <a:gd name="T100" fmla="*/ 301 w 1122"/>
                  <a:gd name="T101" fmla="*/ 583 h 1025"/>
                  <a:gd name="T102" fmla="*/ 285 w 1122"/>
                  <a:gd name="T103" fmla="*/ 591 h 1025"/>
                  <a:gd name="T104" fmla="*/ 258 w 1122"/>
                  <a:gd name="T105" fmla="*/ 797 h 1025"/>
                  <a:gd name="T106" fmla="*/ 1117 w 1122"/>
                  <a:gd name="T107" fmla="*/ 895 h 1025"/>
                  <a:gd name="T108" fmla="*/ 1100 w 1122"/>
                  <a:gd name="T109" fmla="*/ 1002 h 1025"/>
                  <a:gd name="T110" fmla="*/ 1074 w 1122"/>
                  <a:gd name="T111" fmla="*/ 1012 h 1025"/>
                  <a:gd name="T112" fmla="*/ 1058 w 1122"/>
                  <a:gd name="T113" fmla="*/ 975 h 1025"/>
                  <a:gd name="T114" fmla="*/ 1048 w 1122"/>
                  <a:gd name="T115" fmla="*/ 932 h 1025"/>
                  <a:gd name="T116" fmla="*/ 1063 w 1122"/>
                  <a:gd name="T117" fmla="*/ 895 h 1025"/>
                  <a:gd name="T118" fmla="*/ 189 w 1122"/>
                  <a:gd name="T119" fmla="*/ 463 h 1025"/>
                  <a:gd name="T120" fmla="*/ 205 w 1122"/>
                  <a:gd name="T121" fmla="*/ 200 h 1025"/>
                  <a:gd name="T122" fmla="*/ 262 w 1122"/>
                  <a:gd name="T123" fmla="*/ 513 h 1025"/>
                  <a:gd name="T124" fmla="*/ 100 w 1122"/>
                  <a:gd name="T125" fmla="*/ 363 h 102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122"/>
                  <a:gd name="T190" fmla="*/ 0 h 1025"/>
                  <a:gd name="T191" fmla="*/ 1122 w 1122"/>
                  <a:gd name="T192" fmla="*/ 1025 h 1025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122" h="1025">
                    <a:moveTo>
                      <a:pt x="236" y="811"/>
                    </a:moveTo>
                    <a:lnTo>
                      <a:pt x="237" y="811"/>
                    </a:lnTo>
                    <a:lnTo>
                      <a:pt x="241" y="816"/>
                    </a:lnTo>
                    <a:lnTo>
                      <a:pt x="241" y="819"/>
                    </a:lnTo>
                    <a:lnTo>
                      <a:pt x="244" y="819"/>
                    </a:lnTo>
                    <a:lnTo>
                      <a:pt x="248" y="818"/>
                    </a:lnTo>
                    <a:lnTo>
                      <a:pt x="249" y="819"/>
                    </a:lnTo>
                    <a:lnTo>
                      <a:pt x="250" y="821"/>
                    </a:lnTo>
                    <a:lnTo>
                      <a:pt x="253" y="823"/>
                    </a:lnTo>
                    <a:lnTo>
                      <a:pt x="255" y="823"/>
                    </a:lnTo>
                    <a:lnTo>
                      <a:pt x="255" y="821"/>
                    </a:lnTo>
                    <a:lnTo>
                      <a:pt x="256" y="820"/>
                    </a:lnTo>
                    <a:lnTo>
                      <a:pt x="261" y="821"/>
                    </a:lnTo>
                    <a:lnTo>
                      <a:pt x="267" y="822"/>
                    </a:lnTo>
                    <a:lnTo>
                      <a:pt x="269" y="826"/>
                    </a:lnTo>
                    <a:lnTo>
                      <a:pt x="269" y="830"/>
                    </a:lnTo>
                    <a:lnTo>
                      <a:pt x="268" y="835"/>
                    </a:lnTo>
                    <a:lnTo>
                      <a:pt x="263" y="842"/>
                    </a:lnTo>
                    <a:lnTo>
                      <a:pt x="263" y="845"/>
                    </a:lnTo>
                    <a:lnTo>
                      <a:pt x="264" y="845"/>
                    </a:lnTo>
                    <a:lnTo>
                      <a:pt x="269" y="847"/>
                    </a:lnTo>
                    <a:lnTo>
                      <a:pt x="271" y="845"/>
                    </a:lnTo>
                    <a:lnTo>
                      <a:pt x="271" y="841"/>
                    </a:lnTo>
                    <a:lnTo>
                      <a:pt x="272" y="840"/>
                    </a:lnTo>
                    <a:lnTo>
                      <a:pt x="276" y="839"/>
                    </a:lnTo>
                    <a:lnTo>
                      <a:pt x="277" y="841"/>
                    </a:lnTo>
                    <a:lnTo>
                      <a:pt x="275" y="844"/>
                    </a:lnTo>
                    <a:lnTo>
                      <a:pt x="277" y="846"/>
                    </a:lnTo>
                    <a:lnTo>
                      <a:pt x="280" y="846"/>
                    </a:lnTo>
                    <a:lnTo>
                      <a:pt x="285" y="848"/>
                    </a:lnTo>
                    <a:lnTo>
                      <a:pt x="287" y="848"/>
                    </a:lnTo>
                    <a:lnTo>
                      <a:pt x="288" y="850"/>
                    </a:lnTo>
                    <a:lnTo>
                      <a:pt x="291" y="849"/>
                    </a:lnTo>
                    <a:lnTo>
                      <a:pt x="293" y="851"/>
                    </a:lnTo>
                    <a:lnTo>
                      <a:pt x="297" y="851"/>
                    </a:lnTo>
                    <a:lnTo>
                      <a:pt x="303" y="856"/>
                    </a:lnTo>
                    <a:lnTo>
                      <a:pt x="306" y="855"/>
                    </a:lnTo>
                    <a:lnTo>
                      <a:pt x="312" y="856"/>
                    </a:lnTo>
                    <a:lnTo>
                      <a:pt x="316" y="854"/>
                    </a:lnTo>
                    <a:lnTo>
                      <a:pt x="318" y="854"/>
                    </a:lnTo>
                    <a:lnTo>
                      <a:pt x="320" y="857"/>
                    </a:lnTo>
                    <a:lnTo>
                      <a:pt x="320" y="860"/>
                    </a:lnTo>
                    <a:lnTo>
                      <a:pt x="320" y="862"/>
                    </a:lnTo>
                    <a:lnTo>
                      <a:pt x="322" y="863"/>
                    </a:lnTo>
                    <a:lnTo>
                      <a:pt x="324" y="864"/>
                    </a:lnTo>
                    <a:lnTo>
                      <a:pt x="326" y="865"/>
                    </a:lnTo>
                    <a:lnTo>
                      <a:pt x="329" y="869"/>
                    </a:lnTo>
                    <a:lnTo>
                      <a:pt x="330" y="871"/>
                    </a:lnTo>
                    <a:lnTo>
                      <a:pt x="332" y="871"/>
                    </a:lnTo>
                    <a:lnTo>
                      <a:pt x="333" y="874"/>
                    </a:lnTo>
                    <a:lnTo>
                      <a:pt x="336" y="870"/>
                    </a:lnTo>
                    <a:lnTo>
                      <a:pt x="340" y="872"/>
                    </a:lnTo>
                    <a:lnTo>
                      <a:pt x="345" y="872"/>
                    </a:lnTo>
                    <a:lnTo>
                      <a:pt x="347" y="871"/>
                    </a:lnTo>
                    <a:lnTo>
                      <a:pt x="349" y="868"/>
                    </a:lnTo>
                    <a:lnTo>
                      <a:pt x="352" y="867"/>
                    </a:lnTo>
                    <a:lnTo>
                      <a:pt x="360" y="871"/>
                    </a:lnTo>
                    <a:lnTo>
                      <a:pt x="363" y="871"/>
                    </a:lnTo>
                    <a:lnTo>
                      <a:pt x="364" y="873"/>
                    </a:lnTo>
                    <a:lnTo>
                      <a:pt x="368" y="878"/>
                    </a:lnTo>
                    <a:lnTo>
                      <a:pt x="369" y="881"/>
                    </a:lnTo>
                    <a:lnTo>
                      <a:pt x="372" y="883"/>
                    </a:lnTo>
                    <a:lnTo>
                      <a:pt x="377" y="884"/>
                    </a:lnTo>
                    <a:lnTo>
                      <a:pt x="379" y="882"/>
                    </a:lnTo>
                    <a:lnTo>
                      <a:pt x="382" y="882"/>
                    </a:lnTo>
                    <a:lnTo>
                      <a:pt x="385" y="881"/>
                    </a:lnTo>
                    <a:lnTo>
                      <a:pt x="388" y="880"/>
                    </a:lnTo>
                    <a:lnTo>
                      <a:pt x="392" y="879"/>
                    </a:lnTo>
                    <a:lnTo>
                      <a:pt x="394" y="880"/>
                    </a:lnTo>
                    <a:lnTo>
                      <a:pt x="398" y="880"/>
                    </a:lnTo>
                    <a:lnTo>
                      <a:pt x="399" y="884"/>
                    </a:lnTo>
                    <a:lnTo>
                      <a:pt x="401" y="884"/>
                    </a:lnTo>
                    <a:lnTo>
                      <a:pt x="403" y="884"/>
                    </a:lnTo>
                    <a:lnTo>
                      <a:pt x="405" y="881"/>
                    </a:lnTo>
                    <a:lnTo>
                      <a:pt x="406" y="880"/>
                    </a:lnTo>
                    <a:lnTo>
                      <a:pt x="409" y="882"/>
                    </a:lnTo>
                    <a:lnTo>
                      <a:pt x="412" y="882"/>
                    </a:lnTo>
                    <a:lnTo>
                      <a:pt x="421" y="882"/>
                    </a:lnTo>
                    <a:lnTo>
                      <a:pt x="431" y="884"/>
                    </a:lnTo>
                    <a:lnTo>
                      <a:pt x="431" y="881"/>
                    </a:lnTo>
                    <a:lnTo>
                      <a:pt x="429" y="876"/>
                    </a:lnTo>
                    <a:lnTo>
                      <a:pt x="429" y="874"/>
                    </a:lnTo>
                    <a:lnTo>
                      <a:pt x="430" y="870"/>
                    </a:lnTo>
                    <a:lnTo>
                      <a:pt x="429" y="869"/>
                    </a:lnTo>
                    <a:lnTo>
                      <a:pt x="431" y="867"/>
                    </a:lnTo>
                    <a:lnTo>
                      <a:pt x="434" y="866"/>
                    </a:lnTo>
                    <a:lnTo>
                      <a:pt x="438" y="868"/>
                    </a:lnTo>
                    <a:lnTo>
                      <a:pt x="445" y="870"/>
                    </a:lnTo>
                    <a:lnTo>
                      <a:pt x="450" y="874"/>
                    </a:lnTo>
                    <a:lnTo>
                      <a:pt x="454" y="874"/>
                    </a:lnTo>
                    <a:lnTo>
                      <a:pt x="459" y="875"/>
                    </a:lnTo>
                    <a:lnTo>
                      <a:pt x="461" y="874"/>
                    </a:lnTo>
                    <a:lnTo>
                      <a:pt x="467" y="878"/>
                    </a:lnTo>
                    <a:lnTo>
                      <a:pt x="467" y="880"/>
                    </a:lnTo>
                    <a:lnTo>
                      <a:pt x="470" y="882"/>
                    </a:lnTo>
                    <a:lnTo>
                      <a:pt x="475" y="880"/>
                    </a:lnTo>
                    <a:lnTo>
                      <a:pt x="482" y="880"/>
                    </a:lnTo>
                    <a:lnTo>
                      <a:pt x="486" y="884"/>
                    </a:lnTo>
                    <a:lnTo>
                      <a:pt x="487" y="888"/>
                    </a:lnTo>
                    <a:lnTo>
                      <a:pt x="489" y="889"/>
                    </a:lnTo>
                    <a:lnTo>
                      <a:pt x="489" y="890"/>
                    </a:lnTo>
                    <a:lnTo>
                      <a:pt x="491" y="895"/>
                    </a:lnTo>
                    <a:lnTo>
                      <a:pt x="493" y="893"/>
                    </a:lnTo>
                    <a:lnTo>
                      <a:pt x="493" y="891"/>
                    </a:lnTo>
                    <a:lnTo>
                      <a:pt x="495" y="888"/>
                    </a:lnTo>
                    <a:lnTo>
                      <a:pt x="496" y="889"/>
                    </a:lnTo>
                    <a:lnTo>
                      <a:pt x="499" y="888"/>
                    </a:lnTo>
                    <a:lnTo>
                      <a:pt x="503" y="891"/>
                    </a:lnTo>
                    <a:lnTo>
                      <a:pt x="506" y="891"/>
                    </a:lnTo>
                    <a:lnTo>
                      <a:pt x="508" y="892"/>
                    </a:lnTo>
                    <a:lnTo>
                      <a:pt x="509" y="891"/>
                    </a:lnTo>
                    <a:lnTo>
                      <a:pt x="511" y="892"/>
                    </a:lnTo>
                    <a:lnTo>
                      <a:pt x="514" y="892"/>
                    </a:lnTo>
                    <a:lnTo>
                      <a:pt x="514" y="894"/>
                    </a:lnTo>
                    <a:lnTo>
                      <a:pt x="516" y="897"/>
                    </a:lnTo>
                    <a:lnTo>
                      <a:pt x="514" y="898"/>
                    </a:lnTo>
                    <a:lnTo>
                      <a:pt x="512" y="905"/>
                    </a:lnTo>
                    <a:lnTo>
                      <a:pt x="521" y="907"/>
                    </a:lnTo>
                    <a:lnTo>
                      <a:pt x="528" y="910"/>
                    </a:lnTo>
                    <a:lnTo>
                      <a:pt x="530" y="911"/>
                    </a:lnTo>
                    <a:lnTo>
                      <a:pt x="532" y="918"/>
                    </a:lnTo>
                    <a:lnTo>
                      <a:pt x="536" y="920"/>
                    </a:lnTo>
                    <a:lnTo>
                      <a:pt x="539" y="918"/>
                    </a:lnTo>
                    <a:lnTo>
                      <a:pt x="546" y="914"/>
                    </a:lnTo>
                    <a:lnTo>
                      <a:pt x="550" y="914"/>
                    </a:lnTo>
                    <a:lnTo>
                      <a:pt x="554" y="912"/>
                    </a:lnTo>
                    <a:lnTo>
                      <a:pt x="557" y="913"/>
                    </a:lnTo>
                    <a:lnTo>
                      <a:pt x="559" y="913"/>
                    </a:lnTo>
                    <a:lnTo>
                      <a:pt x="561" y="914"/>
                    </a:lnTo>
                    <a:lnTo>
                      <a:pt x="563" y="916"/>
                    </a:lnTo>
                    <a:lnTo>
                      <a:pt x="565" y="916"/>
                    </a:lnTo>
                    <a:lnTo>
                      <a:pt x="567" y="918"/>
                    </a:lnTo>
                    <a:lnTo>
                      <a:pt x="572" y="921"/>
                    </a:lnTo>
                    <a:lnTo>
                      <a:pt x="576" y="922"/>
                    </a:lnTo>
                    <a:lnTo>
                      <a:pt x="578" y="919"/>
                    </a:lnTo>
                    <a:lnTo>
                      <a:pt x="582" y="922"/>
                    </a:lnTo>
                    <a:lnTo>
                      <a:pt x="585" y="922"/>
                    </a:lnTo>
                    <a:lnTo>
                      <a:pt x="586" y="921"/>
                    </a:lnTo>
                    <a:lnTo>
                      <a:pt x="585" y="917"/>
                    </a:lnTo>
                    <a:lnTo>
                      <a:pt x="586" y="916"/>
                    </a:lnTo>
                    <a:lnTo>
                      <a:pt x="586" y="914"/>
                    </a:lnTo>
                    <a:lnTo>
                      <a:pt x="590" y="913"/>
                    </a:lnTo>
                    <a:lnTo>
                      <a:pt x="594" y="914"/>
                    </a:lnTo>
                    <a:lnTo>
                      <a:pt x="596" y="914"/>
                    </a:lnTo>
                    <a:lnTo>
                      <a:pt x="599" y="911"/>
                    </a:lnTo>
                    <a:lnTo>
                      <a:pt x="600" y="910"/>
                    </a:lnTo>
                    <a:lnTo>
                      <a:pt x="605" y="909"/>
                    </a:lnTo>
                    <a:lnTo>
                      <a:pt x="607" y="907"/>
                    </a:lnTo>
                    <a:lnTo>
                      <a:pt x="610" y="908"/>
                    </a:lnTo>
                    <a:lnTo>
                      <a:pt x="614" y="907"/>
                    </a:lnTo>
                    <a:lnTo>
                      <a:pt x="619" y="912"/>
                    </a:lnTo>
                    <a:lnTo>
                      <a:pt x="620" y="912"/>
                    </a:lnTo>
                    <a:lnTo>
                      <a:pt x="621" y="911"/>
                    </a:lnTo>
                    <a:lnTo>
                      <a:pt x="625" y="912"/>
                    </a:lnTo>
                    <a:lnTo>
                      <a:pt x="626" y="911"/>
                    </a:lnTo>
                    <a:lnTo>
                      <a:pt x="624" y="907"/>
                    </a:lnTo>
                    <a:lnTo>
                      <a:pt x="622" y="905"/>
                    </a:lnTo>
                    <a:lnTo>
                      <a:pt x="621" y="903"/>
                    </a:lnTo>
                    <a:lnTo>
                      <a:pt x="617" y="901"/>
                    </a:lnTo>
                    <a:lnTo>
                      <a:pt x="617" y="898"/>
                    </a:lnTo>
                    <a:lnTo>
                      <a:pt x="616" y="889"/>
                    </a:lnTo>
                    <a:lnTo>
                      <a:pt x="615" y="888"/>
                    </a:lnTo>
                    <a:lnTo>
                      <a:pt x="614" y="888"/>
                    </a:lnTo>
                    <a:lnTo>
                      <a:pt x="613" y="887"/>
                    </a:lnTo>
                    <a:lnTo>
                      <a:pt x="613" y="886"/>
                    </a:lnTo>
                    <a:lnTo>
                      <a:pt x="614" y="885"/>
                    </a:lnTo>
                    <a:lnTo>
                      <a:pt x="614" y="886"/>
                    </a:lnTo>
                    <a:lnTo>
                      <a:pt x="615" y="887"/>
                    </a:lnTo>
                    <a:lnTo>
                      <a:pt x="616" y="886"/>
                    </a:lnTo>
                    <a:lnTo>
                      <a:pt x="616" y="877"/>
                    </a:lnTo>
                    <a:lnTo>
                      <a:pt x="616" y="874"/>
                    </a:lnTo>
                    <a:lnTo>
                      <a:pt x="614" y="873"/>
                    </a:lnTo>
                    <a:lnTo>
                      <a:pt x="610" y="872"/>
                    </a:lnTo>
                    <a:lnTo>
                      <a:pt x="609" y="870"/>
                    </a:lnTo>
                    <a:lnTo>
                      <a:pt x="613" y="866"/>
                    </a:lnTo>
                    <a:lnTo>
                      <a:pt x="613" y="862"/>
                    </a:lnTo>
                    <a:lnTo>
                      <a:pt x="617" y="863"/>
                    </a:lnTo>
                    <a:lnTo>
                      <a:pt x="617" y="860"/>
                    </a:lnTo>
                    <a:lnTo>
                      <a:pt x="614" y="858"/>
                    </a:lnTo>
                    <a:lnTo>
                      <a:pt x="613" y="857"/>
                    </a:lnTo>
                    <a:lnTo>
                      <a:pt x="614" y="854"/>
                    </a:lnTo>
                    <a:lnTo>
                      <a:pt x="616" y="854"/>
                    </a:lnTo>
                    <a:lnTo>
                      <a:pt x="614" y="857"/>
                    </a:lnTo>
                    <a:lnTo>
                      <a:pt x="616" y="858"/>
                    </a:lnTo>
                    <a:lnTo>
                      <a:pt x="617" y="855"/>
                    </a:lnTo>
                    <a:lnTo>
                      <a:pt x="618" y="850"/>
                    </a:lnTo>
                    <a:lnTo>
                      <a:pt x="619" y="847"/>
                    </a:lnTo>
                    <a:lnTo>
                      <a:pt x="619" y="845"/>
                    </a:lnTo>
                    <a:lnTo>
                      <a:pt x="618" y="846"/>
                    </a:lnTo>
                    <a:lnTo>
                      <a:pt x="617" y="845"/>
                    </a:lnTo>
                    <a:lnTo>
                      <a:pt x="617" y="841"/>
                    </a:lnTo>
                    <a:lnTo>
                      <a:pt x="618" y="839"/>
                    </a:lnTo>
                    <a:lnTo>
                      <a:pt x="620" y="840"/>
                    </a:lnTo>
                    <a:lnTo>
                      <a:pt x="618" y="843"/>
                    </a:lnTo>
                    <a:lnTo>
                      <a:pt x="619" y="845"/>
                    </a:lnTo>
                    <a:lnTo>
                      <a:pt x="621" y="845"/>
                    </a:lnTo>
                    <a:lnTo>
                      <a:pt x="622" y="842"/>
                    </a:lnTo>
                    <a:lnTo>
                      <a:pt x="630" y="830"/>
                    </a:lnTo>
                    <a:lnTo>
                      <a:pt x="631" y="830"/>
                    </a:lnTo>
                    <a:lnTo>
                      <a:pt x="633" y="828"/>
                    </a:lnTo>
                    <a:lnTo>
                      <a:pt x="637" y="826"/>
                    </a:lnTo>
                    <a:lnTo>
                      <a:pt x="641" y="823"/>
                    </a:lnTo>
                    <a:lnTo>
                      <a:pt x="645" y="821"/>
                    </a:lnTo>
                    <a:lnTo>
                      <a:pt x="650" y="823"/>
                    </a:lnTo>
                    <a:lnTo>
                      <a:pt x="652" y="818"/>
                    </a:lnTo>
                    <a:lnTo>
                      <a:pt x="656" y="815"/>
                    </a:lnTo>
                    <a:lnTo>
                      <a:pt x="658" y="812"/>
                    </a:lnTo>
                    <a:lnTo>
                      <a:pt x="661" y="811"/>
                    </a:lnTo>
                    <a:lnTo>
                      <a:pt x="664" y="810"/>
                    </a:lnTo>
                    <a:lnTo>
                      <a:pt x="666" y="808"/>
                    </a:lnTo>
                    <a:lnTo>
                      <a:pt x="672" y="803"/>
                    </a:lnTo>
                    <a:lnTo>
                      <a:pt x="682" y="795"/>
                    </a:lnTo>
                    <a:lnTo>
                      <a:pt x="683" y="795"/>
                    </a:lnTo>
                    <a:lnTo>
                      <a:pt x="682" y="794"/>
                    </a:lnTo>
                    <a:lnTo>
                      <a:pt x="679" y="796"/>
                    </a:lnTo>
                    <a:lnTo>
                      <a:pt x="669" y="805"/>
                    </a:lnTo>
                    <a:lnTo>
                      <a:pt x="666" y="807"/>
                    </a:lnTo>
                    <a:lnTo>
                      <a:pt x="664" y="807"/>
                    </a:lnTo>
                    <a:lnTo>
                      <a:pt x="665" y="806"/>
                    </a:lnTo>
                    <a:lnTo>
                      <a:pt x="671" y="803"/>
                    </a:lnTo>
                    <a:lnTo>
                      <a:pt x="673" y="798"/>
                    </a:lnTo>
                    <a:lnTo>
                      <a:pt x="676" y="797"/>
                    </a:lnTo>
                    <a:lnTo>
                      <a:pt x="679" y="794"/>
                    </a:lnTo>
                    <a:lnTo>
                      <a:pt x="685" y="792"/>
                    </a:lnTo>
                    <a:lnTo>
                      <a:pt x="688" y="790"/>
                    </a:lnTo>
                    <a:lnTo>
                      <a:pt x="692" y="789"/>
                    </a:lnTo>
                    <a:lnTo>
                      <a:pt x="694" y="789"/>
                    </a:lnTo>
                    <a:lnTo>
                      <a:pt x="694" y="791"/>
                    </a:lnTo>
                    <a:lnTo>
                      <a:pt x="693" y="791"/>
                    </a:lnTo>
                    <a:lnTo>
                      <a:pt x="687" y="793"/>
                    </a:lnTo>
                    <a:lnTo>
                      <a:pt x="683" y="794"/>
                    </a:lnTo>
                    <a:lnTo>
                      <a:pt x="691" y="793"/>
                    </a:lnTo>
                    <a:lnTo>
                      <a:pt x="696" y="793"/>
                    </a:lnTo>
                    <a:lnTo>
                      <a:pt x="698" y="796"/>
                    </a:lnTo>
                    <a:lnTo>
                      <a:pt x="699" y="801"/>
                    </a:lnTo>
                    <a:lnTo>
                      <a:pt x="702" y="803"/>
                    </a:lnTo>
                    <a:lnTo>
                      <a:pt x="719" y="805"/>
                    </a:lnTo>
                    <a:lnTo>
                      <a:pt x="726" y="804"/>
                    </a:lnTo>
                    <a:lnTo>
                      <a:pt x="733" y="806"/>
                    </a:lnTo>
                    <a:lnTo>
                      <a:pt x="734" y="808"/>
                    </a:lnTo>
                    <a:lnTo>
                      <a:pt x="732" y="813"/>
                    </a:lnTo>
                    <a:lnTo>
                      <a:pt x="733" y="814"/>
                    </a:lnTo>
                    <a:lnTo>
                      <a:pt x="735" y="815"/>
                    </a:lnTo>
                    <a:lnTo>
                      <a:pt x="751" y="815"/>
                    </a:lnTo>
                    <a:lnTo>
                      <a:pt x="751" y="814"/>
                    </a:lnTo>
                    <a:lnTo>
                      <a:pt x="750" y="813"/>
                    </a:lnTo>
                    <a:lnTo>
                      <a:pt x="746" y="810"/>
                    </a:lnTo>
                    <a:lnTo>
                      <a:pt x="744" y="808"/>
                    </a:lnTo>
                    <a:lnTo>
                      <a:pt x="744" y="807"/>
                    </a:lnTo>
                    <a:lnTo>
                      <a:pt x="744" y="803"/>
                    </a:lnTo>
                    <a:lnTo>
                      <a:pt x="744" y="799"/>
                    </a:lnTo>
                    <a:lnTo>
                      <a:pt x="741" y="793"/>
                    </a:lnTo>
                    <a:lnTo>
                      <a:pt x="742" y="792"/>
                    </a:lnTo>
                    <a:lnTo>
                      <a:pt x="744" y="795"/>
                    </a:lnTo>
                    <a:lnTo>
                      <a:pt x="746" y="798"/>
                    </a:lnTo>
                    <a:lnTo>
                      <a:pt x="745" y="808"/>
                    </a:lnTo>
                    <a:lnTo>
                      <a:pt x="752" y="813"/>
                    </a:lnTo>
                    <a:lnTo>
                      <a:pt x="755" y="813"/>
                    </a:lnTo>
                    <a:lnTo>
                      <a:pt x="755" y="812"/>
                    </a:lnTo>
                    <a:lnTo>
                      <a:pt x="753" y="811"/>
                    </a:lnTo>
                    <a:lnTo>
                      <a:pt x="753" y="810"/>
                    </a:lnTo>
                    <a:lnTo>
                      <a:pt x="755" y="808"/>
                    </a:lnTo>
                    <a:lnTo>
                      <a:pt x="759" y="807"/>
                    </a:lnTo>
                    <a:lnTo>
                      <a:pt x="763" y="808"/>
                    </a:lnTo>
                    <a:lnTo>
                      <a:pt x="764" y="810"/>
                    </a:lnTo>
                    <a:lnTo>
                      <a:pt x="770" y="807"/>
                    </a:lnTo>
                    <a:lnTo>
                      <a:pt x="770" y="803"/>
                    </a:lnTo>
                    <a:lnTo>
                      <a:pt x="769" y="802"/>
                    </a:lnTo>
                    <a:lnTo>
                      <a:pt x="767" y="802"/>
                    </a:lnTo>
                    <a:lnTo>
                      <a:pt x="766" y="799"/>
                    </a:lnTo>
                    <a:lnTo>
                      <a:pt x="767" y="797"/>
                    </a:lnTo>
                    <a:lnTo>
                      <a:pt x="767" y="795"/>
                    </a:lnTo>
                    <a:lnTo>
                      <a:pt x="768" y="794"/>
                    </a:lnTo>
                    <a:lnTo>
                      <a:pt x="770" y="797"/>
                    </a:lnTo>
                    <a:lnTo>
                      <a:pt x="775" y="797"/>
                    </a:lnTo>
                    <a:lnTo>
                      <a:pt x="774" y="799"/>
                    </a:lnTo>
                    <a:lnTo>
                      <a:pt x="778" y="803"/>
                    </a:lnTo>
                    <a:lnTo>
                      <a:pt x="783" y="801"/>
                    </a:lnTo>
                    <a:lnTo>
                      <a:pt x="784" y="803"/>
                    </a:lnTo>
                    <a:lnTo>
                      <a:pt x="781" y="806"/>
                    </a:lnTo>
                    <a:lnTo>
                      <a:pt x="780" y="807"/>
                    </a:lnTo>
                    <a:lnTo>
                      <a:pt x="777" y="809"/>
                    </a:lnTo>
                    <a:lnTo>
                      <a:pt x="770" y="809"/>
                    </a:lnTo>
                    <a:lnTo>
                      <a:pt x="767" y="811"/>
                    </a:lnTo>
                    <a:lnTo>
                      <a:pt x="766" y="813"/>
                    </a:lnTo>
                    <a:lnTo>
                      <a:pt x="768" y="816"/>
                    </a:lnTo>
                    <a:lnTo>
                      <a:pt x="773" y="817"/>
                    </a:lnTo>
                    <a:lnTo>
                      <a:pt x="774" y="817"/>
                    </a:lnTo>
                    <a:lnTo>
                      <a:pt x="779" y="817"/>
                    </a:lnTo>
                    <a:lnTo>
                      <a:pt x="780" y="817"/>
                    </a:lnTo>
                    <a:lnTo>
                      <a:pt x="782" y="817"/>
                    </a:lnTo>
                    <a:lnTo>
                      <a:pt x="791" y="814"/>
                    </a:lnTo>
                    <a:lnTo>
                      <a:pt x="793" y="816"/>
                    </a:lnTo>
                    <a:lnTo>
                      <a:pt x="793" y="818"/>
                    </a:lnTo>
                    <a:lnTo>
                      <a:pt x="793" y="821"/>
                    </a:lnTo>
                    <a:lnTo>
                      <a:pt x="793" y="822"/>
                    </a:lnTo>
                    <a:lnTo>
                      <a:pt x="795" y="824"/>
                    </a:lnTo>
                    <a:lnTo>
                      <a:pt x="793" y="828"/>
                    </a:lnTo>
                    <a:lnTo>
                      <a:pt x="793" y="829"/>
                    </a:lnTo>
                    <a:lnTo>
                      <a:pt x="799" y="829"/>
                    </a:lnTo>
                    <a:lnTo>
                      <a:pt x="801" y="830"/>
                    </a:lnTo>
                    <a:lnTo>
                      <a:pt x="801" y="829"/>
                    </a:lnTo>
                    <a:lnTo>
                      <a:pt x="805" y="831"/>
                    </a:lnTo>
                    <a:lnTo>
                      <a:pt x="807" y="829"/>
                    </a:lnTo>
                    <a:lnTo>
                      <a:pt x="809" y="832"/>
                    </a:lnTo>
                    <a:lnTo>
                      <a:pt x="813" y="834"/>
                    </a:lnTo>
                    <a:lnTo>
                      <a:pt x="815" y="833"/>
                    </a:lnTo>
                    <a:lnTo>
                      <a:pt x="819" y="833"/>
                    </a:lnTo>
                    <a:lnTo>
                      <a:pt x="820" y="834"/>
                    </a:lnTo>
                    <a:lnTo>
                      <a:pt x="819" y="835"/>
                    </a:lnTo>
                    <a:lnTo>
                      <a:pt x="820" y="836"/>
                    </a:lnTo>
                    <a:lnTo>
                      <a:pt x="821" y="836"/>
                    </a:lnTo>
                    <a:lnTo>
                      <a:pt x="823" y="838"/>
                    </a:lnTo>
                    <a:lnTo>
                      <a:pt x="826" y="837"/>
                    </a:lnTo>
                    <a:lnTo>
                      <a:pt x="826" y="839"/>
                    </a:lnTo>
                    <a:lnTo>
                      <a:pt x="829" y="840"/>
                    </a:lnTo>
                    <a:lnTo>
                      <a:pt x="829" y="841"/>
                    </a:lnTo>
                    <a:lnTo>
                      <a:pt x="826" y="842"/>
                    </a:lnTo>
                    <a:lnTo>
                      <a:pt x="826" y="844"/>
                    </a:lnTo>
                    <a:lnTo>
                      <a:pt x="828" y="844"/>
                    </a:lnTo>
                    <a:lnTo>
                      <a:pt x="831" y="847"/>
                    </a:lnTo>
                    <a:lnTo>
                      <a:pt x="833" y="847"/>
                    </a:lnTo>
                    <a:lnTo>
                      <a:pt x="834" y="845"/>
                    </a:lnTo>
                    <a:lnTo>
                      <a:pt x="836" y="844"/>
                    </a:lnTo>
                    <a:lnTo>
                      <a:pt x="838" y="844"/>
                    </a:lnTo>
                    <a:lnTo>
                      <a:pt x="837" y="843"/>
                    </a:lnTo>
                    <a:lnTo>
                      <a:pt x="836" y="841"/>
                    </a:lnTo>
                    <a:lnTo>
                      <a:pt x="834" y="841"/>
                    </a:lnTo>
                    <a:lnTo>
                      <a:pt x="835" y="839"/>
                    </a:lnTo>
                    <a:lnTo>
                      <a:pt x="838" y="839"/>
                    </a:lnTo>
                    <a:lnTo>
                      <a:pt x="839" y="839"/>
                    </a:lnTo>
                    <a:lnTo>
                      <a:pt x="839" y="841"/>
                    </a:lnTo>
                    <a:lnTo>
                      <a:pt x="840" y="840"/>
                    </a:lnTo>
                    <a:lnTo>
                      <a:pt x="841" y="841"/>
                    </a:lnTo>
                    <a:lnTo>
                      <a:pt x="844" y="841"/>
                    </a:lnTo>
                    <a:lnTo>
                      <a:pt x="847" y="843"/>
                    </a:lnTo>
                    <a:lnTo>
                      <a:pt x="850" y="841"/>
                    </a:lnTo>
                    <a:lnTo>
                      <a:pt x="852" y="842"/>
                    </a:lnTo>
                    <a:lnTo>
                      <a:pt x="853" y="844"/>
                    </a:lnTo>
                    <a:lnTo>
                      <a:pt x="853" y="846"/>
                    </a:lnTo>
                    <a:lnTo>
                      <a:pt x="850" y="846"/>
                    </a:lnTo>
                    <a:lnTo>
                      <a:pt x="850" y="847"/>
                    </a:lnTo>
                    <a:lnTo>
                      <a:pt x="857" y="847"/>
                    </a:lnTo>
                    <a:lnTo>
                      <a:pt x="856" y="846"/>
                    </a:lnTo>
                    <a:lnTo>
                      <a:pt x="856" y="843"/>
                    </a:lnTo>
                    <a:lnTo>
                      <a:pt x="856" y="841"/>
                    </a:lnTo>
                    <a:lnTo>
                      <a:pt x="857" y="839"/>
                    </a:lnTo>
                    <a:lnTo>
                      <a:pt x="863" y="839"/>
                    </a:lnTo>
                    <a:lnTo>
                      <a:pt x="868" y="840"/>
                    </a:lnTo>
                    <a:lnTo>
                      <a:pt x="870" y="843"/>
                    </a:lnTo>
                    <a:lnTo>
                      <a:pt x="872" y="844"/>
                    </a:lnTo>
                    <a:lnTo>
                      <a:pt x="873" y="843"/>
                    </a:lnTo>
                    <a:lnTo>
                      <a:pt x="872" y="841"/>
                    </a:lnTo>
                    <a:lnTo>
                      <a:pt x="872" y="838"/>
                    </a:lnTo>
                    <a:lnTo>
                      <a:pt x="875" y="836"/>
                    </a:lnTo>
                    <a:lnTo>
                      <a:pt x="877" y="836"/>
                    </a:lnTo>
                    <a:lnTo>
                      <a:pt x="878" y="835"/>
                    </a:lnTo>
                    <a:lnTo>
                      <a:pt x="882" y="835"/>
                    </a:lnTo>
                    <a:lnTo>
                      <a:pt x="884" y="834"/>
                    </a:lnTo>
                    <a:lnTo>
                      <a:pt x="885" y="832"/>
                    </a:lnTo>
                    <a:lnTo>
                      <a:pt x="887" y="831"/>
                    </a:lnTo>
                    <a:lnTo>
                      <a:pt x="890" y="832"/>
                    </a:lnTo>
                    <a:lnTo>
                      <a:pt x="890" y="834"/>
                    </a:lnTo>
                    <a:lnTo>
                      <a:pt x="891" y="835"/>
                    </a:lnTo>
                    <a:lnTo>
                      <a:pt x="894" y="834"/>
                    </a:lnTo>
                    <a:lnTo>
                      <a:pt x="894" y="831"/>
                    </a:lnTo>
                    <a:lnTo>
                      <a:pt x="897" y="830"/>
                    </a:lnTo>
                    <a:lnTo>
                      <a:pt x="897" y="829"/>
                    </a:lnTo>
                    <a:lnTo>
                      <a:pt x="895" y="828"/>
                    </a:lnTo>
                    <a:lnTo>
                      <a:pt x="896" y="826"/>
                    </a:lnTo>
                    <a:lnTo>
                      <a:pt x="898" y="825"/>
                    </a:lnTo>
                    <a:lnTo>
                      <a:pt x="898" y="823"/>
                    </a:lnTo>
                    <a:lnTo>
                      <a:pt x="897" y="823"/>
                    </a:lnTo>
                    <a:lnTo>
                      <a:pt x="890" y="823"/>
                    </a:lnTo>
                    <a:lnTo>
                      <a:pt x="889" y="823"/>
                    </a:lnTo>
                    <a:lnTo>
                      <a:pt x="889" y="822"/>
                    </a:lnTo>
                    <a:lnTo>
                      <a:pt x="893" y="820"/>
                    </a:lnTo>
                    <a:lnTo>
                      <a:pt x="895" y="820"/>
                    </a:lnTo>
                    <a:lnTo>
                      <a:pt x="896" y="819"/>
                    </a:lnTo>
                    <a:lnTo>
                      <a:pt x="896" y="817"/>
                    </a:lnTo>
                    <a:lnTo>
                      <a:pt x="900" y="815"/>
                    </a:lnTo>
                    <a:lnTo>
                      <a:pt x="902" y="807"/>
                    </a:lnTo>
                    <a:lnTo>
                      <a:pt x="903" y="807"/>
                    </a:lnTo>
                    <a:lnTo>
                      <a:pt x="905" y="809"/>
                    </a:lnTo>
                    <a:lnTo>
                      <a:pt x="909" y="808"/>
                    </a:lnTo>
                    <a:lnTo>
                      <a:pt x="911" y="807"/>
                    </a:lnTo>
                    <a:lnTo>
                      <a:pt x="912" y="807"/>
                    </a:lnTo>
                    <a:lnTo>
                      <a:pt x="913" y="805"/>
                    </a:lnTo>
                    <a:lnTo>
                      <a:pt x="915" y="805"/>
                    </a:lnTo>
                    <a:lnTo>
                      <a:pt x="915" y="803"/>
                    </a:lnTo>
                    <a:lnTo>
                      <a:pt x="918" y="799"/>
                    </a:lnTo>
                    <a:lnTo>
                      <a:pt x="917" y="797"/>
                    </a:lnTo>
                    <a:lnTo>
                      <a:pt x="919" y="796"/>
                    </a:lnTo>
                    <a:lnTo>
                      <a:pt x="922" y="794"/>
                    </a:lnTo>
                    <a:lnTo>
                      <a:pt x="925" y="795"/>
                    </a:lnTo>
                    <a:lnTo>
                      <a:pt x="929" y="792"/>
                    </a:lnTo>
                    <a:lnTo>
                      <a:pt x="931" y="792"/>
                    </a:lnTo>
                    <a:lnTo>
                      <a:pt x="931" y="793"/>
                    </a:lnTo>
                    <a:lnTo>
                      <a:pt x="932" y="793"/>
                    </a:lnTo>
                    <a:lnTo>
                      <a:pt x="932" y="787"/>
                    </a:lnTo>
                    <a:lnTo>
                      <a:pt x="934" y="783"/>
                    </a:lnTo>
                    <a:lnTo>
                      <a:pt x="938" y="783"/>
                    </a:lnTo>
                    <a:lnTo>
                      <a:pt x="940" y="779"/>
                    </a:lnTo>
                    <a:lnTo>
                      <a:pt x="941" y="778"/>
                    </a:lnTo>
                    <a:lnTo>
                      <a:pt x="945" y="778"/>
                    </a:lnTo>
                    <a:lnTo>
                      <a:pt x="947" y="778"/>
                    </a:lnTo>
                    <a:lnTo>
                      <a:pt x="947" y="780"/>
                    </a:lnTo>
                    <a:lnTo>
                      <a:pt x="948" y="780"/>
                    </a:lnTo>
                    <a:lnTo>
                      <a:pt x="949" y="779"/>
                    </a:lnTo>
                    <a:lnTo>
                      <a:pt x="948" y="778"/>
                    </a:lnTo>
                    <a:lnTo>
                      <a:pt x="948" y="777"/>
                    </a:lnTo>
                    <a:lnTo>
                      <a:pt x="949" y="776"/>
                    </a:lnTo>
                    <a:lnTo>
                      <a:pt x="952" y="776"/>
                    </a:lnTo>
                    <a:lnTo>
                      <a:pt x="954" y="775"/>
                    </a:lnTo>
                    <a:lnTo>
                      <a:pt x="956" y="773"/>
                    </a:lnTo>
                    <a:lnTo>
                      <a:pt x="959" y="773"/>
                    </a:lnTo>
                    <a:lnTo>
                      <a:pt x="959" y="770"/>
                    </a:lnTo>
                    <a:lnTo>
                      <a:pt x="961" y="769"/>
                    </a:lnTo>
                    <a:lnTo>
                      <a:pt x="963" y="770"/>
                    </a:lnTo>
                    <a:lnTo>
                      <a:pt x="960" y="763"/>
                    </a:lnTo>
                    <a:lnTo>
                      <a:pt x="960" y="760"/>
                    </a:lnTo>
                    <a:lnTo>
                      <a:pt x="964" y="757"/>
                    </a:lnTo>
                    <a:lnTo>
                      <a:pt x="966" y="752"/>
                    </a:lnTo>
                    <a:lnTo>
                      <a:pt x="969" y="751"/>
                    </a:lnTo>
                    <a:lnTo>
                      <a:pt x="973" y="747"/>
                    </a:lnTo>
                    <a:lnTo>
                      <a:pt x="973" y="743"/>
                    </a:lnTo>
                    <a:lnTo>
                      <a:pt x="976" y="742"/>
                    </a:lnTo>
                    <a:lnTo>
                      <a:pt x="977" y="739"/>
                    </a:lnTo>
                    <a:lnTo>
                      <a:pt x="976" y="736"/>
                    </a:lnTo>
                    <a:lnTo>
                      <a:pt x="974" y="734"/>
                    </a:lnTo>
                    <a:lnTo>
                      <a:pt x="973" y="733"/>
                    </a:lnTo>
                    <a:lnTo>
                      <a:pt x="973" y="731"/>
                    </a:lnTo>
                    <a:lnTo>
                      <a:pt x="973" y="729"/>
                    </a:lnTo>
                    <a:lnTo>
                      <a:pt x="974" y="728"/>
                    </a:lnTo>
                    <a:lnTo>
                      <a:pt x="971" y="727"/>
                    </a:lnTo>
                    <a:lnTo>
                      <a:pt x="970" y="728"/>
                    </a:lnTo>
                    <a:lnTo>
                      <a:pt x="969" y="730"/>
                    </a:lnTo>
                    <a:lnTo>
                      <a:pt x="965" y="730"/>
                    </a:lnTo>
                    <a:lnTo>
                      <a:pt x="965" y="731"/>
                    </a:lnTo>
                    <a:lnTo>
                      <a:pt x="962" y="731"/>
                    </a:lnTo>
                    <a:lnTo>
                      <a:pt x="958" y="733"/>
                    </a:lnTo>
                    <a:lnTo>
                      <a:pt x="956" y="732"/>
                    </a:lnTo>
                    <a:lnTo>
                      <a:pt x="954" y="734"/>
                    </a:lnTo>
                    <a:lnTo>
                      <a:pt x="951" y="733"/>
                    </a:lnTo>
                    <a:lnTo>
                      <a:pt x="949" y="734"/>
                    </a:lnTo>
                    <a:lnTo>
                      <a:pt x="947" y="731"/>
                    </a:lnTo>
                    <a:lnTo>
                      <a:pt x="943" y="730"/>
                    </a:lnTo>
                    <a:lnTo>
                      <a:pt x="940" y="728"/>
                    </a:lnTo>
                    <a:lnTo>
                      <a:pt x="938" y="728"/>
                    </a:lnTo>
                    <a:lnTo>
                      <a:pt x="934" y="724"/>
                    </a:lnTo>
                    <a:lnTo>
                      <a:pt x="932" y="725"/>
                    </a:lnTo>
                    <a:lnTo>
                      <a:pt x="930" y="723"/>
                    </a:lnTo>
                    <a:lnTo>
                      <a:pt x="926" y="721"/>
                    </a:lnTo>
                    <a:lnTo>
                      <a:pt x="923" y="722"/>
                    </a:lnTo>
                    <a:lnTo>
                      <a:pt x="921" y="721"/>
                    </a:lnTo>
                    <a:lnTo>
                      <a:pt x="920" y="717"/>
                    </a:lnTo>
                    <a:lnTo>
                      <a:pt x="917" y="714"/>
                    </a:lnTo>
                    <a:lnTo>
                      <a:pt x="917" y="712"/>
                    </a:lnTo>
                    <a:lnTo>
                      <a:pt x="914" y="710"/>
                    </a:lnTo>
                    <a:lnTo>
                      <a:pt x="914" y="709"/>
                    </a:lnTo>
                    <a:lnTo>
                      <a:pt x="912" y="708"/>
                    </a:lnTo>
                    <a:lnTo>
                      <a:pt x="913" y="704"/>
                    </a:lnTo>
                    <a:lnTo>
                      <a:pt x="912" y="703"/>
                    </a:lnTo>
                    <a:lnTo>
                      <a:pt x="917" y="701"/>
                    </a:lnTo>
                    <a:lnTo>
                      <a:pt x="912" y="696"/>
                    </a:lnTo>
                    <a:lnTo>
                      <a:pt x="911" y="694"/>
                    </a:lnTo>
                    <a:lnTo>
                      <a:pt x="911" y="693"/>
                    </a:lnTo>
                    <a:lnTo>
                      <a:pt x="910" y="692"/>
                    </a:lnTo>
                    <a:lnTo>
                      <a:pt x="910" y="691"/>
                    </a:lnTo>
                    <a:lnTo>
                      <a:pt x="910" y="690"/>
                    </a:lnTo>
                    <a:lnTo>
                      <a:pt x="912" y="688"/>
                    </a:lnTo>
                    <a:lnTo>
                      <a:pt x="914" y="688"/>
                    </a:lnTo>
                    <a:lnTo>
                      <a:pt x="916" y="685"/>
                    </a:lnTo>
                    <a:lnTo>
                      <a:pt x="917" y="681"/>
                    </a:lnTo>
                    <a:lnTo>
                      <a:pt x="918" y="681"/>
                    </a:lnTo>
                    <a:lnTo>
                      <a:pt x="918" y="678"/>
                    </a:lnTo>
                    <a:lnTo>
                      <a:pt x="920" y="675"/>
                    </a:lnTo>
                    <a:lnTo>
                      <a:pt x="921" y="674"/>
                    </a:lnTo>
                    <a:lnTo>
                      <a:pt x="928" y="674"/>
                    </a:lnTo>
                    <a:lnTo>
                      <a:pt x="926" y="672"/>
                    </a:lnTo>
                    <a:lnTo>
                      <a:pt x="924" y="669"/>
                    </a:lnTo>
                    <a:lnTo>
                      <a:pt x="923" y="665"/>
                    </a:lnTo>
                    <a:lnTo>
                      <a:pt x="923" y="662"/>
                    </a:lnTo>
                    <a:lnTo>
                      <a:pt x="924" y="660"/>
                    </a:lnTo>
                    <a:lnTo>
                      <a:pt x="922" y="658"/>
                    </a:lnTo>
                    <a:lnTo>
                      <a:pt x="917" y="656"/>
                    </a:lnTo>
                    <a:lnTo>
                      <a:pt x="914" y="657"/>
                    </a:lnTo>
                    <a:lnTo>
                      <a:pt x="911" y="656"/>
                    </a:lnTo>
                    <a:lnTo>
                      <a:pt x="907" y="654"/>
                    </a:lnTo>
                    <a:lnTo>
                      <a:pt x="902" y="650"/>
                    </a:lnTo>
                    <a:lnTo>
                      <a:pt x="902" y="648"/>
                    </a:lnTo>
                    <a:lnTo>
                      <a:pt x="901" y="647"/>
                    </a:lnTo>
                    <a:lnTo>
                      <a:pt x="902" y="645"/>
                    </a:lnTo>
                    <a:lnTo>
                      <a:pt x="901" y="642"/>
                    </a:lnTo>
                    <a:lnTo>
                      <a:pt x="902" y="640"/>
                    </a:lnTo>
                    <a:lnTo>
                      <a:pt x="895" y="637"/>
                    </a:lnTo>
                    <a:lnTo>
                      <a:pt x="895" y="634"/>
                    </a:lnTo>
                    <a:lnTo>
                      <a:pt x="892" y="631"/>
                    </a:lnTo>
                    <a:lnTo>
                      <a:pt x="893" y="629"/>
                    </a:lnTo>
                    <a:lnTo>
                      <a:pt x="896" y="628"/>
                    </a:lnTo>
                    <a:lnTo>
                      <a:pt x="896" y="627"/>
                    </a:lnTo>
                    <a:lnTo>
                      <a:pt x="898" y="626"/>
                    </a:lnTo>
                    <a:lnTo>
                      <a:pt x="901" y="627"/>
                    </a:lnTo>
                    <a:lnTo>
                      <a:pt x="903" y="624"/>
                    </a:lnTo>
                    <a:lnTo>
                      <a:pt x="907" y="625"/>
                    </a:lnTo>
                    <a:lnTo>
                      <a:pt x="909" y="628"/>
                    </a:lnTo>
                    <a:lnTo>
                      <a:pt x="912" y="628"/>
                    </a:lnTo>
                    <a:lnTo>
                      <a:pt x="914" y="626"/>
                    </a:lnTo>
                    <a:lnTo>
                      <a:pt x="912" y="625"/>
                    </a:lnTo>
                    <a:lnTo>
                      <a:pt x="912" y="624"/>
                    </a:lnTo>
                    <a:lnTo>
                      <a:pt x="917" y="624"/>
                    </a:lnTo>
                    <a:lnTo>
                      <a:pt x="918" y="621"/>
                    </a:lnTo>
                    <a:lnTo>
                      <a:pt x="918" y="619"/>
                    </a:lnTo>
                    <a:lnTo>
                      <a:pt x="924" y="618"/>
                    </a:lnTo>
                    <a:lnTo>
                      <a:pt x="925" y="618"/>
                    </a:lnTo>
                    <a:lnTo>
                      <a:pt x="928" y="619"/>
                    </a:lnTo>
                    <a:lnTo>
                      <a:pt x="929" y="616"/>
                    </a:lnTo>
                    <a:lnTo>
                      <a:pt x="931" y="616"/>
                    </a:lnTo>
                    <a:lnTo>
                      <a:pt x="932" y="613"/>
                    </a:lnTo>
                    <a:lnTo>
                      <a:pt x="931" y="607"/>
                    </a:lnTo>
                    <a:lnTo>
                      <a:pt x="932" y="606"/>
                    </a:lnTo>
                    <a:lnTo>
                      <a:pt x="932" y="604"/>
                    </a:lnTo>
                    <a:lnTo>
                      <a:pt x="934" y="604"/>
                    </a:lnTo>
                    <a:lnTo>
                      <a:pt x="934" y="601"/>
                    </a:lnTo>
                    <a:lnTo>
                      <a:pt x="936" y="598"/>
                    </a:lnTo>
                    <a:lnTo>
                      <a:pt x="931" y="596"/>
                    </a:lnTo>
                    <a:lnTo>
                      <a:pt x="928" y="591"/>
                    </a:lnTo>
                    <a:lnTo>
                      <a:pt x="925" y="591"/>
                    </a:lnTo>
                    <a:lnTo>
                      <a:pt x="925" y="589"/>
                    </a:lnTo>
                    <a:lnTo>
                      <a:pt x="921" y="587"/>
                    </a:lnTo>
                    <a:lnTo>
                      <a:pt x="920" y="583"/>
                    </a:lnTo>
                    <a:lnTo>
                      <a:pt x="920" y="581"/>
                    </a:lnTo>
                    <a:lnTo>
                      <a:pt x="920" y="579"/>
                    </a:lnTo>
                    <a:lnTo>
                      <a:pt x="920" y="577"/>
                    </a:lnTo>
                    <a:lnTo>
                      <a:pt x="921" y="574"/>
                    </a:lnTo>
                    <a:lnTo>
                      <a:pt x="918" y="572"/>
                    </a:lnTo>
                    <a:lnTo>
                      <a:pt x="915" y="573"/>
                    </a:lnTo>
                    <a:lnTo>
                      <a:pt x="914" y="571"/>
                    </a:lnTo>
                    <a:lnTo>
                      <a:pt x="914" y="570"/>
                    </a:lnTo>
                    <a:lnTo>
                      <a:pt x="911" y="570"/>
                    </a:lnTo>
                    <a:lnTo>
                      <a:pt x="909" y="569"/>
                    </a:lnTo>
                    <a:lnTo>
                      <a:pt x="907" y="565"/>
                    </a:lnTo>
                    <a:lnTo>
                      <a:pt x="906" y="560"/>
                    </a:lnTo>
                    <a:lnTo>
                      <a:pt x="907" y="555"/>
                    </a:lnTo>
                    <a:lnTo>
                      <a:pt x="908" y="554"/>
                    </a:lnTo>
                    <a:lnTo>
                      <a:pt x="909" y="553"/>
                    </a:lnTo>
                    <a:lnTo>
                      <a:pt x="911" y="554"/>
                    </a:lnTo>
                    <a:lnTo>
                      <a:pt x="912" y="552"/>
                    </a:lnTo>
                    <a:lnTo>
                      <a:pt x="915" y="553"/>
                    </a:lnTo>
                    <a:lnTo>
                      <a:pt x="920" y="550"/>
                    </a:lnTo>
                    <a:lnTo>
                      <a:pt x="921" y="549"/>
                    </a:lnTo>
                    <a:lnTo>
                      <a:pt x="923" y="545"/>
                    </a:lnTo>
                    <a:lnTo>
                      <a:pt x="925" y="544"/>
                    </a:lnTo>
                    <a:lnTo>
                      <a:pt x="924" y="543"/>
                    </a:lnTo>
                    <a:lnTo>
                      <a:pt x="924" y="541"/>
                    </a:lnTo>
                    <a:lnTo>
                      <a:pt x="922" y="539"/>
                    </a:lnTo>
                    <a:lnTo>
                      <a:pt x="923" y="538"/>
                    </a:lnTo>
                    <a:lnTo>
                      <a:pt x="923" y="537"/>
                    </a:lnTo>
                    <a:lnTo>
                      <a:pt x="917" y="532"/>
                    </a:lnTo>
                    <a:lnTo>
                      <a:pt x="916" y="530"/>
                    </a:lnTo>
                    <a:lnTo>
                      <a:pt x="913" y="531"/>
                    </a:lnTo>
                    <a:lnTo>
                      <a:pt x="911" y="531"/>
                    </a:lnTo>
                    <a:lnTo>
                      <a:pt x="911" y="530"/>
                    </a:lnTo>
                    <a:lnTo>
                      <a:pt x="912" y="528"/>
                    </a:lnTo>
                    <a:lnTo>
                      <a:pt x="911" y="526"/>
                    </a:lnTo>
                    <a:lnTo>
                      <a:pt x="912" y="526"/>
                    </a:lnTo>
                    <a:lnTo>
                      <a:pt x="912" y="523"/>
                    </a:lnTo>
                    <a:lnTo>
                      <a:pt x="905" y="522"/>
                    </a:lnTo>
                    <a:lnTo>
                      <a:pt x="905" y="521"/>
                    </a:lnTo>
                    <a:lnTo>
                      <a:pt x="905" y="519"/>
                    </a:lnTo>
                    <a:lnTo>
                      <a:pt x="906" y="517"/>
                    </a:lnTo>
                    <a:lnTo>
                      <a:pt x="906" y="514"/>
                    </a:lnTo>
                    <a:lnTo>
                      <a:pt x="909" y="508"/>
                    </a:lnTo>
                    <a:lnTo>
                      <a:pt x="909" y="506"/>
                    </a:lnTo>
                    <a:lnTo>
                      <a:pt x="904" y="500"/>
                    </a:lnTo>
                    <a:lnTo>
                      <a:pt x="904" y="498"/>
                    </a:lnTo>
                    <a:lnTo>
                      <a:pt x="906" y="496"/>
                    </a:lnTo>
                    <a:lnTo>
                      <a:pt x="907" y="493"/>
                    </a:lnTo>
                    <a:lnTo>
                      <a:pt x="906" y="492"/>
                    </a:lnTo>
                    <a:lnTo>
                      <a:pt x="901" y="490"/>
                    </a:lnTo>
                    <a:lnTo>
                      <a:pt x="893" y="488"/>
                    </a:lnTo>
                    <a:lnTo>
                      <a:pt x="883" y="488"/>
                    </a:lnTo>
                    <a:lnTo>
                      <a:pt x="876" y="493"/>
                    </a:lnTo>
                    <a:lnTo>
                      <a:pt x="868" y="494"/>
                    </a:lnTo>
                    <a:lnTo>
                      <a:pt x="862" y="499"/>
                    </a:lnTo>
                    <a:lnTo>
                      <a:pt x="861" y="502"/>
                    </a:lnTo>
                    <a:lnTo>
                      <a:pt x="863" y="504"/>
                    </a:lnTo>
                    <a:lnTo>
                      <a:pt x="862" y="505"/>
                    </a:lnTo>
                    <a:lnTo>
                      <a:pt x="865" y="509"/>
                    </a:lnTo>
                    <a:lnTo>
                      <a:pt x="866" y="508"/>
                    </a:lnTo>
                    <a:lnTo>
                      <a:pt x="867" y="511"/>
                    </a:lnTo>
                    <a:lnTo>
                      <a:pt x="859" y="517"/>
                    </a:lnTo>
                    <a:lnTo>
                      <a:pt x="858" y="518"/>
                    </a:lnTo>
                    <a:lnTo>
                      <a:pt x="856" y="520"/>
                    </a:lnTo>
                    <a:lnTo>
                      <a:pt x="853" y="521"/>
                    </a:lnTo>
                    <a:lnTo>
                      <a:pt x="849" y="520"/>
                    </a:lnTo>
                    <a:lnTo>
                      <a:pt x="847" y="521"/>
                    </a:lnTo>
                    <a:lnTo>
                      <a:pt x="844" y="521"/>
                    </a:lnTo>
                    <a:lnTo>
                      <a:pt x="841" y="522"/>
                    </a:lnTo>
                    <a:lnTo>
                      <a:pt x="844" y="518"/>
                    </a:lnTo>
                    <a:lnTo>
                      <a:pt x="841" y="515"/>
                    </a:lnTo>
                    <a:lnTo>
                      <a:pt x="841" y="514"/>
                    </a:lnTo>
                    <a:lnTo>
                      <a:pt x="846" y="511"/>
                    </a:lnTo>
                    <a:lnTo>
                      <a:pt x="848" y="511"/>
                    </a:lnTo>
                    <a:lnTo>
                      <a:pt x="850" y="511"/>
                    </a:lnTo>
                    <a:lnTo>
                      <a:pt x="852" y="510"/>
                    </a:lnTo>
                    <a:lnTo>
                      <a:pt x="853" y="509"/>
                    </a:lnTo>
                    <a:lnTo>
                      <a:pt x="851" y="505"/>
                    </a:lnTo>
                    <a:lnTo>
                      <a:pt x="856" y="497"/>
                    </a:lnTo>
                    <a:lnTo>
                      <a:pt x="855" y="496"/>
                    </a:lnTo>
                    <a:lnTo>
                      <a:pt x="849" y="492"/>
                    </a:lnTo>
                    <a:lnTo>
                      <a:pt x="851" y="490"/>
                    </a:lnTo>
                    <a:lnTo>
                      <a:pt x="850" y="488"/>
                    </a:lnTo>
                    <a:lnTo>
                      <a:pt x="850" y="486"/>
                    </a:lnTo>
                    <a:lnTo>
                      <a:pt x="853" y="484"/>
                    </a:lnTo>
                    <a:lnTo>
                      <a:pt x="854" y="480"/>
                    </a:lnTo>
                    <a:lnTo>
                      <a:pt x="856" y="478"/>
                    </a:lnTo>
                    <a:lnTo>
                      <a:pt x="854" y="475"/>
                    </a:lnTo>
                    <a:lnTo>
                      <a:pt x="854" y="474"/>
                    </a:lnTo>
                    <a:lnTo>
                      <a:pt x="865" y="463"/>
                    </a:lnTo>
                    <a:lnTo>
                      <a:pt x="869" y="462"/>
                    </a:lnTo>
                    <a:lnTo>
                      <a:pt x="870" y="462"/>
                    </a:lnTo>
                    <a:lnTo>
                      <a:pt x="871" y="461"/>
                    </a:lnTo>
                    <a:lnTo>
                      <a:pt x="872" y="461"/>
                    </a:lnTo>
                    <a:lnTo>
                      <a:pt x="873" y="461"/>
                    </a:lnTo>
                    <a:lnTo>
                      <a:pt x="874" y="457"/>
                    </a:lnTo>
                    <a:lnTo>
                      <a:pt x="877" y="457"/>
                    </a:lnTo>
                    <a:lnTo>
                      <a:pt x="879" y="454"/>
                    </a:lnTo>
                    <a:lnTo>
                      <a:pt x="878" y="452"/>
                    </a:lnTo>
                    <a:lnTo>
                      <a:pt x="877" y="451"/>
                    </a:lnTo>
                    <a:lnTo>
                      <a:pt x="878" y="448"/>
                    </a:lnTo>
                    <a:lnTo>
                      <a:pt x="879" y="447"/>
                    </a:lnTo>
                    <a:lnTo>
                      <a:pt x="880" y="444"/>
                    </a:lnTo>
                    <a:lnTo>
                      <a:pt x="877" y="439"/>
                    </a:lnTo>
                    <a:lnTo>
                      <a:pt x="882" y="435"/>
                    </a:lnTo>
                    <a:lnTo>
                      <a:pt x="885" y="434"/>
                    </a:lnTo>
                    <a:lnTo>
                      <a:pt x="893" y="431"/>
                    </a:lnTo>
                    <a:lnTo>
                      <a:pt x="896" y="428"/>
                    </a:lnTo>
                    <a:lnTo>
                      <a:pt x="899" y="427"/>
                    </a:lnTo>
                    <a:lnTo>
                      <a:pt x="899" y="425"/>
                    </a:lnTo>
                    <a:lnTo>
                      <a:pt x="898" y="424"/>
                    </a:lnTo>
                    <a:lnTo>
                      <a:pt x="899" y="422"/>
                    </a:lnTo>
                    <a:lnTo>
                      <a:pt x="902" y="421"/>
                    </a:lnTo>
                    <a:lnTo>
                      <a:pt x="902" y="419"/>
                    </a:lnTo>
                    <a:lnTo>
                      <a:pt x="907" y="417"/>
                    </a:lnTo>
                    <a:lnTo>
                      <a:pt x="910" y="414"/>
                    </a:lnTo>
                    <a:lnTo>
                      <a:pt x="909" y="413"/>
                    </a:lnTo>
                    <a:lnTo>
                      <a:pt x="914" y="409"/>
                    </a:lnTo>
                    <a:lnTo>
                      <a:pt x="917" y="407"/>
                    </a:lnTo>
                    <a:lnTo>
                      <a:pt x="918" y="405"/>
                    </a:lnTo>
                    <a:lnTo>
                      <a:pt x="917" y="401"/>
                    </a:lnTo>
                    <a:lnTo>
                      <a:pt x="920" y="401"/>
                    </a:lnTo>
                    <a:lnTo>
                      <a:pt x="923" y="399"/>
                    </a:lnTo>
                    <a:lnTo>
                      <a:pt x="923" y="397"/>
                    </a:lnTo>
                    <a:lnTo>
                      <a:pt x="925" y="397"/>
                    </a:lnTo>
                    <a:lnTo>
                      <a:pt x="926" y="395"/>
                    </a:lnTo>
                    <a:lnTo>
                      <a:pt x="925" y="394"/>
                    </a:lnTo>
                    <a:lnTo>
                      <a:pt x="925" y="393"/>
                    </a:lnTo>
                    <a:lnTo>
                      <a:pt x="923" y="392"/>
                    </a:lnTo>
                    <a:lnTo>
                      <a:pt x="920" y="393"/>
                    </a:lnTo>
                    <a:lnTo>
                      <a:pt x="912" y="393"/>
                    </a:lnTo>
                    <a:lnTo>
                      <a:pt x="912" y="391"/>
                    </a:lnTo>
                    <a:lnTo>
                      <a:pt x="915" y="391"/>
                    </a:lnTo>
                    <a:lnTo>
                      <a:pt x="915" y="388"/>
                    </a:lnTo>
                    <a:lnTo>
                      <a:pt x="917" y="388"/>
                    </a:lnTo>
                    <a:lnTo>
                      <a:pt x="917" y="385"/>
                    </a:lnTo>
                    <a:lnTo>
                      <a:pt x="918" y="385"/>
                    </a:lnTo>
                    <a:lnTo>
                      <a:pt x="922" y="384"/>
                    </a:lnTo>
                    <a:lnTo>
                      <a:pt x="922" y="382"/>
                    </a:lnTo>
                    <a:lnTo>
                      <a:pt x="921" y="381"/>
                    </a:lnTo>
                    <a:lnTo>
                      <a:pt x="921" y="379"/>
                    </a:lnTo>
                    <a:lnTo>
                      <a:pt x="924" y="378"/>
                    </a:lnTo>
                    <a:lnTo>
                      <a:pt x="928" y="379"/>
                    </a:lnTo>
                    <a:lnTo>
                      <a:pt x="931" y="378"/>
                    </a:lnTo>
                    <a:lnTo>
                      <a:pt x="934" y="379"/>
                    </a:lnTo>
                    <a:lnTo>
                      <a:pt x="937" y="379"/>
                    </a:lnTo>
                    <a:lnTo>
                      <a:pt x="936" y="381"/>
                    </a:lnTo>
                    <a:lnTo>
                      <a:pt x="935" y="384"/>
                    </a:lnTo>
                    <a:lnTo>
                      <a:pt x="940" y="385"/>
                    </a:lnTo>
                    <a:lnTo>
                      <a:pt x="941" y="387"/>
                    </a:lnTo>
                    <a:lnTo>
                      <a:pt x="946" y="385"/>
                    </a:lnTo>
                    <a:lnTo>
                      <a:pt x="950" y="385"/>
                    </a:lnTo>
                    <a:lnTo>
                      <a:pt x="953" y="385"/>
                    </a:lnTo>
                    <a:lnTo>
                      <a:pt x="954" y="384"/>
                    </a:lnTo>
                    <a:lnTo>
                      <a:pt x="957" y="382"/>
                    </a:lnTo>
                    <a:lnTo>
                      <a:pt x="957" y="381"/>
                    </a:lnTo>
                    <a:lnTo>
                      <a:pt x="955" y="380"/>
                    </a:lnTo>
                    <a:lnTo>
                      <a:pt x="955" y="379"/>
                    </a:lnTo>
                    <a:lnTo>
                      <a:pt x="957" y="379"/>
                    </a:lnTo>
                    <a:lnTo>
                      <a:pt x="959" y="380"/>
                    </a:lnTo>
                    <a:lnTo>
                      <a:pt x="961" y="379"/>
                    </a:lnTo>
                    <a:lnTo>
                      <a:pt x="961" y="378"/>
                    </a:lnTo>
                    <a:lnTo>
                      <a:pt x="960" y="376"/>
                    </a:lnTo>
                    <a:lnTo>
                      <a:pt x="962" y="376"/>
                    </a:lnTo>
                    <a:lnTo>
                      <a:pt x="963" y="375"/>
                    </a:lnTo>
                    <a:lnTo>
                      <a:pt x="963" y="374"/>
                    </a:lnTo>
                    <a:lnTo>
                      <a:pt x="961" y="374"/>
                    </a:lnTo>
                    <a:lnTo>
                      <a:pt x="961" y="373"/>
                    </a:lnTo>
                    <a:lnTo>
                      <a:pt x="965" y="371"/>
                    </a:lnTo>
                    <a:lnTo>
                      <a:pt x="965" y="370"/>
                    </a:lnTo>
                    <a:lnTo>
                      <a:pt x="967" y="369"/>
                    </a:lnTo>
                    <a:lnTo>
                      <a:pt x="967" y="368"/>
                    </a:lnTo>
                    <a:lnTo>
                      <a:pt x="966" y="363"/>
                    </a:lnTo>
                    <a:lnTo>
                      <a:pt x="962" y="361"/>
                    </a:lnTo>
                    <a:lnTo>
                      <a:pt x="962" y="357"/>
                    </a:lnTo>
                    <a:lnTo>
                      <a:pt x="964" y="353"/>
                    </a:lnTo>
                    <a:lnTo>
                      <a:pt x="963" y="349"/>
                    </a:lnTo>
                    <a:lnTo>
                      <a:pt x="963" y="348"/>
                    </a:lnTo>
                    <a:lnTo>
                      <a:pt x="963" y="347"/>
                    </a:lnTo>
                    <a:lnTo>
                      <a:pt x="963" y="346"/>
                    </a:lnTo>
                    <a:lnTo>
                      <a:pt x="964" y="345"/>
                    </a:lnTo>
                    <a:lnTo>
                      <a:pt x="964" y="344"/>
                    </a:lnTo>
                    <a:lnTo>
                      <a:pt x="966" y="343"/>
                    </a:lnTo>
                    <a:lnTo>
                      <a:pt x="965" y="339"/>
                    </a:lnTo>
                    <a:lnTo>
                      <a:pt x="967" y="337"/>
                    </a:lnTo>
                    <a:lnTo>
                      <a:pt x="967" y="333"/>
                    </a:lnTo>
                    <a:lnTo>
                      <a:pt x="970" y="329"/>
                    </a:lnTo>
                    <a:lnTo>
                      <a:pt x="970" y="326"/>
                    </a:lnTo>
                    <a:lnTo>
                      <a:pt x="966" y="322"/>
                    </a:lnTo>
                    <a:lnTo>
                      <a:pt x="966" y="317"/>
                    </a:lnTo>
                    <a:lnTo>
                      <a:pt x="967" y="314"/>
                    </a:lnTo>
                    <a:lnTo>
                      <a:pt x="969" y="311"/>
                    </a:lnTo>
                    <a:lnTo>
                      <a:pt x="969" y="309"/>
                    </a:lnTo>
                    <a:lnTo>
                      <a:pt x="972" y="304"/>
                    </a:lnTo>
                    <a:lnTo>
                      <a:pt x="975" y="300"/>
                    </a:lnTo>
                    <a:lnTo>
                      <a:pt x="976" y="294"/>
                    </a:lnTo>
                    <a:lnTo>
                      <a:pt x="981" y="291"/>
                    </a:lnTo>
                    <a:lnTo>
                      <a:pt x="979" y="284"/>
                    </a:lnTo>
                    <a:lnTo>
                      <a:pt x="982" y="277"/>
                    </a:lnTo>
                    <a:lnTo>
                      <a:pt x="982" y="274"/>
                    </a:lnTo>
                    <a:lnTo>
                      <a:pt x="985" y="272"/>
                    </a:lnTo>
                    <a:lnTo>
                      <a:pt x="984" y="264"/>
                    </a:lnTo>
                    <a:lnTo>
                      <a:pt x="986" y="258"/>
                    </a:lnTo>
                    <a:lnTo>
                      <a:pt x="994" y="253"/>
                    </a:lnTo>
                    <a:lnTo>
                      <a:pt x="993" y="253"/>
                    </a:lnTo>
                    <a:lnTo>
                      <a:pt x="997" y="250"/>
                    </a:lnTo>
                    <a:lnTo>
                      <a:pt x="997" y="246"/>
                    </a:lnTo>
                    <a:lnTo>
                      <a:pt x="1001" y="246"/>
                    </a:lnTo>
                    <a:lnTo>
                      <a:pt x="1002" y="243"/>
                    </a:lnTo>
                    <a:lnTo>
                      <a:pt x="1005" y="242"/>
                    </a:lnTo>
                    <a:lnTo>
                      <a:pt x="1007" y="241"/>
                    </a:lnTo>
                    <a:lnTo>
                      <a:pt x="1008" y="240"/>
                    </a:lnTo>
                    <a:lnTo>
                      <a:pt x="1009" y="237"/>
                    </a:lnTo>
                    <a:lnTo>
                      <a:pt x="1011" y="232"/>
                    </a:lnTo>
                    <a:lnTo>
                      <a:pt x="1011" y="231"/>
                    </a:lnTo>
                    <a:lnTo>
                      <a:pt x="1013" y="228"/>
                    </a:lnTo>
                    <a:lnTo>
                      <a:pt x="1015" y="226"/>
                    </a:lnTo>
                    <a:lnTo>
                      <a:pt x="1018" y="224"/>
                    </a:lnTo>
                    <a:lnTo>
                      <a:pt x="1017" y="223"/>
                    </a:lnTo>
                    <a:lnTo>
                      <a:pt x="1015" y="223"/>
                    </a:lnTo>
                    <a:lnTo>
                      <a:pt x="1006" y="222"/>
                    </a:lnTo>
                    <a:lnTo>
                      <a:pt x="1003" y="220"/>
                    </a:lnTo>
                    <a:lnTo>
                      <a:pt x="998" y="217"/>
                    </a:lnTo>
                    <a:lnTo>
                      <a:pt x="995" y="216"/>
                    </a:lnTo>
                    <a:lnTo>
                      <a:pt x="993" y="216"/>
                    </a:lnTo>
                    <a:lnTo>
                      <a:pt x="991" y="216"/>
                    </a:lnTo>
                    <a:lnTo>
                      <a:pt x="989" y="217"/>
                    </a:lnTo>
                    <a:lnTo>
                      <a:pt x="984" y="214"/>
                    </a:lnTo>
                    <a:lnTo>
                      <a:pt x="981" y="216"/>
                    </a:lnTo>
                    <a:lnTo>
                      <a:pt x="976" y="215"/>
                    </a:lnTo>
                    <a:lnTo>
                      <a:pt x="975" y="216"/>
                    </a:lnTo>
                    <a:lnTo>
                      <a:pt x="973" y="216"/>
                    </a:lnTo>
                    <a:lnTo>
                      <a:pt x="969" y="212"/>
                    </a:lnTo>
                    <a:lnTo>
                      <a:pt x="966" y="212"/>
                    </a:lnTo>
                    <a:lnTo>
                      <a:pt x="964" y="211"/>
                    </a:lnTo>
                    <a:lnTo>
                      <a:pt x="962" y="208"/>
                    </a:lnTo>
                    <a:lnTo>
                      <a:pt x="960" y="206"/>
                    </a:lnTo>
                    <a:lnTo>
                      <a:pt x="961" y="205"/>
                    </a:lnTo>
                    <a:lnTo>
                      <a:pt x="960" y="204"/>
                    </a:lnTo>
                    <a:lnTo>
                      <a:pt x="956" y="204"/>
                    </a:lnTo>
                    <a:lnTo>
                      <a:pt x="956" y="202"/>
                    </a:lnTo>
                    <a:lnTo>
                      <a:pt x="955" y="202"/>
                    </a:lnTo>
                    <a:lnTo>
                      <a:pt x="951" y="202"/>
                    </a:lnTo>
                    <a:lnTo>
                      <a:pt x="950" y="205"/>
                    </a:lnTo>
                    <a:lnTo>
                      <a:pt x="946" y="206"/>
                    </a:lnTo>
                    <a:lnTo>
                      <a:pt x="944" y="209"/>
                    </a:lnTo>
                    <a:lnTo>
                      <a:pt x="943" y="208"/>
                    </a:lnTo>
                    <a:lnTo>
                      <a:pt x="940" y="207"/>
                    </a:lnTo>
                    <a:lnTo>
                      <a:pt x="937" y="208"/>
                    </a:lnTo>
                    <a:lnTo>
                      <a:pt x="935" y="207"/>
                    </a:lnTo>
                    <a:lnTo>
                      <a:pt x="933" y="207"/>
                    </a:lnTo>
                    <a:lnTo>
                      <a:pt x="931" y="206"/>
                    </a:lnTo>
                    <a:lnTo>
                      <a:pt x="930" y="206"/>
                    </a:lnTo>
                    <a:lnTo>
                      <a:pt x="930" y="205"/>
                    </a:lnTo>
                    <a:lnTo>
                      <a:pt x="928" y="205"/>
                    </a:lnTo>
                    <a:lnTo>
                      <a:pt x="928" y="207"/>
                    </a:lnTo>
                    <a:lnTo>
                      <a:pt x="927" y="209"/>
                    </a:lnTo>
                    <a:lnTo>
                      <a:pt x="925" y="209"/>
                    </a:lnTo>
                    <a:lnTo>
                      <a:pt x="923" y="204"/>
                    </a:lnTo>
                    <a:lnTo>
                      <a:pt x="924" y="201"/>
                    </a:lnTo>
                    <a:lnTo>
                      <a:pt x="918" y="199"/>
                    </a:lnTo>
                    <a:lnTo>
                      <a:pt x="916" y="198"/>
                    </a:lnTo>
                    <a:lnTo>
                      <a:pt x="913" y="198"/>
                    </a:lnTo>
                    <a:lnTo>
                      <a:pt x="911" y="198"/>
                    </a:lnTo>
                    <a:lnTo>
                      <a:pt x="909" y="198"/>
                    </a:lnTo>
                    <a:lnTo>
                      <a:pt x="909" y="199"/>
                    </a:lnTo>
                    <a:lnTo>
                      <a:pt x="911" y="202"/>
                    </a:lnTo>
                    <a:lnTo>
                      <a:pt x="909" y="204"/>
                    </a:lnTo>
                    <a:lnTo>
                      <a:pt x="904" y="203"/>
                    </a:lnTo>
                    <a:lnTo>
                      <a:pt x="901" y="203"/>
                    </a:lnTo>
                    <a:lnTo>
                      <a:pt x="899" y="201"/>
                    </a:lnTo>
                    <a:lnTo>
                      <a:pt x="900" y="200"/>
                    </a:lnTo>
                    <a:lnTo>
                      <a:pt x="901" y="199"/>
                    </a:lnTo>
                    <a:lnTo>
                      <a:pt x="901" y="198"/>
                    </a:lnTo>
                    <a:lnTo>
                      <a:pt x="900" y="198"/>
                    </a:lnTo>
                    <a:lnTo>
                      <a:pt x="898" y="198"/>
                    </a:lnTo>
                    <a:lnTo>
                      <a:pt x="897" y="194"/>
                    </a:lnTo>
                    <a:lnTo>
                      <a:pt x="895" y="193"/>
                    </a:lnTo>
                    <a:lnTo>
                      <a:pt x="895" y="191"/>
                    </a:lnTo>
                    <a:lnTo>
                      <a:pt x="890" y="187"/>
                    </a:lnTo>
                    <a:lnTo>
                      <a:pt x="890" y="185"/>
                    </a:lnTo>
                    <a:lnTo>
                      <a:pt x="888" y="185"/>
                    </a:lnTo>
                    <a:lnTo>
                      <a:pt x="888" y="183"/>
                    </a:lnTo>
                    <a:lnTo>
                      <a:pt x="890" y="183"/>
                    </a:lnTo>
                    <a:lnTo>
                      <a:pt x="889" y="182"/>
                    </a:lnTo>
                    <a:lnTo>
                      <a:pt x="889" y="180"/>
                    </a:lnTo>
                    <a:lnTo>
                      <a:pt x="885" y="178"/>
                    </a:lnTo>
                    <a:lnTo>
                      <a:pt x="885" y="177"/>
                    </a:lnTo>
                    <a:lnTo>
                      <a:pt x="886" y="176"/>
                    </a:lnTo>
                    <a:lnTo>
                      <a:pt x="885" y="175"/>
                    </a:lnTo>
                    <a:lnTo>
                      <a:pt x="880" y="172"/>
                    </a:lnTo>
                    <a:lnTo>
                      <a:pt x="879" y="172"/>
                    </a:lnTo>
                    <a:lnTo>
                      <a:pt x="876" y="170"/>
                    </a:lnTo>
                    <a:lnTo>
                      <a:pt x="874" y="171"/>
                    </a:lnTo>
                    <a:lnTo>
                      <a:pt x="872" y="172"/>
                    </a:lnTo>
                    <a:lnTo>
                      <a:pt x="867" y="170"/>
                    </a:lnTo>
                    <a:lnTo>
                      <a:pt x="866" y="169"/>
                    </a:lnTo>
                    <a:lnTo>
                      <a:pt x="862" y="167"/>
                    </a:lnTo>
                    <a:lnTo>
                      <a:pt x="856" y="167"/>
                    </a:lnTo>
                    <a:lnTo>
                      <a:pt x="856" y="169"/>
                    </a:lnTo>
                    <a:lnTo>
                      <a:pt x="853" y="169"/>
                    </a:lnTo>
                    <a:lnTo>
                      <a:pt x="853" y="171"/>
                    </a:lnTo>
                    <a:lnTo>
                      <a:pt x="851" y="171"/>
                    </a:lnTo>
                    <a:lnTo>
                      <a:pt x="851" y="173"/>
                    </a:lnTo>
                    <a:lnTo>
                      <a:pt x="848" y="171"/>
                    </a:lnTo>
                    <a:lnTo>
                      <a:pt x="847" y="173"/>
                    </a:lnTo>
                    <a:lnTo>
                      <a:pt x="844" y="173"/>
                    </a:lnTo>
                    <a:lnTo>
                      <a:pt x="842" y="173"/>
                    </a:lnTo>
                    <a:lnTo>
                      <a:pt x="841" y="169"/>
                    </a:lnTo>
                    <a:lnTo>
                      <a:pt x="837" y="168"/>
                    </a:lnTo>
                    <a:lnTo>
                      <a:pt x="833" y="168"/>
                    </a:lnTo>
                    <a:lnTo>
                      <a:pt x="830" y="165"/>
                    </a:lnTo>
                    <a:lnTo>
                      <a:pt x="831" y="165"/>
                    </a:lnTo>
                    <a:lnTo>
                      <a:pt x="830" y="164"/>
                    </a:lnTo>
                    <a:lnTo>
                      <a:pt x="829" y="163"/>
                    </a:lnTo>
                    <a:lnTo>
                      <a:pt x="825" y="162"/>
                    </a:lnTo>
                    <a:lnTo>
                      <a:pt x="824" y="162"/>
                    </a:lnTo>
                    <a:lnTo>
                      <a:pt x="823" y="164"/>
                    </a:lnTo>
                    <a:lnTo>
                      <a:pt x="820" y="164"/>
                    </a:lnTo>
                    <a:lnTo>
                      <a:pt x="820" y="163"/>
                    </a:lnTo>
                    <a:lnTo>
                      <a:pt x="817" y="163"/>
                    </a:lnTo>
                    <a:lnTo>
                      <a:pt x="815" y="163"/>
                    </a:lnTo>
                    <a:lnTo>
                      <a:pt x="814" y="167"/>
                    </a:lnTo>
                    <a:lnTo>
                      <a:pt x="812" y="165"/>
                    </a:lnTo>
                    <a:lnTo>
                      <a:pt x="809" y="165"/>
                    </a:lnTo>
                    <a:lnTo>
                      <a:pt x="807" y="167"/>
                    </a:lnTo>
                    <a:lnTo>
                      <a:pt x="802" y="167"/>
                    </a:lnTo>
                    <a:lnTo>
                      <a:pt x="801" y="166"/>
                    </a:lnTo>
                    <a:lnTo>
                      <a:pt x="802" y="164"/>
                    </a:lnTo>
                    <a:lnTo>
                      <a:pt x="801" y="162"/>
                    </a:lnTo>
                    <a:lnTo>
                      <a:pt x="801" y="161"/>
                    </a:lnTo>
                    <a:lnTo>
                      <a:pt x="800" y="159"/>
                    </a:lnTo>
                    <a:lnTo>
                      <a:pt x="799" y="157"/>
                    </a:lnTo>
                    <a:lnTo>
                      <a:pt x="796" y="155"/>
                    </a:lnTo>
                    <a:lnTo>
                      <a:pt x="793" y="153"/>
                    </a:lnTo>
                    <a:lnTo>
                      <a:pt x="792" y="155"/>
                    </a:lnTo>
                    <a:lnTo>
                      <a:pt x="790" y="155"/>
                    </a:lnTo>
                    <a:lnTo>
                      <a:pt x="790" y="153"/>
                    </a:lnTo>
                    <a:lnTo>
                      <a:pt x="791" y="151"/>
                    </a:lnTo>
                    <a:lnTo>
                      <a:pt x="787" y="147"/>
                    </a:lnTo>
                    <a:lnTo>
                      <a:pt x="784" y="148"/>
                    </a:lnTo>
                    <a:lnTo>
                      <a:pt x="779" y="147"/>
                    </a:lnTo>
                    <a:lnTo>
                      <a:pt x="778" y="147"/>
                    </a:lnTo>
                    <a:lnTo>
                      <a:pt x="778" y="145"/>
                    </a:lnTo>
                    <a:lnTo>
                      <a:pt x="776" y="145"/>
                    </a:lnTo>
                    <a:lnTo>
                      <a:pt x="775" y="142"/>
                    </a:lnTo>
                    <a:lnTo>
                      <a:pt x="774" y="140"/>
                    </a:lnTo>
                    <a:lnTo>
                      <a:pt x="770" y="140"/>
                    </a:lnTo>
                    <a:lnTo>
                      <a:pt x="768" y="139"/>
                    </a:lnTo>
                    <a:lnTo>
                      <a:pt x="765" y="136"/>
                    </a:lnTo>
                    <a:lnTo>
                      <a:pt x="762" y="136"/>
                    </a:lnTo>
                    <a:lnTo>
                      <a:pt x="760" y="137"/>
                    </a:lnTo>
                    <a:lnTo>
                      <a:pt x="754" y="136"/>
                    </a:lnTo>
                    <a:lnTo>
                      <a:pt x="755" y="133"/>
                    </a:lnTo>
                    <a:lnTo>
                      <a:pt x="754" y="129"/>
                    </a:lnTo>
                    <a:lnTo>
                      <a:pt x="756" y="125"/>
                    </a:lnTo>
                    <a:lnTo>
                      <a:pt x="756" y="124"/>
                    </a:lnTo>
                    <a:lnTo>
                      <a:pt x="754" y="122"/>
                    </a:lnTo>
                    <a:lnTo>
                      <a:pt x="753" y="120"/>
                    </a:lnTo>
                    <a:lnTo>
                      <a:pt x="752" y="120"/>
                    </a:lnTo>
                    <a:lnTo>
                      <a:pt x="750" y="119"/>
                    </a:lnTo>
                    <a:lnTo>
                      <a:pt x="750" y="118"/>
                    </a:lnTo>
                    <a:lnTo>
                      <a:pt x="750" y="117"/>
                    </a:lnTo>
                    <a:lnTo>
                      <a:pt x="751" y="115"/>
                    </a:lnTo>
                    <a:lnTo>
                      <a:pt x="752" y="112"/>
                    </a:lnTo>
                    <a:lnTo>
                      <a:pt x="753" y="110"/>
                    </a:lnTo>
                    <a:lnTo>
                      <a:pt x="752" y="108"/>
                    </a:lnTo>
                    <a:lnTo>
                      <a:pt x="754" y="106"/>
                    </a:lnTo>
                    <a:lnTo>
                      <a:pt x="754" y="105"/>
                    </a:lnTo>
                    <a:lnTo>
                      <a:pt x="754" y="104"/>
                    </a:lnTo>
                    <a:lnTo>
                      <a:pt x="755" y="105"/>
                    </a:lnTo>
                    <a:lnTo>
                      <a:pt x="756" y="105"/>
                    </a:lnTo>
                    <a:lnTo>
                      <a:pt x="756" y="102"/>
                    </a:lnTo>
                    <a:lnTo>
                      <a:pt x="757" y="100"/>
                    </a:lnTo>
                    <a:lnTo>
                      <a:pt x="757" y="98"/>
                    </a:lnTo>
                    <a:lnTo>
                      <a:pt x="753" y="99"/>
                    </a:lnTo>
                    <a:lnTo>
                      <a:pt x="752" y="97"/>
                    </a:lnTo>
                    <a:lnTo>
                      <a:pt x="751" y="98"/>
                    </a:lnTo>
                    <a:lnTo>
                      <a:pt x="750" y="99"/>
                    </a:lnTo>
                    <a:lnTo>
                      <a:pt x="747" y="100"/>
                    </a:lnTo>
                    <a:lnTo>
                      <a:pt x="746" y="103"/>
                    </a:lnTo>
                    <a:lnTo>
                      <a:pt x="741" y="105"/>
                    </a:lnTo>
                    <a:lnTo>
                      <a:pt x="741" y="108"/>
                    </a:lnTo>
                    <a:lnTo>
                      <a:pt x="741" y="109"/>
                    </a:lnTo>
                    <a:lnTo>
                      <a:pt x="741" y="110"/>
                    </a:lnTo>
                    <a:lnTo>
                      <a:pt x="740" y="115"/>
                    </a:lnTo>
                    <a:lnTo>
                      <a:pt x="733" y="117"/>
                    </a:lnTo>
                    <a:lnTo>
                      <a:pt x="727" y="120"/>
                    </a:lnTo>
                    <a:lnTo>
                      <a:pt x="723" y="121"/>
                    </a:lnTo>
                    <a:lnTo>
                      <a:pt x="714" y="120"/>
                    </a:lnTo>
                    <a:lnTo>
                      <a:pt x="712" y="118"/>
                    </a:lnTo>
                    <a:lnTo>
                      <a:pt x="704" y="119"/>
                    </a:lnTo>
                    <a:lnTo>
                      <a:pt x="700" y="117"/>
                    </a:lnTo>
                    <a:lnTo>
                      <a:pt x="699" y="117"/>
                    </a:lnTo>
                    <a:lnTo>
                      <a:pt x="700" y="115"/>
                    </a:lnTo>
                    <a:lnTo>
                      <a:pt x="699" y="114"/>
                    </a:lnTo>
                    <a:lnTo>
                      <a:pt x="698" y="112"/>
                    </a:lnTo>
                    <a:lnTo>
                      <a:pt x="700" y="110"/>
                    </a:lnTo>
                    <a:lnTo>
                      <a:pt x="702" y="110"/>
                    </a:lnTo>
                    <a:lnTo>
                      <a:pt x="705" y="107"/>
                    </a:lnTo>
                    <a:lnTo>
                      <a:pt x="703" y="104"/>
                    </a:lnTo>
                    <a:lnTo>
                      <a:pt x="703" y="101"/>
                    </a:lnTo>
                    <a:lnTo>
                      <a:pt x="701" y="100"/>
                    </a:lnTo>
                    <a:lnTo>
                      <a:pt x="699" y="101"/>
                    </a:lnTo>
                    <a:lnTo>
                      <a:pt x="698" y="100"/>
                    </a:lnTo>
                    <a:lnTo>
                      <a:pt x="698" y="98"/>
                    </a:lnTo>
                    <a:lnTo>
                      <a:pt x="699" y="98"/>
                    </a:lnTo>
                    <a:lnTo>
                      <a:pt x="700" y="95"/>
                    </a:lnTo>
                    <a:lnTo>
                      <a:pt x="700" y="92"/>
                    </a:lnTo>
                    <a:lnTo>
                      <a:pt x="704" y="89"/>
                    </a:lnTo>
                    <a:lnTo>
                      <a:pt x="704" y="87"/>
                    </a:lnTo>
                    <a:lnTo>
                      <a:pt x="700" y="85"/>
                    </a:lnTo>
                    <a:lnTo>
                      <a:pt x="700" y="86"/>
                    </a:lnTo>
                    <a:lnTo>
                      <a:pt x="700" y="87"/>
                    </a:lnTo>
                    <a:lnTo>
                      <a:pt x="699" y="88"/>
                    </a:lnTo>
                    <a:lnTo>
                      <a:pt x="697" y="86"/>
                    </a:lnTo>
                    <a:lnTo>
                      <a:pt x="697" y="84"/>
                    </a:lnTo>
                    <a:lnTo>
                      <a:pt x="691" y="80"/>
                    </a:lnTo>
                    <a:lnTo>
                      <a:pt x="690" y="78"/>
                    </a:lnTo>
                    <a:lnTo>
                      <a:pt x="680" y="80"/>
                    </a:lnTo>
                    <a:lnTo>
                      <a:pt x="676" y="78"/>
                    </a:lnTo>
                    <a:lnTo>
                      <a:pt x="674" y="78"/>
                    </a:lnTo>
                    <a:lnTo>
                      <a:pt x="669" y="78"/>
                    </a:lnTo>
                    <a:lnTo>
                      <a:pt x="667" y="78"/>
                    </a:lnTo>
                    <a:lnTo>
                      <a:pt x="666" y="82"/>
                    </a:lnTo>
                    <a:lnTo>
                      <a:pt x="665" y="82"/>
                    </a:lnTo>
                    <a:lnTo>
                      <a:pt x="665" y="83"/>
                    </a:lnTo>
                    <a:lnTo>
                      <a:pt x="664" y="83"/>
                    </a:lnTo>
                    <a:lnTo>
                      <a:pt x="663" y="81"/>
                    </a:lnTo>
                    <a:lnTo>
                      <a:pt x="661" y="76"/>
                    </a:lnTo>
                    <a:lnTo>
                      <a:pt x="662" y="73"/>
                    </a:lnTo>
                    <a:lnTo>
                      <a:pt x="662" y="68"/>
                    </a:lnTo>
                    <a:lnTo>
                      <a:pt x="661" y="67"/>
                    </a:lnTo>
                    <a:lnTo>
                      <a:pt x="658" y="64"/>
                    </a:lnTo>
                    <a:lnTo>
                      <a:pt x="656" y="62"/>
                    </a:lnTo>
                    <a:lnTo>
                      <a:pt x="655" y="63"/>
                    </a:lnTo>
                    <a:lnTo>
                      <a:pt x="652" y="62"/>
                    </a:lnTo>
                    <a:lnTo>
                      <a:pt x="649" y="63"/>
                    </a:lnTo>
                    <a:lnTo>
                      <a:pt x="648" y="62"/>
                    </a:lnTo>
                    <a:lnTo>
                      <a:pt x="649" y="60"/>
                    </a:lnTo>
                    <a:lnTo>
                      <a:pt x="647" y="59"/>
                    </a:lnTo>
                    <a:lnTo>
                      <a:pt x="644" y="62"/>
                    </a:lnTo>
                    <a:lnTo>
                      <a:pt x="638" y="63"/>
                    </a:lnTo>
                    <a:lnTo>
                      <a:pt x="633" y="60"/>
                    </a:lnTo>
                    <a:lnTo>
                      <a:pt x="631" y="57"/>
                    </a:lnTo>
                    <a:lnTo>
                      <a:pt x="631" y="52"/>
                    </a:lnTo>
                    <a:lnTo>
                      <a:pt x="630" y="49"/>
                    </a:lnTo>
                    <a:lnTo>
                      <a:pt x="628" y="45"/>
                    </a:lnTo>
                    <a:lnTo>
                      <a:pt x="628" y="44"/>
                    </a:lnTo>
                    <a:lnTo>
                      <a:pt x="630" y="43"/>
                    </a:lnTo>
                    <a:lnTo>
                      <a:pt x="628" y="42"/>
                    </a:lnTo>
                    <a:lnTo>
                      <a:pt x="628" y="41"/>
                    </a:lnTo>
                    <a:lnTo>
                      <a:pt x="627" y="39"/>
                    </a:lnTo>
                    <a:lnTo>
                      <a:pt x="626" y="39"/>
                    </a:lnTo>
                    <a:lnTo>
                      <a:pt x="625" y="38"/>
                    </a:lnTo>
                    <a:lnTo>
                      <a:pt x="621" y="32"/>
                    </a:lnTo>
                    <a:lnTo>
                      <a:pt x="618" y="31"/>
                    </a:lnTo>
                    <a:lnTo>
                      <a:pt x="615" y="33"/>
                    </a:lnTo>
                    <a:lnTo>
                      <a:pt x="613" y="33"/>
                    </a:lnTo>
                    <a:lnTo>
                      <a:pt x="607" y="36"/>
                    </a:lnTo>
                    <a:lnTo>
                      <a:pt x="606" y="35"/>
                    </a:lnTo>
                    <a:lnTo>
                      <a:pt x="605" y="36"/>
                    </a:lnTo>
                    <a:lnTo>
                      <a:pt x="605" y="37"/>
                    </a:lnTo>
                    <a:lnTo>
                      <a:pt x="604" y="39"/>
                    </a:lnTo>
                    <a:lnTo>
                      <a:pt x="602" y="42"/>
                    </a:lnTo>
                    <a:lnTo>
                      <a:pt x="601" y="40"/>
                    </a:lnTo>
                    <a:lnTo>
                      <a:pt x="599" y="39"/>
                    </a:lnTo>
                    <a:lnTo>
                      <a:pt x="597" y="38"/>
                    </a:lnTo>
                    <a:lnTo>
                      <a:pt x="593" y="38"/>
                    </a:lnTo>
                    <a:lnTo>
                      <a:pt x="592" y="37"/>
                    </a:lnTo>
                    <a:lnTo>
                      <a:pt x="592" y="36"/>
                    </a:lnTo>
                    <a:lnTo>
                      <a:pt x="590" y="35"/>
                    </a:lnTo>
                    <a:lnTo>
                      <a:pt x="590" y="33"/>
                    </a:lnTo>
                    <a:lnTo>
                      <a:pt x="587" y="31"/>
                    </a:lnTo>
                    <a:lnTo>
                      <a:pt x="587" y="29"/>
                    </a:lnTo>
                    <a:lnTo>
                      <a:pt x="583" y="28"/>
                    </a:lnTo>
                    <a:lnTo>
                      <a:pt x="581" y="29"/>
                    </a:lnTo>
                    <a:lnTo>
                      <a:pt x="580" y="28"/>
                    </a:lnTo>
                    <a:lnTo>
                      <a:pt x="580" y="26"/>
                    </a:lnTo>
                    <a:lnTo>
                      <a:pt x="578" y="25"/>
                    </a:lnTo>
                    <a:lnTo>
                      <a:pt x="579" y="23"/>
                    </a:lnTo>
                    <a:lnTo>
                      <a:pt x="579" y="22"/>
                    </a:lnTo>
                    <a:lnTo>
                      <a:pt x="578" y="19"/>
                    </a:lnTo>
                    <a:lnTo>
                      <a:pt x="577" y="18"/>
                    </a:lnTo>
                    <a:lnTo>
                      <a:pt x="580" y="15"/>
                    </a:lnTo>
                    <a:lnTo>
                      <a:pt x="578" y="10"/>
                    </a:lnTo>
                    <a:lnTo>
                      <a:pt x="576" y="9"/>
                    </a:lnTo>
                    <a:lnTo>
                      <a:pt x="575" y="2"/>
                    </a:lnTo>
                    <a:lnTo>
                      <a:pt x="573" y="0"/>
                    </a:lnTo>
                    <a:lnTo>
                      <a:pt x="563" y="4"/>
                    </a:lnTo>
                    <a:lnTo>
                      <a:pt x="556" y="3"/>
                    </a:lnTo>
                    <a:lnTo>
                      <a:pt x="540" y="9"/>
                    </a:lnTo>
                    <a:lnTo>
                      <a:pt x="535" y="9"/>
                    </a:lnTo>
                    <a:lnTo>
                      <a:pt x="520" y="11"/>
                    </a:lnTo>
                    <a:lnTo>
                      <a:pt x="511" y="15"/>
                    </a:lnTo>
                    <a:lnTo>
                      <a:pt x="503" y="22"/>
                    </a:lnTo>
                    <a:lnTo>
                      <a:pt x="498" y="23"/>
                    </a:lnTo>
                    <a:lnTo>
                      <a:pt x="498" y="24"/>
                    </a:lnTo>
                    <a:lnTo>
                      <a:pt x="500" y="32"/>
                    </a:lnTo>
                    <a:lnTo>
                      <a:pt x="498" y="37"/>
                    </a:lnTo>
                    <a:lnTo>
                      <a:pt x="497" y="41"/>
                    </a:lnTo>
                    <a:lnTo>
                      <a:pt x="497" y="43"/>
                    </a:lnTo>
                    <a:lnTo>
                      <a:pt x="498" y="49"/>
                    </a:lnTo>
                    <a:lnTo>
                      <a:pt x="498" y="54"/>
                    </a:lnTo>
                    <a:lnTo>
                      <a:pt x="500" y="58"/>
                    </a:lnTo>
                    <a:lnTo>
                      <a:pt x="498" y="58"/>
                    </a:lnTo>
                    <a:lnTo>
                      <a:pt x="497" y="70"/>
                    </a:lnTo>
                    <a:lnTo>
                      <a:pt x="497" y="72"/>
                    </a:lnTo>
                    <a:lnTo>
                      <a:pt x="498" y="74"/>
                    </a:lnTo>
                    <a:lnTo>
                      <a:pt x="500" y="74"/>
                    </a:lnTo>
                    <a:lnTo>
                      <a:pt x="501" y="76"/>
                    </a:lnTo>
                    <a:lnTo>
                      <a:pt x="496" y="77"/>
                    </a:lnTo>
                    <a:lnTo>
                      <a:pt x="495" y="84"/>
                    </a:lnTo>
                    <a:lnTo>
                      <a:pt x="496" y="88"/>
                    </a:lnTo>
                    <a:lnTo>
                      <a:pt x="498" y="87"/>
                    </a:lnTo>
                    <a:lnTo>
                      <a:pt x="502" y="92"/>
                    </a:lnTo>
                    <a:lnTo>
                      <a:pt x="504" y="92"/>
                    </a:lnTo>
                    <a:lnTo>
                      <a:pt x="504" y="93"/>
                    </a:lnTo>
                    <a:lnTo>
                      <a:pt x="503" y="93"/>
                    </a:lnTo>
                    <a:lnTo>
                      <a:pt x="505" y="94"/>
                    </a:lnTo>
                    <a:lnTo>
                      <a:pt x="505" y="96"/>
                    </a:lnTo>
                    <a:lnTo>
                      <a:pt x="500" y="94"/>
                    </a:lnTo>
                    <a:lnTo>
                      <a:pt x="497" y="92"/>
                    </a:lnTo>
                    <a:lnTo>
                      <a:pt x="495" y="92"/>
                    </a:lnTo>
                    <a:lnTo>
                      <a:pt x="492" y="94"/>
                    </a:lnTo>
                    <a:lnTo>
                      <a:pt x="491" y="96"/>
                    </a:lnTo>
                    <a:lnTo>
                      <a:pt x="489" y="101"/>
                    </a:lnTo>
                    <a:lnTo>
                      <a:pt x="487" y="104"/>
                    </a:lnTo>
                    <a:lnTo>
                      <a:pt x="479" y="110"/>
                    </a:lnTo>
                    <a:lnTo>
                      <a:pt x="469" y="118"/>
                    </a:lnTo>
                    <a:lnTo>
                      <a:pt x="459" y="123"/>
                    </a:lnTo>
                    <a:lnTo>
                      <a:pt x="450" y="123"/>
                    </a:lnTo>
                    <a:lnTo>
                      <a:pt x="437" y="128"/>
                    </a:lnTo>
                    <a:lnTo>
                      <a:pt x="429" y="128"/>
                    </a:lnTo>
                    <a:lnTo>
                      <a:pt x="420" y="130"/>
                    </a:lnTo>
                    <a:lnTo>
                      <a:pt x="412" y="135"/>
                    </a:lnTo>
                    <a:lnTo>
                      <a:pt x="404" y="139"/>
                    </a:lnTo>
                    <a:lnTo>
                      <a:pt x="401" y="141"/>
                    </a:lnTo>
                    <a:lnTo>
                      <a:pt x="398" y="142"/>
                    </a:lnTo>
                    <a:lnTo>
                      <a:pt x="394" y="144"/>
                    </a:lnTo>
                    <a:lnTo>
                      <a:pt x="391" y="145"/>
                    </a:lnTo>
                    <a:lnTo>
                      <a:pt x="390" y="146"/>
                    </a:lnTo>
                    <a:lnTo>
                      <a:pt x="388" y="148"/>
                    </a:lnTo>
                    <a:lnTo>
                      <a:pt x="386" y="154"/>
                    </a:lnTo>
                    <a:lnTo>
                      <a:pt x="381" y="164"/>
                    </a:lnTo>
                    <a:lnTo>
                      <a:pt x="381" y="165"/>
                    </a:lnTo>
                    <a:lnTo>
                      <a:pt x="381" y="167"/>
                    </a:lnTo>
                    <a:lnTo>
                      <a:pt x="384" y="169"/>
                    </a:lnTo>
                    <a:lnTo>
                      <a:pt x="387" y="170"/>
                    </a:lnTo>
                    <a:lnTo>
                      <a:pt x="387" y="171"/>
                    </a:lnTo>
                    <a:lnTo>
                      <a:pt x="390" y="171"/>
                    </a:lnTo>
                    <a:lnTo>
                      <a:pt x="389" y="170"/>
                    </a:lnTo>
                    <a:lnTo>
                      <a:pt x="390" y="170"/>
                    </a:lnTo>
                    <a:lnTo>
                      <a:pt x="394" y="172"/>
                    </a:lnTo>
                    <a:lnTo>
                      <a:pt x="399" y="173"/>
                    </a:lnTo>
                    <a:lnTo>
                      <a:pt x="405" y="172"/>
                    </a:lnTo>
                    <a:lnTo>
                      <a:pt x="413" y="169"/>
                    </a:lnTo>
                    <a:lnTo>
                      <a:pt x="411" y="171"/>
                    </a:lnTo>
                    <a:lnTo>
                      <a:pt x="407" y="173"/>
                    </a:lnTo>
                    <a:lnTo>
                      <a:pt x="398" y="175"/>
                    </a:lnTo>
                    <a:lnTo>
                      <a:pt x="393" y="175"/>
                    </a:lnTo>
                    <a:lnTo>
                      <a:pt x="387" y="177"/>
                    </a:lnTo>
                    <a:lnTo>
                      <a:pt x="384" y="179"/>
                    </a:lnTo>
                    <a:lnTo>
                      <a:pt x="381" y="183"/>
                    </a:lnTo>
                    <a:lnTo>
                      <a:pt x="373" y="187"/>
                    </a:lnTo>
                    <a:lnTo>
                      <a:pt x="367" y="189"/>
                    </a:lnTo>
                    <a:lnTo>
                      <a:pt x="358" y="190"/>
                    </a:lnTo>
                    <a:lnTo>
                      <a:pt x="358" y="191"/>
                    </a:lnTo>
                    <a:lnTo>
                      <a:pt x="357" y="191"/>
                    </a:lnTo>
                    <a:lnTo>
                      <a:pt x="356" y="190"/>
                    </a:lnTo>
                    <a:lnTo>
                      <a:pt x="343" y="185"/>
                    </a:lnTo>
                    <a:lnTo>
                      <a:pt x="337" y="185"/>
                    </a:lnTo>
                    <a:lnTo>
                      <a:pt x="332" y="183"/>
                    </a:lnTo>
                    <a:lnTo>
                      <a:pt x="327" y="184"/>
                    </a:lnTo>
                    <a:lnTo>
                      <a:pt x="310" y="182"/>
                    </a:lnTo>
                    <a:lnTo>
                      <a:pt x="305" y="181"/>
                    </a:lnTo>
                    <a:lnTo>
                      <a:pt x="302" y="179"/>
                    </a:lnTo>
                    <a:lnTo>
                      <a:pt x="291" y="179"/>
                    </a:lnTo>
                    <a:lnTo>
                      <a:pt x="287" y="182"/>
                    </a:lnTo>
                    <a:lnTo>
                      <a:pt x="288" y="184"/>
                    </a:lnTo>
                    <a:lnTo>
                      <a:pt x="285" y="185"/>
                    </a:lnTo>
                    <a:lnTo>
                      <a:pt x="285" y="182"/>
                    </a:lnTo>
                    <a:lnTo>
                      <a:pt x="282" y="183"/>
                    </a:lnTo>
                    <a:lnTo>
                      <a:pt x="282" y="182"/>
                    </a:lnTo>
                    <a:lnTo>
                      <a:pt x="283" y="181"/>
                    </a:lnTo>
                    <a:lnTo>
                      <a:pt x="283" y="177"/>
                    </a:lnTo>
                    <a:lnTo>
                      <a:pt x="278" y="171"/>
                    </a:lnTo>
                    <a:lnTo>
                      <a:pt x="273" y="163"/>
                    </a:lnTo>
                    <a:lnTo>
                      <a:pt x="272" y="161"/>
                    </a:lnTo>
                    <a:lnTo>
                      <a:pt x="274" y="159"/>
                    </a:lnTo>
                    <a:lnTo>
                      <a:pt x="276" y="159"/>
                    </a:lnTo>
                    <a:lnTo>
                      <a:pt x="277" y="156"/>
                    </a:lnTo>
                    <a:lnTo>
                      <a:pt x="278" y="156"/>
                    </a:lnTo>
                    <a:lnTo>
                      <a:pt x="278" y="151"/>
                    </a:lnTo>
                    <a:lnTo>
                      <a:pt x="276" y="149"/>
                    </a:lnTo>
                    <a:lnTo>
                      <a:pt x="277" y="147"/>
                    </a:lnTo>
                    <a:lnTo>
                      <a:pt x="266" y="146"/>
                    </a:lnTo>
                    <a:lnTo>
                      <a:pt x="260" y="147"/>
                    </a:lnTo>
                    <a:lnTo>
                      <a:pt x="257" y="151"/>
                    </a:lnTo>
                    <a:lnTo>
                      <a:pt x="255" y="151"/>
                    </a:lnTo>
                    <a:lnTo>
                      <a:pt x="251" y="151"/>
                    </a:lnTo>
                    <a:lnTo>
                      <a:pt x="249" y="152"/>
                    </a:lnTo>
                    <a:lnTo>
                      <a:pt x="248" y="152"/>
                    </a:lnTo>
                    <a:lnTo>
                      <a:pt x="248" y="151"/>
                    </a:lnTo>
                    <a:lnTo>
                      <a:pt x="244" y="151"/>
                    </a:lnTo>
                    <a:lnTo>
                      <a:pt x="243" y="149"/>
                    </a:lnTo>
                    <a:lnTo>
                      <a:pt x="233" y="148"/>
                    </a:lnTo>
                    <a:lnTo>
                      <a:pt x="232" y="146"/>
                    </a:lnTo>
                    <a:lnTo>
                      <a:pt x="230" y="145"/>
                    </a:lnTo>
                    <a:lnTo>
                      <a:pt x="227" y="146"/>
                    </a:lnTo>
                    <a:lnTo>
                      <a:pt x="225" y="144"/>
                    </a:lnTo>
                    <a:lnTo>
                      <a:pt x="223" y="144"/>
                    </a:lnTo>
                    <a:lnTo>
                      <a:pt x="222" y="145"/>
                    </a:lnTo>
                    <a:lnTo>
                      <a:pt x="223" y="149"/>
                    </a:lnTo>
                    <a:lnTo>
                      <a:pt x="229" y="151"/>
                    </a:lnTo>
                    <a:lnTo>
                      <a:pt x="230" y="153"/>
                    </a:lnTo>
                    <a:lnTo>
                      <a:pt x="231" y="159"/>
                    </a:lnTo>
                    <a:lnTo>
                      <a:pt x="229" y="163"/>
                    </a:lnTo>
                    <a:lnTo>
                      <a:pt x="227" y="164"/>
                    </a:lnTo>
                    <a:lnTo>
                      <a:pt x="227" y="165"/>
                    </a:lnTo>
                    <a:lnTo>
                      <a:pt x="230" y="168"/>
                    </a:lnTo>
                    <a:lnTo>
                      <a:pt x="230" y="171"/>
                    </a:lnTo>
                    <a:lnTo>
                      <a:pt x="232" y="173"/>
                    </a:lnTo>
                    <a:lnTo>
                      <a:pt x="233" y="181"/>
                    </a:lnTo>
                    <a:lnTo>
                      <a:pt x="236" y="180"/>
                    </a:lnTo>
                    <a:lnTo>
                      <a:pt x="236" y="181"/>
                    </a:lnTo>
                    <a:lnTo>
                      <a:pt x="238" y="183"/>
                    </a:lnTo>
                    <a:lnTo>
                      <a:pt x="240" y="185"/>
                    </a:lnTo>
                    <a:lnTo>
                      <a:pt x="241" y="185"/>
                    </a:lnTo>
                    <a:lnTo>
                      <a:pt x="241" y="183"/>
                    </a:lnTo>
                    <a:lnTo>
                      <a:pt x="242" y="183"/>
                    </a:lnTo>
                    <a:lnTo>
                      <a:pt x="243" y="186"/>
                    </a:lnTo>
                    <a:lnTo>
                      <a:pt x="241" y="186"/>
                    </a:lnTo>
                    <a:lnTo>
                      <a:pt x="241" y="187"/>
                    </a:lnTo>
                    <a:lnTo>
                      <a:pt x="243" y="189"/>
                    </a:lnTo>
                    <a:lnTo>
                      <a:pt x="245" y="190"/>
                    </a:lnTo>
                    <a:lnTo>
                      <a:pt x="244" y="191"/>
                    </a:lnTo>
                    <a:lnTo>
                      <a:pt x="247" y="198"/>
                    </a:lnTo>
                    <a:lnTo>
                      <a:pt x="249" y="195"/>
                    </a:lnTo>
                    <a:lnTo>
                      <a:pt x="251" y="196"/>
                    </a:lnTo>
                    <a:lnTo>
                      <a:pt x="254" y="198"/>
                    </a:lnTo>
                    <a:lnTo>
                      <a:pt x="249" y="198"/>
                    </a:lnTo>
                    <a:lnTo>
                      <a:pt x="250" y="204"/>
                    </a:lnTo>
                    <a:lnTo>
                      <a:pt x="250" y="205"/>
                    </a:lnTo>
                    <a:lnTo>
                      <a:pt x="251" y="205"/>
                    </a:lnTo>
                    <a:lnTo>
                      <a:pt x="252" y="205"/>
                    </a:lnTo>
                    <a:lnTo>
                      <a:pt x="252" y="206"/>
                    </a:lnTo>
                    <a:lnTo>
                      <a:pt x="250" y="207"/>
                    </a:lnTo>
                    <a:lnTo>
                      <a:pt x="249" y="210"/>
                    </a:lnTo>
                    <a:lnTo>
                      <a:pt x="249" y="211"/>
                    </a:lnTo>
                    <a:lnTo>
                      <a:pt x="251" y="212"/>
                    </a:lnTo>
                    <a:lnTo>
                      <a:pt x="250" y="213"/>
                    </a:lnTo>
                    <a:lnTo>
                      <a:pt x="250" y="219"/>
                    </a:lnTo>
                    <a:lnTo>
                      <a:pt x="251" y="220"/>
                    </a:lnTo>
                    <a:lnTo>
                      <a:pt x="252" y="217"/>
                    </a:lnTo>
                    <a:lnTo>
                      <a:pt x="254" y="216"/>
                    </a:lnTo>
                    <a:lnTo>
                      <a:pt x="257" y="217"/>
                    </a:lnTo>
                    <a:lnTo>
                      <a:pt x="255" y="217"/>
                    </a:lnTo>
                    <a:lnTo>
                      <a:pt x="253" y="218"/>
                    </a:lnTo>
                    <a:lnTo>
                      <a:pt x="253" y="226"/>
                    </a:lnTo>
                    <a:lnTo>
                      <a:pt x="254" y="226"/>
                    </a:lnTo>
                    <a:lnTo>
                      <a:pt x="254" y="227"/>
                    </a:lnTo>
                    <a:lnTo>
                      <a:pt x="254" y="229"/>
                    </a:lnTo>
                    <a:lnTo>
                      <a:pt x="253" y="228"/>
                    </a:lnTo>
                    <a:lnTo>
                      <a:pt x="252" y="229"/>
                    </a:lnTo>
                    <a:lnTo>
                      <a:pt x="252" y="231"/>
                    </a:lnTo>
                    <a:lnTo>
                      <a:pt x="251" y="234"/>
                    </a:lnTo>
                    <a:lnTo>
                      <a:pt x="251" y="236"/>
                    </a:lnTo>
                    <a:lnTo>
                      <a:pt x="249" y="237"/>
                    </a:lnTo>
                    <a:lnTo>
                      <a:pt x="251" y="238"/>
                    </a:lnTo>
                    <a:lnTo>
                      <a:pt x="252" y="238"/>
                    </a:lnTo>
                    <a:lnTo>
                      <a:pt x="253" y="243"/>
                    </a:lnTo>
                    <a:lnTo>
                      <a:pt x="253" y="248"/>
                    </a:lnTo>
                    <a:lnTo>
                      <a:pt x="256" y="250"/>
                    </a:lnTo>
                    <a:lnTo>
                      <a:pt x="258" y="253"/>
                    </a:lnTo>
                    <a:lnTo>
                      <a:pt x="262" y="255"/>
                    </a:lnTo>
                    <a:lnTo>
                      <a:pt x="262" y="256"/>
                    </a:lnTo>
                    <a:lnTo>
                      <a:pt x="265" y="255"/>
                    </a:lnTo>
                    <a:lnTo>
                      <a:pt x="265" y="256"/>
                    </a:lnTo>
                    <a:lnTo>
                      <a:pt x="268" y="257"/>
                    </a:lnTo>
                    <a:lnTo>
                      <a:pt x="269" y="258"/>
                    </a:lnTo>
                    <a:lnTo>
                      <a:pt x="263" y="258"/>
                    </a:lnTo>
                    <a:lnTo>
                      <a:pt x="260" y="259"/>
                    </a:lnTo>
                    <a:lnTo>
                      <a:pt x="257" y="260"/>
                    </a:lnTo>
                    <a:lnTo>
                      <a:pt x="252" y="258"/>
                    </a:lnTo>
                    <a:lnTo>
                      <a:pt x="250" y="258"/>
                    </a:lnTo>
                    <a:lnTo>
                      <a:pt x="247" y="261"/>
                    </a:lnTo>
                    <a:lnTo>
                      <a:pt x="237" y="261"/>
                    </a:lnTo>
                    <a:lnTo>
                      <a:pt x="236" y="262"/>
                    </a:lnTo>
                    <a:lnTo>
                      <a:pt x="231" y="261"/>
                    </a:lnTo>
                    <a:lnTo>
                      <a:pt x="228" y="258"/>
                    </a:lnTo>
                    <a:lnTo>
                      <a:pt x="229" y="255"/>
                    </a:lnTo>
                    <a:lnTo>
                      <a:pt x="231" y="254"/>
                    </a:lnTo>
                    <a:lnTo>
                      <a:pt x="230" y="251"/>
                    </a:lnTo>
                    <a:lnTo>
                      <a:pt x="226" y="253"/>
                    </a:lnTo>
                    <a:lnTo>
                      <a:pt x="224" y="252"/>
                    </a:lnTo>
                    <a:lnTo>
                      <a:pt x="222" y="253"/>
                    </a:lnTo>
                    <a:lnTo>
                      <a:pt x="223" y="253"/>
                    </a:lnTo>
                    <a:lnTo>
                      <a:pt x="223" y="254"/>
                    </a:lnTo>
                    <a:lnTo>
                      <a:pt x="219" y="254"/>
                    </a:lnTo>
                    <a:lnTo>
                      <a:pt x="219" y="255"/>
                    </a:lnTo>
                    <a:lnTo>
                      <a:pt x="219" y="256"/>
                    </a:lnTo>
                    <a:lnTo>
                      <a:pt x="216" y="257"/>
                    </a:lnTo>
                    <a:lnTo>
                      <a:pt x="216" y="258"/>
                    </a:lnTo>
                    <a:lnTo>
                      <a:pt x="216" y="259"/>
                    </a:lnTo>
                    <a:lnTo>
                      <a:pt x="217" y="260"/>
                    </a:lnTo>
                    <a:lnTo>
                      <a:pt x="218" y="261"/>
                    </a:lnTo>
                    <a:lnTo>
                      <a:pt x="218" y="262"/>
                    </a:lnTo>
                    <a:lnTo>
                      <a:pt x="219" y="263"/>
                    </a:lnTo>
                    <a:lnTo>
                      <a:pt x="220" y="264"/>
                    </a:lnTo>
                    <a:lnTo>
                      <a:pt x="222" y="265"/>
                    </a:lnTo>
                    <a:lnTo>
                      <a:pt x="221" y="266"/>
                    </a:lnTo>
                    <a:lnTo>
                      <a:pt x="219" y="264"/>
                    </a:lnTo>
                    <a:lnTo>
                      <a:pt x="220" y="268"/>
                    </a:lnTo>
                    <a:lnTo>
                      <a:pt x="221" y="268"/>
                    </a:lnTo>
                    <a:lnTo>
                      <a:pt x="221" y="269"/>
                    </a:lnTo>
                    <a:lnTo>
                      <a:pt x="223" y="270"/>
                    </a:lnTo>
                    <a:lnTo>
                      <a:pt x="220" y="272"/>
                    </a:lnTo>
                    <a:lnTo>
                      <a:pt x="219" y="272"/>
                    </a:lnTo>
                    <a:lnTo>
                      <a:pt x="220" y="270"/>
                    </a:lnTo>
                    <a:lnTo>
                      <a:pt x="220" y="269"/>
                    </a:lnTo>
                    <a:lnTo>
                      <a:pt x="217" y="266"/>
                    </a:lnTo>
                    <a:lnTo>
                      <a:pt x="218" y="264"/>
                    </a:lnTo>
                    <a:lnTo>
                      <a:pt x="217" y="264"/>
                    </a:lnTo>
                    <a:lnTo>
                      <a:pt x="216" y="260"/>
                    </a:lnTo>
                    <a:lnTo>
                      <a:pt x="214" y="260"/>
                    </a:lnTo>
                    <a:lnTo>
                      <a:pt x="214" y="258"/>
                    </a:lnTo>
                    <a:lnTo>
                      <a:pt x="211" y="258"/>
                    </a:lnTo>
                    <a:lnTo>
                      <a:pt x="210" y="258"/>
                    </a:lnTo>
                    <a:lnTo>
                      <a:pt x="207" y="259"/>
                    </a:lnTo>
                    <a:lnTo>
                      <a:pt x="208" y="262"/>
                    </a:lnTo>
                    <a:lnTo>
                      <a:pt x="207" y="261"/>
                    </a:lnTo>
                    <a:lnTo>
                      <a:pt x="205" y="262"/>
                    </a:lnTo>
                    <a:lnTo>
                      <a:pt x="206" y="264"/>
                    </a:lnTo>
                    <a:lnTo>
                      <a:pt x="205" y="265"/>
                    </a:lnTo>
                    <a:lnTo>
                      <a:pt x="204" y="265"/>
                    </a:lnTo>
                    <a:lnTo>
                      <a:pt x="203" y="262"/>
                    </a:lnTo>
                    <a:lnTo>
                      <a:pt x="203" y="264"/>
                    </a:lnTo>
                    <a:lnTo>
                      <a:pt x="202" y="265"/>
                    </a:lnTo>
                    <a:lnTo>
                      <a:pt x="201" y="262"/>
                    </a:lnTo>
                    <a:lnTo>
                      <a:pt x="199" y="261"/>
                    </a:lnTo>
                    <a:lnTo>
                      <a:pt x="199" y="258"/>
                    </a:lnTo>
                    <a:lnTo>
                      <a:pt x="195" y="260"/>
                    </a:lnTo>
                    <a:lnTo>
                      <a:pt x="194" y="261"/>
                    </a:lnTo>
                    <a:lnTo>
                      <a:pt x="193" y="260"/>
                    </a:lnTo>
                    <a:lnTo>
                      <a:pt x="196" y="256"/>
                    </a:lnTo>
                    <a:lnTo>
                      <a:pt x="194" y="254"/>
                    </a:lnTo>
                    <a:lnTo>
                      <a:pt x="194" y="253"/>
                    </a:lnTo>
                    <a:lnTo>
                      <a:pt x="193" y="255"/>
                    </a:lnTo>
                    <a:lnTo>
                      <a:pt x="187" y="258"/>
                    </a:lnTo>
                    <a:lnTo>
                      <a:pt x="185" y="257"/>
                    </a:lnTo>
                    <a:lnTo>
                      <a:pt x="181" y="258"/>
                    </a:lnTo>
                    <a:lnTo>
                      <a:pt x="182" y="259"/>
                    </a:lnTo>
                    <a:lnTo>
                      <a:pt x="182" y="260"/>
                    </a:lnTo>
                    <a:lnTo>
                      <a:pt x="177" y="262"/>
                    </a:lnTo>
                    <a:lnTo>
                      <a:pt x="175" y="263"/>
                    </a:lnTo>
                    <a:lnTo>
                      <a:pt x="169" y="270"/>
                    </a:lnTo>
                    <a:lnTo>
                      <a:pt x="165" y="270"/>
                    </a:lnTo>
                    <a:lnTo>
                      <a:pt x="165" y="273"/>
                    </a:lnTo>
                    <a:lnTo>
                      <a:pt x="162" y="270"/>
                    </a:lnTo>
                    <a:lnTo>
                      <a:pt x="161" y="270"/>
                    </a:lnTo>
                    <a:lnTo>
                      <a:pt x="162" y="269"/>
                    </a:lnTo>
                    <a:lnTo>
                      <a:pt x="162" y="267"/>
                    </a:lnTo>
                    <a:lnTo>
                      <a:pt x="159" y="266"/>
                    </a:lnTo>
                    <a:lnTo>
                      <a:pt x="158" y="264"/>
                    </a:lnTo>
                    <a:lnTo>
                      <a:pt x="154" y="262"/>
                    </a:lnTo>
                    <a:lnTo>
                      <a:pt x="155" y="261"/>
                    </a:lnTo>
                    <a:lnTo>
                      <a:pt x="154" y="257"/>
                    </a:lnTo>
                    <a:lnTo>
                      <a:pt x="152" y="255"/>
                    </a:lnTo>
                    <a:lnTo>
                      <a:pt x="150" y="254"/>
                    </a:lnTo>
                    <a:lnTo>
                      <a:pt x="149" y="252"/>
                    </a:lnTo>
                    <a:lnTo>
                      <a:pt x="145" y="249"/>
                    </a:lnTo>
                    <a:lnTo>
                      <a:pt x="145" y="246"/>
                    </a:lnTo>
                    <a:lnTo>
                      <a:pt x="144" y="244"/>
                    </a:lnTo>
                    <a:lnTo>
                      <a:pt x="142" y="246"/>
                    </a:lnTo>
                    <a:lnTo>
                      <a:pt x="138" y="244"/>
                    </a:lnTo>
                    <a:lnTo>
                      <a:pt x="138" y="243"/>
                    </a:lnTo>
                    <a:lnTo>
                      <a:pt x="137" y="243"/>
                    </a:lnTo>
                    <a:lnTo>
                      <a:pt x="139" y="241"/>
                    </a:lnTo>
                    <a:lnTo>
                      <a:pt x="139" y="240"/>
                    </a:lnTo>
                    <a:lnTo>
                      <a:pt x="135" y="239"/>
                    </a:lnTo>
                    <a:lnTo>
                      <a:pt x="133" y="243"/>
                    </a:lnTo>
                    <a:lnTo>
                      <a:pt x="130" y="246"/>
                    </a:lnTo>
                    <a:lnTo>
                      <a:pt x="131" y="244"/>
                    </a:lnTo>
                    <a:lnTo>
                      <a:pt x="133" y="242"/>
                    </a:lnTo>
                    <a:lnTo>
                      <a:pt x="134" y="239"/>
                    </a:lnTo>
                    <a:lnTo>
                      <a:pt x="133" y="238"/>
                    </a:lnTo>
                    <a:lnTo>
                      <a:pt x="134" y="236"/>
                    </a:lnTo>
                    <a:lnTo>
                      <a:pt x="133" y="234"/>
                    </a:lnTo>
                    <a:lnTo>
                      <a:pt x="126" y="237"/>
                    </a:lnTo>
                    <a:lnTo>
                      <a:pt x="125" y="240"/>
                    </a:lnTo>
                    <a:lnTo>
                      <a:pt x="123" y="240"/>
                    </a:lnTo>
                    <a:lnTo>
                      <a:pt x="124" y="238"/>
                    </a:lnTo>
                    <a:lnTo>
                      <a:pt x="123" y="236"/>
                    </a:lnTo>
                    <a:lnTo>
                      <a:pt x="123" y="234"/>
                    </a:lnTo>
                    <a:lnTo>
                      <a:pt x="122" y="234"/>
                    </a:lnTo>
                    <a:lnTo>
                      <a:pt x="120" y="238"/>
                    </a:lnTo>
                    <a:lnTo>
                      <a:pt x="119" y="237"/>
                    </a:lnTo>
                    <a:lnTo>
                      <a:pt x="118" y="238"/>
                    </a:lnTo>
                    <a:lnTo>
                      <a:pt x="115" y="238"/>
                    </a:lnTo>
                    <a:lnTo>
                      <a:pt x="110" y="239"/>
                    </a:lnTo>
                    <a:lnTo>
                      <a:pt x="110" y="241"/>
                    </a:lnTo>
                    <a:lnTo>
                      <a:pt x="107" y="242"/>
                    </a:lnTo>
                    <a:lnTo>
                      <a:pt x="106" y="241"/>
                    </a:lnTo>
                    <a:lnTo>
                      <a:pt x="107" y="239"/>
                    </a:lnTo>
                    <a:lnTo>
                      <a:pt x="105" y="240"/>
                    </a:lnTo>
                    <a:lnTo>
                      <a:pt x="103" y="237"/>
                    </a:lnTo>
                    <a:lnTo>
                      <a:pt x="103" y="238"/>
                    </a:lnTo>
                    <a:lnTo>
                      <a:pt x="100" y="238"/>
                    </a:lnTo>
                    <a:lnTo>
                      <a:pt x="100" y="239"/>
                    </a:lnTo>
                    <a:lnTo>
                      <a:pt x="98" y="239"/>
                    </a:lnTo>
                    <a:lnTo>
                      <a:pt x="98" y="240"/>
                    </a:lnTo>
                    <a:lnTo>
                      <a:pt x="98" y="241"/>
                    </a:lnTo>
                    <a:lnTo>
                      <a:pt x="97" y="242"/>
                    </a:lnTo>
                    <a:lnTo>
                      <a:pt x="95" y="242"/>
                    </a:lnTo>
                    <a:lnTo>
                      <a:pt x="95" y="243"/>
                    </a:lnTo>
                    <a:lnTo>
                      <a:pt x="95" y="245"/>
                    </a:lnTo>
                    <a:lnTo>
                      <a:pt x="96" y="245"/>
                    </a:lnTo>
                    <a:lnTo>
                      <a:pt x="97" y="248"/>
                    </a:lnTo>
                    <a:lnTo>
                      <a:pt x="98" y="248"/>
                    </a:lnTo>
                    <a:lnTo>
                      <a:pt x="95" y="249"/>
                    </a:lnTo>
                    <a:lnTo>
                      <a:pt x="95" y="252"/>
                    </a:lnTo>
                    <a:lnTo>
                      <a:pt x="95" y="253"/>
                    </a:lnTo>
                    <a:lnTo>
                      <a:pt x="95" y="254"/>
                    </a:lnTo>
                    <a:lnTo>
                      <a:pt x="93" y="254"/>
                    </a:lnTo>
                    <a:lnTo>
                      <a:pt x="92" y="253"/>
                    </a:lnTo>
                    <a:lnTo>
                      <a:pt x="90" y="254"/>
                    </a:lnTo>
                    <a:lnTo>
                      <a:pt x="89" y="254"/>
                    </a:lnTo>
                    <a:lnTo>
                      <a:pt x="90" y="252"/>
                    </a:lnTo>
                    <a:lnTo>
                      <a:pt x="87" y="253"/>
                    </a:lnTo>
                    <a:lnTo>
                      <a:pt x="83" y="251"/>
                    </a:lnTo>
                    <a:lnTo>
                      <a:pt x="79" y="251"/>
                    </a:lnTo>
                    <a:lnTo>
                      <a:pt x="77" y="250"/>
                    </a:lnTo>
                    <a:lnTo>
                      <a:pt x="76" y="251"/>
                    </a:lnTo>
                    <a:lnTo>
                      <a:pt x="76" y="250"/>
                    </a:lnTo>
                    <a:lnTo>
                      <a:pt x="75" y="250"/>
                    </a:lnTo>
                    <a:lnTo>
                      <a:pt x="75" y="252"/>
                    </a:lnTo>
                    <a:lnTo>
                      <a:pt x="74" y="252"/>
                    </a:lnTo>
                    <a:lnTo>
                      <a:pt x="75" y="255"/>
                    </a:lnTo>
                    <a:lnTo>
                      <a:pt x="74" y="256"/>
                    </a:lnTo>
                    <a:lnTo>
                      <a:pt x="73" y="254"/>
                    </a:lnTo>
                    <a:lnTo>
                      <a:pt x="74" y="257"/>
                    </a:lnTo>
                    <a:lnTo>
                      <a:pt x="74" y="260"/>
                    </a:lnTo>
                    <a:lnTo>
                      <a:pt x="73" y="258"/>
                    </a:lnTo>
                    <a:lnTo>
                      <a:pt x="70" y="257"/>
                    </a:lnTo>
                    <a:lnTo>
                      <a:pt x="69" y="256"/>
                    </a:lnTo>
                    <a:lnTo>
                      <a:pt x="70" y="255"/>
                    </a:lnTo>
                    <a:lnTo>
                      <a:pt x="70" y="254"/>
                    </a:lnTo>
                    <a:lnTo>
                      <a:pt x="68" y="254"/>
                    </a:lnTo>
                    <a:lnTo>
                      <a:pt x="66" y="257"/>
                    </a:lnTo>
                    <a:lnTo>
                      <a:pt x="66" y="254"/>
                    </a:lnTo>
                    <a:lnTo>
                      <a:pt x="65" y="254"/>
                    </a:lnTo>
                    <a:lnTo>
                      <a:pt x="65" y="252"/>
                    </a:lnTo>
                    <a:lnTo>
                      <a:pt x="64" y="252"/>
                    </a:lnTo>
                    <a:lnTo>
                      <a:pt x="65" y="249"/>
                    </a:lnTo>
                    <a:lnTo>
                      <a:pt x="63" y="249"/>
                    </a:lnTo>
                    <a:lnTo>
                      <a:pt x="62" y="250"/>
                    </a:lnTo>
                    <a:lnTo>
                      <a:pt x="58" y="251"/>
                    </a:lnTo>
                    <a:lnTo>
                      <a:pt x="58" y="253"/>
                    </a:lnTo>
                    <a:lnTo>
                      <a:pt x="57" y="254"/>
                    </a:lnTo>
                    <a:lnTo>
                      <a:pt x="56" y="253"/>
                    </a:lnTo>
                    <a:lnTo>
                      <a:pt x="54" y="252"/>
                    </a:lnTo>
                    <a:lnTo>
                      <a:pt x="48" y="254"/>
                    </a:lnTo>
                    <a:lnTo>
                      <a:pt x="45" y="256"/>
                    </a:lnTo>
                    <a:lnTo>
                      <a:pt x="45" y="257"/>
                    </a:lnTo>
                    <a:lnTo>
                      <a:pt x="47" y="257"/>
                    </a:lnTo>
                    <a:lnTo>
                      <a:pt x="46" y="258"/>
                    </a:lnTo>
                    <a:lnTo>
                      <a:pt x="42" y="258"/>
                    </a:lnTo>
                    <a:lnTo>
                      <a:pt x="39" y="259"/>
                    </a:lnTo>
                    <a:lnTo>
                      <a:pt x="37" y="258"/>
                    </a:lnTo>
                    <a:lnTo>
                      <a:pt x="39" y="258"/>
                    </a:lnTo>
                    <a:lnTo>
                      <a:pt x="39" y="256"/>
                    </a:lnTo>
                    <a:lnTo>
                      <a:pt x="35" y="254"/>
                    </a:lnTo>
                    <a:lnTo>
                      <a:pt x="29" y="257"/>
                    </a:lnTo>
                    <a:lnTo>
                      <a:pt x="30" y="258"/>
                    </a:lnTo>
                    <a:lnTo>
                      <a:pt x="30" y="259"/>
                    </a:lnTo>
                    <a:lnTo>
                      <a:pt x="27" y="258"/>
                    </a:lnTo>
                    <a:lnTo>
                      <a:pt x="23" y="260"/>
                    </a:lnTo>
                    <a:lnTo>
                      <a:pt x="22" y="259"/>
                    </a:lnTo>
                    <a:lnTo>
                      <a:pt x="20" y="259"/>
                    </a:lnTo>
                    <a:lnTo>
                      <a:pt x="20" y="260"/>
                    </a:lnTo>
                    <a:lnTo>
                      <a:pt x="18" y="260"/>
                    </a:lnTo>
                    <a:lnTo>
                      <a:pt x="19" y="261"/>
                    </a:lnTo>
                    <a:lnTo>
                      <a:pt x="19" y="262"/>
                    </a:lnTo>
                    <a:lnTo>
                      <a:pt x="21" y="263"/>
                    </a:lnTo>
                    <a:lnTo>
                      <a:pt x="18" y="263"/>
                    </a:lnTo>
                    <a:lnTo>
                      <a:pt x="16" y="262"/>
                    </a:lnTo>
                    <a:lnTo>
                      <a:pt x="15" y="262"/>
                    </a:lnTo>
                    <a:lnTo>
                      <a:pt x="15" y="265"/>
                    </a:lnTo>
                    <a:lnTo>
                      <a:pt x="16" y="265"/>
                    </a:lnTo>
                    <a:lnTo>
                      <a:pt x="17" y="266"/>
                    </a:lnTo>
                    <a:lnTo>
                      <a:pt x="16" y="267"/>
                    </a:lnTo>
                    <a:lnTo>
                      <a:pt x="15" y="266"/>
                    </a:lnTo>
                    <a:lnTo>
                      <a:pt x="13" y="265"/>
                    </a:lnTo>
                    <a:lnTo>
                      <a:pt x="10" y="265"/>
                    </a:lnTo>
                    <a:lnTo>
                      <a:pt x="9" y="266"/>
                    </a:lnTo>
                    <a:lnTo>
                      <a:pt x="8" y="266"/>
                    </a:lnTo>
                    <a:lnTo>
                      <a:pt x="7" y="266"/>
                    </a:lnTo>
                    <a:lnTo>
                      <a:pt x="7" y="267"/>
                    </a:lnTo>
                    <a:lnTo>
                      <a:pt x="5" y="267"/>
                    </a:lnTo>
                    <a:lnTo>
                      <a:pt x="1" y="272"/>
                    </a:lnTo>
                    <a:lnTo>
                      <a:pt x="2" y="275"/>
                    </a:lnTo>
                    <a:lnTo>
                      <a:pt x="4" y="276"/>
                    </a:lnTo>
                    <a:lnTo>
                      <a:pt x="1" y="278"/>
                    </a:lnTo>
                    <a:lnTo>
                      <a:pt x="0" y="281"/>
                    </a:lnTo>
                    <a:lnTo>
                      <a:pt x="1" y="282"/>
                    </a:lnTo>
                    <a:lnTo>
                      <a:pt x="1" y="283"/>
                    </a:lnTo>
                    <a:lnTo>
                      <a:pt x="1" y="284"/>
                    </a:lnTo>
                    <a:lnTo>
                      <a:pt x="3" y="285"/>
                    </a:lnTo>
                    <a:lnTo>
                      <a:pt x="2" y="286"/>
                    </a:lnTo>
                    <a:lnTo>
                      <a:pt x="1" y="287"/>
                    </a:lnTo>
                    <a:lnTo>
                      <a:pt x="2" y="291"/>
                    </a:lnTo>
                    <a:lnTo>
                      <a:pt x="7" y="291"/>
                    </a:lnTo>
                    <a:lnTo>
                      <a:pt x="8" y="290"/>
                    </a:lnTo>
                    <a:lnTo>
                      <a:pt x="8" y="288"/>
                    </a:lnTo>
                    <a:lnTo>
                      <a:pt x="9" y="288"/>
                    </a:lnTo>
                    <a:lnTo>
                      <a:pt x="12" y="288"/>
                    </a:lnTo>
                    <a:lnTo>
                      <a:pt x="13" y="290"/>
                    </a:lnTo>
                    <a:lnTo>
                      <a:pt x="15" y="290"/>
                    </a:lnTo>
                    <a:lnTo>
                      <a:pt x="39" y="281"/>
                    </a:lnTo>
                    <a:lnTo>
                      <a:pt x="37" y="283"/>
                    </a:lnTo>
                    <a:lnTo>
                      <a:pt x="31" y="285"/>
                    </a:lnTo>
                    <a:lnTo>
                      <a:pt x="28" y="288"/>
                    </a:lnTo>
                    <a:lnTo>
                      <a:pt x="28" y="290"/>
                    </a:lnTo>
                    <a:lnTo>
                      <a:pt x="26" y="291"/>
                    </a:lnTo>
                    <a:lnTo>
                      <a:pt x="31" y="290"/>
                    </a:lnTo>
                    <a:lnTo>
                      <a:pt x="30" y="291"/>
                    </a:lnTo>
                    <a:lnTo>
                      <a:pt x="32" y="291"/>
                    </a:lnTo>
                    <a:lnTo>
                      <a:pt x="34" y="289"/>
                    </a:lnTo>
                    <a:lnTo>
                      <a:pt x="36" y="289"/>
                    </a:lnTo>
                    <a:lnTo>
                      <a:pt x="37" y="288"/>
                    </a:lnTo>
                    <a:lnTo>
                      <a:pt x="37" y="289"/>
                    </a:lnTo>
                    <a:lnTo>
                      <a:pt x="39" y="289"/>
                    </a:lnTo>
                    <a:lnTo>
                      <a:pt x="39" y="288"/>
                    </a:lnTo>
                    <a:lnTo>
                      <a:pt x="41" y="288"/>
                    </a:lnTo>
                    <a:lnTo>
                      <a:pt x="40" y="288"/>
                    </a:lnTo>
                    <a:lnTo>
                      <a:pt x="39" y="290"/>
                    </a:lnTo>
                    <a:lnTo>
                      <a:pt x="38" y="291"/>
                    </a:lnTo>
                    <a:lnTo>
                      <a:pt x="37" y="292"/>
                    </a:lnTo>
                    <a:lnTo>
                      <a:pt x="39" y="292"/>
                    </a:lnTo>
                    <a:lnTo>
                      <a:pt x="40" y="292"/>
                    </a:lnTo>
                    <a:lnTo>
                      <a:pt x="42" y="294"/>
                    </a:lnTo>
                    <a:lnTo>
                      <a:pt x="44" y="292"/>
                    </a:lnTo>
                    <a:lnTo>
                      <a:pt x="43" y="294"/>
                    </a:lnTo>
                    <a:lnTo>
                      <a:pt x="47" y="294"/>
                    </a:lnTo>
                    <a:lnTo>
                      <a:pt x="46" y="295"/>
                    </a:lnTo>
                    <a:lnTo>
                      <a:pt x="43" y="294"/>
                    </a:lnTo>
                    <a:lnTo>
                      <a:pt x="42" y="296"/>
                    </a:lnTo>
                    <a:lnTo>
                      <a:pt x="40" y="296"/>
                    </a:lnTo>
                    <a:lnTo>
                      <a:pt x="39" y="295"/>
                    </a:lnTo>
                    <a:lnTo>
                      <a:pt x="41" y="294"/>
                    </a:lnTo>
                    <a:lnTo>
                      <a:pt x="39" y="294"/>
                    </a:lnTo>
                    <a:lnTo>
                      <a:pt x="31" y="297"/>
                    </a:lnTo>
                    <a:lnTo>
                      <a:pt x="30" y="296"/>
                    </a:lnTo>
                    <a:lnTo>
                      <a:pt x="29" y="294"/>
                    </a:lnTo>
                    <a:lnTo>
                      <a:pt x="23" y="296"/>
                    </a:lnTo>
                    <a:lnTo>
                      <a:pt x="22" y="294"/>
                    </a:lnTo>
                    <a:lnTo>
                      <a:pt x="21" y="295"/>
                    </a:lnTo>
                    <a:lnTo>
                      <a:pt x="19" y="294"/>
                    </a:lnTo>
                    <a:lnTo>
                      <a:pt x="21" y="290"/>
                    </a:lnTo>
                    <a:lnTo>
                      <a:pt x="18" y="291"/>
                    </a:lnTo>
                    <a:lnTo>
                      <a:pt x="17" y="292"/>
                    </a:lnTo>
                    <a:lnTo>
                      <a:pt x="17" y="294"/>
                    </a:lnTo>
                    <a:lnTo>
                      <a:pt x="17" y="296"/>
                    </a:lnTo>
                    <a:lnTo>
                      <a:pt x="16" y="297"/>
                    </a:lnTo>
                    <a:lnTo>
                      <a:pt x="14" y="296"/>
                    </a:lnTo>
                    <a:lnTo>
                      <a:pt x="13" y="297"/>
                    </a:lnTo>
                    <a:lnTo>
                      <a:pt x="14" y="298"/>
                    </a:lnTo>
                    <a:lnTo>
                      <a:pt x="20" y="299"/>
                    </a:lnTo>
                    <a:lnTo>
                      <a:pt x="19" y="300"/>
                    </a:lnTo>
                    <a:lnTo>
                      <a:pt x="18" y="301"/>
                    </a:lnTo>
                    <a:lnTo>
                      <a:pt x="19" y="304"/>
                    </a:lnTo>
                    <a:lnTo>
                      <a:pt x="19" y="308"/>
                    </a:lnTo>
                    <a:lnTo>
                      <a:pt x="20" y="307"/>
                    </a:lnTo>
                    <a:lnTo>
                      <a:pt x="22" y="304"/>
                    </a:lnTo>
                    <a:lnTo>
                      <a:pt x="23" y="301"/>
                    </a:lnTo>
                    <a:lnTo>
                      <a:pt x="25" y="300"/>
                    </a:lnTo>
                    <a:lnTo>
                      <a:pt x="29" y="300"/>
                    </a:lnTo>
                    <a:lnTo>
                      <a:pt x="31" y="303"/>
                    </a:lnTo>
                    <a:lnTo>
                      <a:pt x="32" y="302"/>
                    </a:lnTo>
                    <a:lnTo>
                      <a:pt x="34" y="304"/>
                    </a:lnTo>
                    <a:lnTo>
                      <a:pt x="37" y="304"/>
                    </a:lnTo>
                    <a:lnTo>
                      <a:pt x="39" y="306"/>
                    </a:lnTo>
                    <a:lnTo>
                      <a:pt x="39" y="309"/>
                    </a:lnTo>
                    <a:lnTo>
                      <a:pt x="40" y="309"/>
                    </a:lnTo>
                    <a:lnTo>
                      <a:pt x="40" y="310"/>
                    </a:lnTo>
                    <a:lnTo>
                      <a:pt x="39" y="315"/>
                    </a:lnTo>
                    <a:lnTo>
                      <a:pt x="39" y="316"/>
                    </a:lnTo>
                    <a:lnTo>
                      <a:pt x="34" y="314"/>
                    </a:lnTo>
                    <a:lnTo>
                      <a:pt x="26" y="315"/>
                    </a:lnTo>
                    <a:lnTo>
                      <a:pt x="24" y="317"/>
                    </a:lnTo>
                    <a:lnTo>
                      <a:pt x="21" y="317"/>
                    </a:lnTo>
                    <a:lnTo>
                      <a:pt x="19" y="318"/>
                    </a:lnTo>
                    <a:lnTo>
                      <a:pt x="10" y="318"/>
                    </a:lnTo>
                    <a:lnTo>
                      <a:pt x="10" y="319"/>
                    </a:lnTo>
                    <a:lnTo>
                      <a:pt x="7" y="319"/>
                    </a:lnTo>
                    <a:lnTo>
                      <a:pt x="7" y="321"/>
                    </a:lnTo>
                    <a:lnTo>
                      <a:pt x="5" y="322"/>
                    </a:lnTo>
                    <a:lnTo>
                      <a:pt x="11" y="323"/>
                    </a:lnTo>
                    <a:lnTo>
                      <a:pt x="13" y="323"/>
                    </a:lnTo>
                    <a:lnTo>
                      <a:pt x="18" y="325"/>
                    </a:lnTo>
                    <a:lnTo>
                      <a:pt x="21" y="323"/>
                    </a:lnTo>
                    <a:lnTo>
                      <a:pt x="21" y="325"/>
                    </a:lnTo>
                    <a:lnTo>
                      <a:pt x="24" y="326"/>
                    </a:lnTo>
                    <a:lnTo>
                      <a:pt x="29" y="330"/>
                    </a:lnTo>
                    <a:lnTo>
                      <a:pt x="34" y="337"/>
                    </a:lnTo>
                    <a:lnTo>
                      <a:pt x="34" y="339"/>
                    </a:lnTo>
                    <a:lnTo>
                      <a:pt x="35" y="341"/>
                    </a:lnTo>
                    <a:lnTo>
                      <a:pt x="35" y="343"/>
                    </a:lnTo>
                    <a:lnTo>
                      <a:pt x="33" y="344"/>
                    </a:lnTo>
                    <a:lnTo>
                      <a:pt x="33" y="345"/>
                    </a:lnTo>
                    <a:lnTo>
                      <a:pt x="33" y="346"/>
                    </a:lnTo>
                    <a:lnTo>
                      <a:pt x="34" y="346"/>
                    </a:lnTo>
                    <a:lnTo>
                      <a:pt x="38" y="346"/>
                    </a:lnTo>
                    <a:lnTo>
                      <a:pt x="42" y="347"/>
                    </a:lnTo>
                    <a:lnTo>
                      <a:pt x="48" y="346"/>
                    </a:lnTo>
                    <a:lnTo>
                      <a:pt x="49" y="344"/>
                    </a:lnTo>
                    <a:lnTo>
                      <a:pt x="50" y="343"/>
                    </a:lnTo>
                    <a:lnTo>
                      <a:pt x="49" y="343"/>
                    </a:lnTo>
                    <a:lnTo>
                      <a:pt x="48" y="343"/>
                    </a:lnTo>
                    <a:lnTo>
                      <a:pt x="48" y="342"/>
                    </a:lnTo>
                    <a:lnTo>
                      <a:pt x="47" y="342"/>
                    </a:lnTo>
                    <a:lnTo>
                      <a:pt x="47" y="341"/>
                    </a:lnTo>
                    <a:lnTo>
                      <a:pt x="48" y="339"/>
                    </a:lnTo>
                    <a:lnTo>
                      <a:pt x="50" y="341"/>
                    </a:lnTo>
                    <a:lnTo>
                      <a:pt x="53" y="340"/>
                    </a:lnTo>
                    <a:lnTo>
                      <a:pt x="51" y="336"/>
                    </a:lnTo>
                    <a:lnTo>
                      <a:pt x="51" y="334"/>
                    </a:lnTo>
                    <a:lnTo>
                      <a:pt x="52" y="336"/>
                    </a:lnTo>
                    <a:lnTo>
                      <a:pt x="52" y="337"/>
                    </a:lnTo>
                    <a:lnTo>
                      <a:pt x="54" y="338"/>
                    </a:lnTo>
                    <a:lnTo>
                      <a:pt x="53" y="339"/>
                    </a:lnTo>
                    <a:lnTo>
                      <a:pt x="54" y="339"/>
                    </a:lnTo>
                    <a:lnTo>
                      <a:pt x="55" y="340"/>
                    </a:lnTo>
                    <a:lnTo>
                      <a:pt x="57" y="339"/>
                    </a:lnTo>
                    <a:lnTo>
                      <a:pt x="59" y="341"/>
                    </a:lnTo>
                    <a:lnTo>
                      <a:pt x="60" y="341"/>
                    </a:lnTo>
                    <a:lnTo>
                      <a:pt x="62" y="341"/>
                    </a:lnTo>
                    <a:lnTo>
                      <a:pt x="60" y="342"/>
                    </a:lnTo>
                    <a:lnTo>
                      <a:pt x="64" y="341"/>
                    </a:lnTo>
                    <a:lnTo>
                      <a:pt x="63" y="337"/>
                    </a:lnTo>
                    <a:lnTo>
                      <a:pt x="64" y="336"/>
                    </a:lnTo>
                    <a:lnTo>
                      <a:pt x="66" y="337"/>
                    </a:lnTo>
                    <a:lnTo>
                      <a:pt x="68" y="339"/>
                    </a:lnTo>
                    <a:lnTo>
                      <a:pt x="70" y="341"/>
                    </a:lnTo>
                    <a:lnTo>
                      <a:pt x="69" y="341"/>
                    </a:lnTo>
                    <a:lnTo>
                      <a:pt x="71" y="342"/>
                    </a:lnTo>
                    <a:lnTo>
                      <a:pt x="71" y="343"/>
                    </a:lnTo>
                    <a:lnTo>
                      <a:pt x="74" y="346"/>
                    </a:lnTo>
                    <a:lnTo>
                      <a:pt x="74" y="347"/>
                    </a:lnTo>
                    <a:lnTo>
                      <a:pt x="74" y="348"/>
                    </a:lnTo>
                    <a:lnTo>
                      <a:pt x="75" y="346"/>
                    </a:lnTo>
                    <a:lnTo>
                      <a:pt x="80" y="348"/>
                    </a:lnTo>
                    <a:lnTo>
                      <a:pt x="82" y="347"/>
                    </a:lnTo>
                    <a:lnTo>
                      <a:pt x="84" y="346"/>
                    </a:lnTo>
                    <a:lnTo>
                      <a:pt x="87" y="349"/>
                    </a:lnTo>
                    <a:lnTo>
                      <a:pt x="89" y="349"/>
                    </a:lnTo>
                    <a:lnTo>
                      <a:pt x="90" y="349"/>
                    </a:lnTo>
                    <a:lnTo>
                      <a:pt x="97" y="350"/>
                    </a:lnTo>
                    <a:lnTo>
                      <a:pt x="99" y="350"/>
                    </a:lnTo>
                    <a:lnTo>
                      <a:pt x="102" y="355"/>
                    </a:lnTo>
                    <a:lnTo>
                      <a:pt x="105" y="357"/>
                    </a:lnTo>
                    <a:lnTo>
                      <a:pt x="111" y="356"/>
                    </a:lnTo>
                    <a:lnTo>
                      <a:pt x="111" y="355"/>
                    </a:lnTo>
                    <a:lnTo>
                      <a:pt x="109" y="354"/>
                    </a:lnTo>
                    <a:lnTo>
                      <a:pt x="112" y="354"/>
                    </a:lnTo>
                    <a:lnTo>
                      <a:pt x="114" y="352"/>
                    </a:lnTo>
                    <a:lnTo>
                      <a:pt x="115" y="352"/>
                    </a:lnTo>
                    <a:lnTo>
                      <a:pt x="115" y="350"/>
                    </a:lnTo>
                    <a:lnTo>
                      <a:pt x="118" y="349"/>
                    </a:lnTo>
                    <a:lnTo>
                      <a:pt x="117" y="350"/>
                    </a:lnTo>
                    <a:lnTo>
                      <a:pt x="116" y="352"/>
                    </a:lnTo>
                    <a:lnTo>
                      <a:pt x="115" y="354"/>
                    </a:lnTo>
                    <a:lnTo>
                      <a:pt x="113" y="354"/>
                    </a:lnTo>
                    <a:lnTo>
                      <a:pt x="113" y="356"/>
                    </a:lnTo>
                    <a:lnTo>
                      <a:pt x="112" y="356"/>
                    </a:lnTo>
                    <a:lnTo>
                      <a:pt x="116" y="356"/>
                    </a:lnTo>
                    <a:lnTo>
                      <a:pt x="118" y="358"/>
                    </a:lnTo>
                    <a:lnTo>
                      <a:pt x="115" y="357"/>
                    </a:lnTo>
                    <a:lnTo>
                      <a:pt x="112" y="358"/>
                    </a:lnTo>
                    <a:lnTo>
                      <a:pt x="116" y="358"/>
                    </a:lnTo>
                    <a:lnTo>
                      <a:pt x="120" y="360"/>
                    </a:lnTo>
                    <a:lnTo>
                      <a:pt x="123" y="363"/>
                    </a:lnTo>
                    <a:lnTo>
                      <a:pt x="124" y="362"/>
                    </a:lnTo>
                    <a:lnTo>
                      <a:pt x="124" y="361"/>
                    </a:lnTo>
                    <a:lnTo>
                      <a:pt x="125" y="359"/>
                    </a:lnTo>
                    <a:lnTo>
                      <a:pt x="124" y="358"/>
                    </a:lnTo>
                    <a:lnTo>
                      <a:pt x="126" y="358"/>
                    </a:lnTo>
                    <a:lnTo>
                      <a:pt x="126" y="356"/>
                    </a:lnTo>
                    <a:lnTo>
                      <a:pt x="128" y="356"/>
                    </a:lnTo>
                    <a:lnTo>
                      <a:pt x="127" y="354"/>
                    </a:lnTo>
                    <a:lnTo>
                      <a:pt x="125" y="352"/>
                    </a:lnTo>
                    <a:lnTo>
                      <a:pt x="126" y="352"/>
                    </a:lnTo>
                    <a:lnTo>
                      <a:pt x="128" y="353"/>
                    </a:lnTo>
                    <a:lnTo>
                      <a:pt x="129" y="352"/>
                    </a:lnTo>
                    <a:lnTo>
                      <a:pt x="129" y="355"/>
                    </a:lnTo>
                    <a:lnTo>
                      <a:pt x="131" y="355"/>
                    </a:lnTo>
                    <a:lnTo>
                      <a:pt x="131" y="356"/>
                    </a:lnTo>
                    <a:lnTo>
                      <a:pt x="131" y="358"/>
                    </a:lnTo>
                    <a:lnTo>
                      <a:pt x="126" y="359"/>
                    </a:lnTo>
                    <a:lnTo>
                      <a:pt x="124" y="361"/>
                    </a:lnTo>
                    <a:lnTo>
                      <a:pt x="124" y="364"/>
                    </a:lnTo>
                    <a:lnTo>
                      <a:pt x="128" y="367"/>
                    </a:lnTo>
                    <a:lnTo>
                      <a:pt x="130" y="370"/>
                    </a:lnTo>
                    <a:lnTo>
                      <a:pt x="130" y="374"/>
                    </a:lnTo>
                    <a:lnTo>
                      <a:pt x="128" y="376"/>
                    </a:lnTo>
                    <a:lnTo>
                      <a:pt x="130" y="381"/>
                    </a:lnTo>
                    <a:lnTo>
                      <a:pt x="133" y="381"/>
                    </a:lnTo>
                    <a:lnTo>
                      <a:pt x="131" y="379"/>
                    </a:lnTo>
                    <a:lnTo>
                      <a:pt x="130" y="376"/>
                    </a:lnTo>
                    <a:lnTo>
                      <a:pt x="130" y="373"/>
                    </a:lnTo>
                    <a:lnTo>
                      <a:pt x="131" y="370"/>
                    </a:lnTo>
                    <a:lnTo>
                      <a:pt x="130" y="369"/>
                    </a:lnTo>
                    <a:lnTo>
                      <a:pt x="130" y="368"/>
                    </a:lnTo>
                    <a:lnTo>
                      <a:pt x="133" y="369"/>
                    </a:lnTo>
                    <a:lnTo>
                      <a:pt x="132" y="370"/>
                    </a:lnTo>
                    <a:lnTo>
                      <a:pt x="133" y="370"/>
                    </a:lnTo>
                    <a:lnTo>
                      <a:pt x="137" y="370"/>
                    </a:lnTo>
                    <a:lnTo>
                      <a:pt x="139" y="370"/>
                    </a:lnTo>
                    <a:lnTo>
                      <a:pt x="138" y="367"/>
                    </a:lnTo>
                    <a:lnTo>
                      <a:pt x="139" y="367"/>
                    </a:lnTo>
                    <a:lnTo>
                      <a:pt x="140" y="370"/>
                    </a:lnTo>
                    <a:lnTo>
                      <a:pt x="141" y="370"/>
                    </a:lnTo>
                    <a:lnTo>
                      <a:pt x="141" y="369"/>
                    </a:lnTo>
                    <a:lnTo>
                      <a:pt x="142" y="370"/>
                    </a:lnTo>
                    <a:lnTo>
                      <a:pt x="142" y="372"/>
                    </a:lnTo>
                    <a:lnTo>
                      <a:pt x="144" y="371"/>
                    </a:lnTo>
                    <a:lnTo>
                      <a:pt x="145" y="372"/>
                    </a:lnTo>
                    <a:lnTo>
                      <a:pt x="143" y="369"/>
                    </a:lnTo>
                    <a:lnTo>
                      <a:pt x="142" y="367"/>
                    </a:lnTo>
                    <a:lnTo>
                      <a:pt x="144" y="365"/>
                    </a:lnTo>
                    <a:lnTo>
                      <a:pt x="142" y="363"/>
                    </a:lnTo>
                    <a:lnTo>
                      <a:pt x="142" y="362"/>
                    </a:lnTo>
                    <a:lnTo>
                      <a:pt x="144" y="364"/>
                    </a:lnTo>
                    <a:lnTo>
                      <a:pt x="145" y="364"/>
                    </a:lnTo>
                    <a:lnTo>
                      <a:pt x="145" y="366"/>
                    </a:lnTo>
                    <a:lnTo>
                      <a:pt x="145" y="368"/>
                    </a:lnTo>
                    <a:lnTo>
                      <a:pt x="145" y="367"/>
                    </a:lnTo>
                    <a:lnTo>
                      <a:pt x="147" y="367"/>
                    </a:lnTo>
                    <a:lnTo>
                      <a:pt x="147" y="369"/>
                    </a:lnTo>
                    <a:lnTo>
                      <a:pt x="147" y="368"/>
                    </a:lnTo>
                    <a:lnTo>
                      <a:pt x="149" y="369"/>
                    </a:lnTo>
                    <a:lnTo>
                      <a:pt x="150" y="369"/>
                    </a:lnTo>
                    <a:lnTo>
                      <a:pt x="150" y="367"/>
                    </a:lnTo>
                    <a:lnTo>
                      <a:pt x="151" y="368"/>
                    </a:lnTo>
                    <a:lnTo>
                      <a:pt x="152" y="365"/>
                    </a:lnTo>
                    <a:lnTo>
                      <a:pt x="158" y="365"/>
                    </a:lnTo>
                    <a:lnTo>
                      <a:pt x="157" y="363"/>
                    </a:lnTo>
                    <a:lnTo>
                      <a:pt x="158" y="364"/>
                    </a:lnTo>
                    <a:lnTo>
                      <a:pt x="159" y="364"/>
                    </a:lnTo>
                    <a:lnTo>
                      <a:pt x="161" y="366"/>
                    </a:lnTo>
                    <a:lnTo>
                      <a:pt x="158" y="365"/>
                    </a:lnTo>
                    <a:lnTo>
                      <a:pt x="163" y="369"/>
                    </a:lnTo>
                    <a:lnTo>
                      <a:pt x="163" y="367"/>
                    </a:lnTo>
                    <a:lnTo>
                      <a:pt x="162" y="367"/>
                    </a:lnTo>
                    <a:lnTo>
                      <a:pt x="163" y="366"/>
                    </a:lnTo>
                    <a:lnTo>
                      <a:pt x="164" y="367"/>
                    </a:lnTo>
                    <a:lnTo>
                      <a:pt x="164" y="365"/>
                    </a:lnTo>
                    <a:lnTo>
                      <a:pt x="163" y="364"/>
                    </a:lnTo>
                    <a:lnTo>
                      <a:pt x="164" y="364"/>
                    </a:lnTo>
                    <a:lnTo>
                      <a:pt x="165" y="366"/>
                    </a:lnTo>
                    <a:lnTo>
                      <a:pt x="165" y="368"/>
                    </a:lnTo>
                    <a:lnTo>
                      <a:pt x="163" y="370"/>
                    </a:lnTo>
                    <a:lnTo>
                      <a:pt x="163" y="369"/>
                    </a:lnTo>
                    <a:lnTo>
                      <a:pt x="162" y="370"/>
                    </a:lnTo>
                    <a:lnTo>
                      <a:pt x="161" y="371"/>
                    </a:lnTo>
                    <a:lnTo>
                      <a:pt x="162" y="373"/>
                    </a:lnTo>
                    <a:lnTo>
                      <a:pt x="161" y="374"/>
                    </a:lnTo>
                    <a:lnTo>
                      <a:pt x="158" y="373"/>
                    </a:lnTo>
                    <a:lnTo>
                      <a:pt x="157" y="373"/>
                    </a:lnTo>
                    <a:lnTo>
                      <a:pt x="156" y="373"/>
                    </a:lnTo>
                    <a:lnTo>
                      <a:pt x="155" y="372"/>
                    </a:lnTo>
                    <a:lnTo>
                      <a:pt x="155" y="374"/>
                    </a:lnTo>
                    <a:lnTo>
                      <a:pt x="153" y="373"/>
                    </a:lnTo>
                    <a:lnTo>
                      <a:pt x="152" y="374"/>
                    </a:lnTo>
                    <a:lnTo>
                      <a:pt x="152" y="373"/>
                    </a:lnTo>
                    <a:lnTo>
                      <a:pt x="150" y="372"/>
                    </a:lnTo>
                    <a:lnTo>
                      <a:pt x="147" y="372"/>
                    </a:lnTo>
                    <a:lnTo>
                      <a:pt x="147" y="373"/>
                    </a:lnTo>
                    <a:lnTo>
                      <a:pt x="151" y="375"/>
                    </a:lnTo>
                    <a:lnTo>
                      <a:pt x="153" y="379"/>
                    </a:lnTo>
                    <a:lnTo>
                      <a:pt x="156" y="380"/>
                    </a:lnTo>
                    <a:lnTo>
                      <a:pt x="158" y="379"/>
                    </a:lnTo>
                    <a:lnTo>
                      <a:pt x="161" y="378"/>
                    </a:lnTo>
                    <a:lnTo>
                      <a:pt x="165" y="379"/>
                    </a:lnTo>
                    <a:lnTo>
                      <a:pt x="166" y="377"/>
                    </a:lnTo>
                    <a:lnTo>
                      <a:pt x="166" y="376"/>
                    </a:lnTo>
                    <a:lnTo>
                      <a:pt x="169" y="376"/>
                    </a:lnTo>
                    <a:lnTo>
                      <a:pt x="170" y="375"/>
                    </a:lnTo>
                    <a:lnTo>
                      <a:pt x="169" y="375"/>
                    </a:lnTo>
                    <a:lnTo>
                      <a:pt x="173" y="373"/>
                    </a:lnTo>
                    <a:lnTo>
                      <a:pt x="172" y="375"/>
                    </a:lnTo>
                    <a:lnTo>
                      <a:pt x="169" y="377"/>
                    </a:lnTo>
                    <a:lnTo>
                      <a:pt x="178" y="375"/>
                    </a:lnTo>
                    <a:lnTo>
                      <a:pt x="184" y="378"/>
                    </a:lnTo>
                    <a:lnTo>
                      <a:pt x="186" y="378"/>
                    </a:lnTo>
                    <a:lnTo>
                      <a:pt x="188" y="377"/>
                    </a:lnTo>
                    <a:lnTo>
                      <a:pt x="190" y="378"/>
                    </a:lnTo>
                    <a:lnTo>
                      <a:pt x="187" y="379"/>
                    </a:lnTo>
                    <a:lnTo>
                      <a:pt x="181" y="379"/>
                    </a:lnTo>
                    <a:lnTo>
                      <a:pt x="180" y="379"/>
                    </a:lnTo>
                    <a:lnTo>
                      <a:pt x="181" y="381"/>
                    </a:lnTo>
                    <a:lnTo>
                      <a:pt x="180" y="383"/>
                    </a:lnTo>
                    <a:lnTo>
                      <a:pt x="181" y="384"/>
                    </a:lnTo>
                    <a:lnTo>
                      <a:pt x="183" y="384"/>
                    </a:lnTo>
                    <a:lnTo>
                      <a:pt x="184" y="385"/>
                    </a:lnTo>
                    <a:lnTo>
                      <a:pt x="183" y="385"/>
                    </a:lnTo>
                    <a:lnTo>
                      <a:pt x="184" y="387"/>
                    </a:lnTo>
                    <a:lnTo>
                      <a:pt x="186" y="387"/>
                    </a:lnTo>
                    <a:lnTo>
                      <a:pt x="188" y="387"/>
                    </a:lnTo>
                    <a:lnTo>
                      <a:pt x="187" y="388"/>
                    </a:lnTo>
                    <a:lnTo>
                      <a:pt x="185" y="388"/>
                    </a:lnTo>
                    <a:lnTo>
                      <a:pt x="184" y="390"/>
                    </a:lnTo>
                    <a:lnTo>
                      <a:pt x="184" y="388"/>
                    </a:lnTo>
                    <a:lnTo>
                      <a:pt x="182" y="387"/>
                    </a:lnTo>
                    <a:lnTo>
                      <a:pt x="178" y="390"/>
                    </a:lnTo>
                    <a:lnTo>
                      <a:pt x="175" y="391"/>
                    </a:lnTo>
                    <a:lnTo>
                      <a:pt x="175" y="392"/>
                    </a:lnTo>
                    <a:lnTo>
                      <a:pt x="177" y="392"/>
                    </a:lnTo>
                    <a:lnTo>
                      <a:pt x="179" y="393"/>
                    </a:lnTo>
                    <a:lnTo>
                      <a:pt x="179" y="395"/>
                    </a:lnTo>
                    <a:lnTo>
                      <a:pt x="179" y="398"/>
                    </a:lnTo>
                    <a:lnTo>
                      <a:pt x="180" y="397"/>
                    </a:lnTo>
                    <a:lnTo>
                      <a:pt x="180" y="395"/>
                    </a:lnTo>
                    <a:lnTo>
                      <a:pt x="183" y="397"/>
                    </a:lnTo>
                    <a:lnTo>
                      <a:pt x="184" y="399"/>
                    </a:lnTo>
                    <a:lnTo>
                      <a:pt x="184" y="400"/>
                    </a:lnTo>
                    <a:lnTo>
                      <a:pt x="183" y="401"/>
                    </a:lnTo>
                    <a:lnTo>
                      <a:pt x="180" y="401"/>
                    </a:lnTo>
                    <a:lnTo>
                      <a:pt x="177" y="399"/>
                    </a:lnTo>
                    <a:lnTo>
                      <a:pt x="176" y="399"/>
                    </a:lnTo>
                    <a:lnTo>
                      <a:pt x="176" y="400"/>
                    </a:lnTo>
                    <a:lnTo>
                      <a:pt x="185" y="403"/>
                    </a:lnTo>
                    <a:lnTo>
                      <a:pt x="186" y="403"/>
                    </a:lnTo>
                    <a:lnTo>
                      <a:pt x="185" y="402"/>
                    </a:lnTo>
                    <a:lnTo>
                      <a:pt x="186" y="401"/>
                    </a:lnTo>
                    <a:lnTo>
                      <a:pt x="190" y="402"/>
                    </a:lnTo>
                    <a:lnTo>
                      <a:pt x="192" y="404"/>
                    </a:lnTo>
                    <a:lnTo>
                      <a:pt x="196" y="406"/>
                    </a:lnTo>
                    <a:lnTo>
                      <a:pt x="204" y="402"/>
                    </a:lnTo>
                    <a:lnTo>
                      <a:pt x="205" y="399"/>
                    </a:lnTo>
                    <a:lnTo>
                      <a:pt x="206" y="399"/>
                    </a:lnTo>
                    <a:lnTo>
                      <a:pt x="213" y="399"/>
                    </a:lnTo>
                    <a:lnTo>
                      <a:pt x="216" y="397"/>
                    </a:lnTo>
                    <a:lnTo>
                      <a:pt x="218" y="397"/>
                    </a:lnTo>
                    <a:lnTo>
                      <a:pt x="221" y="399"/>
                    </a:lnTo>
                    <a:lnTo>
                      <a:pt x="222" y="400"/>
                    </a:lnTo>
                    <a:lnTo>
                      <a:pt x="223" y="400"/>
                    </a:lnTo>
                    <a:lnTo>
                      <a:pt x="224" y="399"/>
                    </a:lnTo>
                    <a:lnTo>
                      <a:pt x="227" y="401"/>
                    </a:lnTo>
                    <a:lnTo>
                      <a:pt x="233" y="407"/>
                    </a:lnTo>
                    <a:lnTo>
                      <a:pt x="239" y="409"/>
                    </a:lnTo>
                    <a:lnTo>
                      <a:pt x="234" y="409"/>
                    </a:lnTo>
                    <a:lnTo>
                      <a:pt x="231" y="407"/>
                    </a:lnTo>
                    <a:lnTo>
                      <a:pt x="227" y="405"/>
                    </a:lnTo>
                    <a:lnTo>
                      <a:pt x="224" y="403"/>
                    </a:lnTo>
                    <a:lnTo>
                      <a:pt x="226" y="403"/>
                    </a:lnTo>
                    <a:lnTo>
                      <a:pt x="225" y="402"/>
                    </a:lnTo>
                    <a:lnTo>
                      <a:pt x="223" y="401"/>
                    </a:lnTo>
                    <a:lnTo>
                      <a:pt x="223" y="402"/>
                    </a:lnTo>
                    <a:lnTo>
                      <a:pt x="222" y="402"/>
                    </a:lnTo>
                    <a:lnTo>
                      <a:pt x="219" y="401"/>
                    </a:lnTo>
                    <a:lnTo>
                      <a:pt x="216" y="400"/>
                    </a:lnTo>
                    <a:lnTo>
                      <a:pt x="213" y="401"/>
                    </a:lnTo>
                    <a:lnTo>
                      <a:pt x="205" y="403"/>
                    </a:lnTo>
                    <a:lnTo>
                      <a:pt x="205" y="407"/>
                    </a:lnTo>
                    <a:lnTo>
                      <a:pt x="206" y="409"/>
                    </a:lnTo>
                    <a:lnTo>
                      <a:pt x="205" y="413"/>
                    </a:lnTo>
                    <a:lnTo>
                      <a:pt x="205" y="414"/>
                    </a:lnTo>
                    <a:lnTo>
                      <a:pt x="202" y="415"/>
                    </a:lnTo>
                    <a:lnTo>
                      <a:pt x="200" y="417"/>
                    </a:lnTo>
                    <a:lnTo>
                      <a:pt x="202" y="418"/>
                    </a:lnTo>
                    <a:lnTo>
                      <a:pt x="210" y="419"/>
                    </a:lnTo>
                    <a:lnTo>
                      <a:pt x="214" y="421"/>
                    </a:lnTo>
                    <a:lnTo>
                      <a:pt x="217" y="424"/>
                    </a:lnTo>
                    <a:lnTo>
                      <a:pt x="219" y="427"/>
                    </a:lnTo>
                    <a:lnTo>
                      <a:pt x="219" y="428"/>
                    </a:lnTo>
                    <a:lnTo>
                      <a:pt x="217" y="429"/>
                    </a:lnTo>
                    <a:lnTo>
                      <a:pt x="216" y="431"/>
                    </a:lnTo>
                    <a:lnTo>
                      <a:pt x="216" y="436"/>
                    </a:lnTo>
                    <a:lnTo>
                      <a:pt x="211" y="437"/>
                    </a:lnTo>
                    <a:lnTo>
                      <a:pt x="210" y="439"/>
                    </a:lnTo>
                    <a:lnTo>
                      <a:pt x="211" y="441"/>
                    </a:lnTo>
                    <a:lnTo>
                      <a:pt x="208" y="442"/>
                    </a:lnTo>
                    <a:lnTo>
                      <a:pt x="208" y="448"/>
                    </a:lnTo>
                    <a:lnTo>
                      <a:pt x="211" y="451"/>
                    </a:lnTo>
                    <a:lnTo>
                      <a:pt x="218" y="456"/>
                    </a:lnTo>
                    <a:lnTo>
                      <a:pt x="220" y="460"/>
                    </a:lnTo>
                    <a:lnTo>
                      <a:pt x="221" y="461"/>
                    </a:lnTo>
                    <a:lnTo>
                      <a:pt x="221" y="462"/>
                    </a:lnTo>
                    <a:lnTo>
                      <a:pt x="224" y="463"/>
                    </a:lnTo>
                    <a:lnTo>
                      <a:pt x="227" y="468"/>
                    </a:lnTo>
                    <a:lnTo>
                      <a:pt x="229" y="469"/>
                    </a:lnTo>
                    <a:lnTo>
                      <a:pt x="231" y="474"/>
                    </a:lnTo>
                    <a:lnTo>
                      <a:pt x="232" y="474"/>
                    </a:lnTo>
                    <a:lnTo>
                      <a:pt x="232" y="476"/>
                    </a:lnTo>
                    <a:lnTo>
                      <a:pt x="234" y="485"/>
                    </a:lnTo>
                    <a:lnTo>
                      <a:pt x="235" y="486"/>
                    </a:lnTo>
                    <a:lnTo>
                      <a:pt x="235" y="484"/>
                    </a:lnTo>
                    <a:lnTo>
                      <a:pt x="235" y="483"/>
                    </a:lnTo>
                    <a:lnTo>
                      <a:pt x="235" y="482"/>
                    </a:lnTo>
                    <a:lnTo>
                      <a:pt x="235" y="481"/>
                    </a:lnTo>
                    <a:lnTo>
                      <a:pt x="237" y="485"/>
                    </a:lnTo>
                    <a:lnTo>
                      <a:pt x="245" y="490"/>
                    </a:lnTo>
                    <a:lnTo>
                      <a:pt x="247" y="489"/>
                    </a:lnTo>
                    <a:lnTo>
                      <a:pt x="248" y="489"/>
                    </a:lnTo>
                    <a:lnTo>
                      <a:pt x="248" y="490"/>
                    </a:lnTo>
                    <a:lnTo>
                      <a:pt x="247" y="492"/>
                    </a:lnTo>
                    <a:lnTo>
                      <a:pt x="248" y="492"/>
                    </a:lnTo>
                    <a:lnTo>
                      <a:pt x="257" y="492"/>
                    </a:lnTo>
                    <a:lnTo>
                      <a:pt x="259" y="494"/>
                    </a:lnTo>
                    <a:lnTo>
                      <a:pt x="260" y="495"/>
                    </a:lnTo>
                    <a:lnTo>
                      <a:pt x="262" y="501"/>
                    </a:lnTo>
                    <a:lnTo>
                      <a:pt x="269" y="500"/>
                    </a:lnTo>
                    <a:lnTo>
                      <a:pt x="272" y="503"/>
                    </a:lnTo>
                    <a:lnTo>
                      <a:pt x="274" y="503"/>
                    </a:lnTo>
                    <a:lnTo>
                      <a:pt x="274" y="502"/>
                    </a:lnTo>
                    <a:lnTo>
                      <a:pt x="279" y="508"/>
                    </a:lnTo>
                    <a:lnTo>
                      <a:pt x="280" y="508"/>
                    </a:lnTo>
                    <a:lnTo>
                      <a:pt x="279" y="506"/>
                    </a:lnTo>
                    <a:lnTo>
                      <a:pt x="280" y="504"/>
                    </a:lnTo>
                    <a:lnTo>
                      <a:pt x="281" y="503"/>
                    </a:lnTo>
                    <a:lnTo>
                      <a:pt x="284" y="502"/>
                    </a:lnTo>
                    <a:lnTo>
                      <a:pt x="288" y="504"/>
                    </a:lnTo>
                    <a:lnTo>
                      <a:pt x="289" y="508"/>
                    </a:lnTo>
                    <a:lnTo>
                      <a:pt x="288" y="509"/>
                    </a:lnTo>
                    <a:lnTo>
                      <a:pt x="282" y="513"/>
                    </a:lnTo>
                    <a:lnTo>
                      <a:pt x="281" y="514"/>
                    </a:lnTo>
                    <a:lnTo>
                      <a:pt x="282" y="516"/>
                    </a:lnTo>
                    <a:lnTo>
                      <a:pt x="280" y="519"/>
                    </a:lnTo>
                    <a:lnTo>
                      <a:pt x="281" y="520"/>
                    </a:lnTo>
                    <a:lnTo>
                      <a:pt x="284" y="520"/>
                    </a:lnTo>
                    <a:lnTo>
                      <a:pt x="285" y="522"/>
                    </a:lnTo>
                    <a:lnTo>
                      <a:pt x="287" y="524"/>
                    </a:lnTo>
                    <a:lnTo>
                      <a:pt x="286" y="525"/>
                    </a:lnTo>
                    <a:lnTo>
                      <a:pt x="289" y="526"/>
                    </a:lnTo>
                    <a:lnTo>
                      <a:pt x="290" y="530"/>
                    </a:lnTo>
                    <a:lnTo>
                      <a:pt x="292" y="532"/>
                    </a:lnTo>
                    <a:lnTo>
                      <a:pt x="293" y="533"/>
                    </a:lnTo>
                    <a:lnTo>
                      <a:pt x="292" y="536"/>
                    </a:lnTo>
                    <a:lnTo>
                      <a:pt x="290" y="537"/>
                    </a:lnTo>
                    <a:lnTo>
                      <a:pt x="288" y="535"/>
                    </a:lnTo>
                    <a:lnTo>
                      <a:pt x="288" y="538"/>
                    </a:lnTo>
                    <a:lnTo>
                      <a:pt x="290" y="539"/>
                    </a:lnTo>
                    <a:lnTo>
                      <a:pt x="291" y="541"/>
                    </a:lnTo>
                    <a:lnTo>
                      <a:pt x="289" y="543"/>
                    </a:lnTo>
                    <a:lnTo>
                      <a:pt x="291" y="545"/>
                    </a:lnTo>
                    <a:lnTo>
                      <a:pt x="291" y="547"/>
                    </a:lnTo>
                    <a:lnTo>
                      <a:pt x="289" y="548"/>
                    </a:lnTo>
                    <a:lnTo>
                      <a:pt x="287" y="547"/>
                    </a:lnTo>
                    <a:lnTo>
                      <a:pt x="287" y="550"/>
                    </a:lnTo>
                    <a:lnTo>
                      <a:pt x="285" y="550"/>
                    </a:lnTo>
                    <a:lnTo>
                      <a:pt x="285" y="551"/>
                    </a:lnTo>
                    <a:lnTo>
                      <a:pt x="286" y="556"/>
                    </a:lnTo>
                    <a:lnTo>
                      <a:pt x="288" y="559"/>
                    </a:lnTo>
                    <a:lnTo>
                      <a:pt x="298" y="567"/>
                    </a:lnTo>
                    <a:lnTo>
                      <a:pt x="289" y="563"/>
                    </a:lnTo>
                    <a:lnTo>
                      <a:pt x="285" y="557"/>
                    </a:lnTo>
                    <a:lnTo>
                      <a:pt x="279" y="559"/>
                    </a:lnTo>
                    <a:lnTo>
                      <a:pt x="277" y="567"/>
                    </a:lnTo>
                    <a:lnTo>
                      <a:pt x="278" y="569"/>
                    </a:lnTo>
                    <a:lnTo>
                      <a:pt x="280" y="567"/>
                    </a:lnTo>
                    <a:lnTo>
                      <a:pt x="282" y="568"/>
                    </a:lnTo>
                    <a:lnTo>
                      <a:pt x="284" y="571"/>
                    </a:lnTo>
                    <a:lnTo>
                      <a:pt x="289" y="573"/>
                    </a:lnTo>
                    <a:lnTo>
                      <a:pt x="293" y="576"/>
                    </a:lnTo>
                    <a:lnTo>
                      <a:pt x="297" y="577"/>
                    </a:lnTo>
                    <a:lnTo>
                      <a:pt x="298" y="581"/>
                    </a:lnTo>
                    <a:lnTo>
                      <a:pt x="301" y="583"/>
                    </a:lnTo>
                    <a:lnTo>
                      <a:pt x="304" y="584"/>
                    </a:lnTo>
                    <a:lnTo>
                      <a:pt x="304" y="585"/>
                    </a:lnTo>
                    <a:lnTo>
                      <a:pt x="307" y="587"/>
                    </a:lnTo>
                    <a:lnTo>
                      <a:pt x="313" y="593"/>
                    </a:lnTo>
                    <a:lnTo>
                      <a:pt x="316" y="598"/>
                    </a:lnTo>
                    <a:lnTo>
                      <a:pt x="319" y="605"/>
                    </a:lnTo>
                    <a:lnTo>
                      <a:pt x="320" y="612"/>
                    </a:lnTo>
                    <a:lnTo>
                      <a:pt x="322" y="628"/>
                    </a:lnTo>
                    <a:lnTo>
                      <a:pt x="324" y="634"/>
                    </a:lnTo>
                    <a:lnTo>
                      <a:pt x="328" y="637"/>
                    </a:lnTo>
                    <a:lnTo>
                      <a:pt x="334" y="639"/>
                    </a:lnTo>
                    <a:lnTo>
                      <a:pt x="336" y="642"/>
                    </a:lnTo>
                    <a:lnTo>
                      <a:pt x="332" y="640"/>
                    </a:lnTo>
                    <a:lnTo>
                      <a:pt x="328" y="640"/>
                    </a:lnTo>
                    <a:lnTo>
                      <a:pt x="332" y="642"/>
                    </a:lnTo>
                    <a:lnTo>
                      <a:pt x="332" y="644"/>
                    </a:lnTo>
                    <a:lnTo>
                      <a:pt x="332" y="648"/>
                    </a:lnTo>
                    <a:lnTo>
                      <a:pt x="332" y="653"/>
                    </a:lnTo>
                    <a:lnTo>
                      <a:pt x="332" y="654"/>
                    </a:lnTo>
                    <a:lnTo>
                      <a:pt x="331" y="650"/>
                    </a:lnTo>
                    <a:lnTo>
                      <a:pt x="330" y="643"/>
                    </a:lnTo>
                    <a:lnTo>
                      <a:pt x="324" y="637"/>
                    </a:lnTo>
                    <a:lnTo>
                      <a:pt x="321" y="634"/>
                    </a:lnTo>
                    <a:lnTo>
                      <a:pt x="319" y="630"/>
                    </a:lnTo>
                    <a:lnTo>
                      <a:pt x="318" y="624"/>
                    </a:lnTo>
                    <a:lnTo>
                      <a:pt x="317" y="617"/>
                    </a:lnTo>
                    <a:lnTo>
                      <a:pt x="315" y="610"/>
                    </a:lnTo>
                    <a:lnTo>
                      <a:pt x="312" y="605"/>
                    </a:lnTo>
                    <a:lnTo>
                      <a:pt x="306" y="599"/>
                    </a:lnTo>
                    <a:lnTo>
                      <a:pt x="302" y="594"/>
                    </a:lnTo>
                    <a:lnTo>
                      <a:pt x="297" y="592"/>
                    </a:lnTo>
                    <a:lnTo>
                      <a:pt x="292" y="587"/>
                    </a:lnTo>
                    <a:lnTo>
                      <a:pt x="291" y="587"/>
                    </a:lnTo>
                    <a:lnTo>
                      <a:pt x="292" y="584"/>
                    </a:lnTo>
                    <a:lnTo>
                      <a:pt x="292" y="582"/>
                    </a:lnTo>
                    <a:lnTo>
                      <a:pt x="290" y="583"/>
                    </a:lnTo>
                    <a:lnTo>
                      <a:pt x="289" y="583"/>
                    </a:lnTo>
                    <a:lnTo>
                      <a:pt x="285" y="591"/>
                    </a:lnTo>
                    <a:lnTo>
                      <a:pt x="284" y="601"/>
                    </a:lnTo>
                    <a:lnTo>
                      <a:pt x="284" y="609"/>
                    </a:lnTo>
                    <a:lnTo>
                      <a:pt x="283" y="618"/>
                    </a:lnTo>
                    <a:lnTo>
                      <a:pt x="281" y="632"/>
                    </a:lnTo>
                    <a:lnTo>
                      <a:pt x="276" y="677"/>
                    </a:lnTo>
                    <a:lnTo>
                      <a:pt x="276" y="682"/>
                    </a:lnTo>
                    <a:lnTo>
                      <a:pt x="277" y="681"/>
                    </a:lnTo>
                    <a:lnTo>
                      <a:pt x="277" y="678"/>
                    </a:lnTo>
                    <a:lnTo>
                      <a:pt x="277" y="675"/>
                    </a:lnTo>
                    <a:lnTo>
                      <a:pt x="279" y="672"/>
                    </a:lnTo>
                    <a:lnTo>
                      <a:pt x="282" y="669"/>
                    </a:lnTo>
                    <a:lnTo>
                      <a:pt x="283" y="666"/>
                    </a:lnTo>
                    <a:lnTo>
                      <a:pt x="286" y="668"/>
                    </a:lnTo>
                    <a:lnTo>
                      <a:pt x="292" y="673"/>
                    </a:lnTo>
                    <a:lnTo>
                      <a:pt x="291" y="674"/>
                    </a:lnTo>
                    <a:lnTo>
                      <a:pt x="293" y="676"/>
                    </a:lnTo>
                    <a:lnTo>
                      <a:pt x="292" y="679"/>
                    </a:lnTo>
                    <a:lnTo>
                      <a:pt x="289" y="679"/>
                    </a:lnTo>
                    <a:lnTo>
                      <a:pt x="284" y="679"/>
                    </a:lnTo>
                    <a:lnTo>
                      <a:pt x="283" y="677"/>
                    </a:lnTo>
                    <a:lnTo>
                      <a:pt x="281" y="678"/>
                    </a:lnTo>
                    <a:lnTo>
                      <a:pt x="280" y="679"/>
                    </a:lnTo>
                    <a:lnTo>
                      <a:pt x="279" y="685"/>
                    </a:lnTo>
                    <a:lnTo>
                      <a:pt x="276" y="689"/>
                    </a:lnTo>
                    <a:lnTo>
                      <a:pt x="276" y="690"/>
                    </a:lnTo>
                    <a:lnTo>
                      <a:pt x="277" y="692"/>
                    </a:lnTo>
                    <a:lnTo>
                      <a:pt x="277" y="694"/>
                    </a:lnTo>
                    <a:lnTo>
                      <a:pt x="277" y="695"/>
                    </a:lnTo>
                    <a:lnTo>
                      <a:pt x="276" y="704"/>
                    </a:lnTo>
                    <a:lnTo>
                      <a:pt x="275" y="709"/>
                    </a:lnTo>
                    <a:lnTo>
                      <a:pt x="274" y="718"/>
                    </a:lnTo>
                    <a:lnTo>
                      <a:pt x="268" y="750"/>
                    </a:lnTo>
                    <a:lnTo>
                      <a:pt x="267" y="758"/>
                    </a:lnTo>
                    <a:lnTo>
                      <a:pt x="264" y="766"/>
                    </a:lnTo>
                    <a:lnTo>
                      <a:pt x="264" y="770"/>
                    </a:lnTo>
                    <a:lnTo>
                      <a:pt x="260" y="791"/>
                    </a:lnTo>
                    <a:lnTo>
                      <a:pt x="258" y="797"/>
                    </a:lnTo>
                    <a:lnTo>
                      <a:pt x="253" y="801"/>
                    </a:lnTo>
                    <a:lnTo>
                      <a:pt x="251" y="805"/>
                    </a:lnTo>
                    <a:lnTo>
                      <a:pt x="248" y="808"/>
                    </a:lnTo>
                    <a:lnTo>
                      <a:pt x="245" y="809"/>
                    </a:lnTo>
                    <a:lnTo>
                      <a:pt x="237" y="811"/>
                    </a:lnTo>
                    <a:lnTo>
                      <a:pt x="236" y="811"/>
                    </a:lnTo>
                    <a:close/>
                    <a:moveTo>
                      <a:pt x="1105" y="879"/>
                    </a:moveTo>
                    <a:lnTo>
                      <a:pt x="1104" y="874"/>
                    </a:lnTo>
                    <a:lnTo>
                      <a:pt x="1102" y="870"/>
                    </a:lnTo>
                    <a:lnTo>
                      <a:pt x="1104" y="867"/>
                    </a:lnTo>
                    <a:lnTo>
                      <a:pt x="1103" y="864"/>
                    </a:lnTo>
                    <a:lnTo>
                      <a:pt x="1106" y="861"/>
                    </a:lnTo>
                    <a:lnTo>
                      <a:pt x="1105" y="860"/>
                    </a:lnTo>
                    <a:lnTo>
                      <a:pt x="1106" y="859"/>
                    </a:lnTo>
                    <a:lnTo>
                      <a:pt x="1105" y="857"/>
                    </a:lnTo>
                    <a:lnTo>
                      <a:pt x="1104" y="853"/>
                    </a:lnTo>
                    <a:lnTo>
                      <a:pt x="1105" y="852"/>
                    </a:lnTo>
                    <a:lnTo>
                      <a:pt x="1111" y="851"/>
                    </a:lnTo>
                    <a:lnTo>
                      <a:pt x="1114" y="854"/>
                    </a:lnTo>
                    <a:lnTo>
                      <a:pt x="1113" y="857"/>
                    </a:lnTo>
                    <a:lnTo>
                      <a:pt x="1114" y="859"/>
                    </a:lnTo>
                    <a:lnTo>
                      <a:pt x="1114" y="860"/>
                    </a:lnTo>
                    <a:lnTo>
                      <a:pt x="1115" y="865"/>
                    </a:lnTo>
                    <a:lnTo>
                      <a:pt x="1115" y="867"/>
                    </a:lnTo>
                    <a:lnTo>
                      <a:pt x="1116" y="873"/>
                    </a:lnTo>
                    <a:lnTo>
                      <a:pt x="1114" y="878"/>
                    </a:lnTo>
                    <a:lnTo>
                      <a:pt x="1113" y="887"/>
                    </a:lnTo>
                    <a:lnTo>
                      <a:pt x="1113" y="889"/>
                    </a:lnTo>
                    <a:lnTo>
                      <a:pt x="1112" y="891"/>
                    </a:lnTo>
                    <a:lnTo>
                      <a:pt x="1114" y="893"/>
                    </a:lnTo>
                    <a:lnTo>
                      <a:pt x="1114" y="895"/>
                    </a:lnTo>
                    <a:lnTo>
                      <a:pt x="1115" y="897"/>
                    </a:lnTo>
                    <a:lnTo>
                      <a:pt x="1118" y="899"/>
                    </a:lnTo>
                    <a:lnTo>
                      <a:pt x="1118" y="898"/>
                    </a:lnTo>
                    <a:lnTo>
                      <a:pt x="1117" y="895"/>
                    </a:lnTo>
                    <a:lnTo>
                      <a:pt x="1115" y="894"/>
                    </a:lnTo>
                    <a:lnTo>
                      <a:pt x="1115" y="895"/>
                    </a:lnTo>
                    <a:lnTo>
                      <a:pt x="1115" y="893"/>
                    </a:lnTo>
                    <a:lnTo>
                      <a:pt x="1114" y="890"/>
                    </a:lnTo>
                    <a:lnTo>
                      <a:pt x="1116" y="894"/>
                    </a:lnTo>
                    <a:lnTo>
                      <a:pt x="1119" y="897"/>
                    </a:lnTo>
                    <a:lnTo>
                      <a:pt x="1120" y="901"/>
                    </a:lnTo>
                    <a:lnTo>
                      <a:pt x="1119" y="906"/>
                    </a:lnTo>
                    <a:lnTo>
                      <a:pt x="1120" y="913"/>
                    </a:lnTo>
                    <a:lnTo>
                      <a:pt x="1119" y="918"/>
                    </a:lnTo>
                    <a:lnTo>
                      <a:pt x="1122" y="930"/>
                    </a:lnTo>
                    <a:lnTo>
                      <a:pt x="1121" y="934"/>
                    </a:lnTo>
                    <a:lnTo>
                      <a:pt x="1122" y="938"/>
                    </a:lnTo>
                    <a:lnTo>
                      <a:pt x="1121" y="944"/>
                    </a:lnTo>
                    <a:lnTo>
                      <a:pt x="1121" y="947"/>
                    </a:lnTo>
                    <a:lnTo>
                      <a:pt x="1111" y="961"/>
                    </a:lnTo>
                    <a:lnTo>
                      <a:pt x="1110" y="964"/>
                    </a:lnTo>
                    <a:lnTo>
                      <a:pt x="1110" y="963"/>
                    </a:lnTo>
                    <a:lnTo>
                      <a:pt x="1109" y="963"/>
                    </a:lnTo>
                    <a:lnTo>
                      <a:pt x="1110" y="966"/>
                    </a:lnTo>
                    <a:lnTo>
                      <a:pt x="1109" y="972"/>
                    </a:lnTo>
                    <a:lnTo>
                      <a:pt x="1109" y="976"/>
                    </a:lnTo>
                    <a:lnTo>
                      <a:pt x="1108" y="981"/>
                    </a:lnTo>
                    <a:lnTo>
                      <a:pt x="1109" y="983"/>
                    </a:lnTo>
                    <a:lnTo>
                      <a:pt x="1109" y="990"/>
                    </a:lnTo>
                    <a:lnTo>
                      <a:pt x="1107" y="992"/>
                    </a:lnTo>
                    <a:lnTo>
                      <a:pt x="1107" y="993"/>
                    </a:lnTo>
                    <a:lnTo>
                      <a:pt x="1108" y="994"/>
                    </a:lnTo>
                    <a:lnTo>
                      <a:pt x="1106" y="996"/>
                    </a:lnTo>
                    <a:lnTo>
                      <a:pt x="1105" y="996"/>
                    </a:lnTo>
                    <a:lnTo>
                      <a:pt x="1105" y="999"/>
                    </a:lnTo>
                    <a:lnTo>
                      <a:pt x="1101" y="997"/>
                    </a:lnTo>
                    <a:lnTo>
                      <a:pt x="1101" y="999"/>
                    </a:lnTo>
                    <a:lnTo>
                      <a:pt x="1099" y="1000"/>
                    </a:lnTo>
                    <a:lnTo>
                      <a:pt x="1099" y="1001"/>
                    </a:lnTo>
                    <a:lnTo>
                      <a:pt x="1100" y="1002"/>
                    </a:lnTo>
                    <a:lnTo>
                      <a:pt x="1103" y="1000"/>
                    </a:lnTo>
                    <a:lnTo>
                      <a:pt x="1106" y="1001"/>
                    </a:lnTo>
                    <a:lnTo>
                      <a:pt x="1105" y="1004"/>
                    </a:lnTo>
                    <a:lnTo>
                      <a:pt x="1102" y="1005"/>
                    </a:lnTo>
                    <a:lnTo>
                      <a:pt x="1100" y="1008"/>
                    </a:lnTo>
                    <a:lnTo>
                      <a:pt x="1099" y="1008"/>
                    </a:lnTo>
                    <a:lnTo>
                      <a:pt x="1099" y="1009"/>
                    </a:lnTo>
                    <a:lnTo>
                      <a:pt x="1099" y="1011"/>
                    </a:lnTo>
                    <a:lnTo>
                      <a:pt x="1100" y="1011"/>
                    </a:lnTo>
                    <a:lnTo>
                      <a:pt x="1099" y="1013"/>
                    </a:lnTo>
                    <a:lnTo>
                      <a:pt x="1099" y="1014"/>
                    </a:lnTo>
                    <a:lnTo>
                      <a:pt x="1099" y="1015"/>
                    </a:lnTo>
                    <a:lnTo>
                      <a:pt x="1098" y="1015"/>
                    </a:lnTo>
                    <a:lnTo>
                      <a:pt x="1094" y="1017"/>
                    </a:lnTo>
                    <a:lnTo>
                      <a:pt x="1096" y="1019"/>
                    </a:lnTo>
                    <a:lnTo>
                      <a:pt x="1094" y="1021"/>
                    </a:lnTo>
                    <a:lnTo>
                      <a:pt x="1095" y="1021"/>
                    </a:lnTo>
                    <a:lnTo>
                      <a:pt x="1097" y="1019"/>
                    </a:lnTo>
                    <a:lnTo>
                      <a:pt x="1098" y="1019"/>
                    </a:lnTo>
                    <a:lnTo>
                      <a:pt x="1097" y="1020"/>
                    </a:lnTo>
                    <a:lnTo>
                      <a:pt x="1096" y="1025"/>
                    </a:lnTo>
                    <a:lnTo>
                      <a:pt x="1093" y="1025"/>
                    </a:lnTo>
                    <a:lnTo>
                      <a:pt x="1091" y="1023"/>
                    </a:lnTo>
                    <a:lnTo>
                      <a:pt x="1088" y="1022"/>
                    </a:lnTo>
                    <a:lnTo>
                      <a:pt x="1085" y="1022"/>
                    </a:lnTo>
                    <a:lnTo>
                      <a:pt x="1085" y="1021"/>
                    </a:lnTo>
                    <a:lnTo>
                      <a:pt x="1088" y="1017"/>
                    </a:lnTo>
                    <a:lnTo>
                      <a:pt x="1085" y="1016"/>
                    </a:lnTo>
                    <a:lnTo>
                      <a:pt x="1083" y="1017"/>
                    </a:lnTo>
                    <a:lnTo>
                      <a:pt x="1083" y="1015"/>
                    </a:lnTo>
                    <a:lnTo>
                      <a:pt x="1084" y="1013"/>
                    </a:lnTo>
                    <a:lnTo>
                      <a:pt x="1080" y="1015"/>
                    </a:lnTo>
                    <a:lnTo>
                      <a:pt x="1080" y="1014"/>
                    </a:lnTo>
                    <a:lnTo>
                      <a:pt x="1079" y="1014"/>
                    </a:lnTo>
                    <a:lnTo>
                      <a:pt x="1079" y="1013"/>
                    </a:lnTo>
                    <a:lnTo>
                      <a:pt x="1077" y="1013"/>
                    </a:lnTo>
                    <a:lnTo>
                      <a:pt x="1076" y="1013"/>
                    </a:lnTo>
                    <a:lnTo>
                      <a:pt x="1074" y="1012"/>
                    </a:lnTo>
                    <a:lnTo>
                      <a:pt x="1072" y="1012"/>
                    </a:lnTo>
                    <a:lnTo>
                      <a:pt x="1071" y="1011"/>
                    </a:lnTo>
                    <a:lnTo>
                      <a:pt x="1069" y="1010"/>
                    </a:lnTo>
                    <a:lnTo>
                      <a:pt x="1068" y="1008"/>
                    </a:lnTo>
                    <a:lnTo>
                      <a:pt x="1066" y="1008"/>
                    </a:lnTo>
                    <a:lnTo>
                      <a:pt x="1066" y="1007"/>
                    </a:lnTo>
                    <a:lnTo>
                      <a:pt x="1065" y="1006"/>
                    </a:lnTo>
                    <a:lnTo>
                      <a:pt x="1064" y="1007"/>
                    </a:lnTo>
                    <a:lnTo>
                      <a:pt x="1063" y="1005"/>
                    </a:lnTo>
                    <a:lnTo>
                      <a:pt x="1061" y="1005"/>
                    </a:lnTo>
                    <a:lnTo>
                      <a:pt x="1062" y="1002"/>
                    </a:lnTo>
                    <a:lnTo>
                      <a:pt x="1061" y="1001"/>
                    </a:lnTo>
                    <a:lnTo>
                      <a:pt x="1062" y="1001"/>
                    </a:lnTo>
                    <a:lnTo>
                      <a:pt x="1061" y="999"/>
                    </a:lnTo>
                    <a:lnTo>
                      <a:pt x="1062" y="998"/>
                    </a:lnTo>
                    <a:lnTo>
                      <a:pt x="1062" y="997"/>
                    </a:lnTo>
                    <a:lnTo>
                      <a:pt x="1063" y="996"/>
                    </a:lnTo>
                    <a:lnTo>
                      <a:pt x="1064" y="997"/>
                    </a:lnTo>
                    <a:lnTo>
                      <a:pt x="1068" y="995"/>
                    </a:lnTo>
                    <a:lnTo>
                      <a:pt x="1069" y="993"/>
                    </a:lnTo>
                    <a:lnTo>
                      <a:pt x="1071" y="992"/>
                    </a:lnTo>
                    <a:lnTo>
                      <a:pt x="1072" y="990"/>
                    </a:lnTo>
                    <a:lnTo>
                      <a:pt x="1065" y="990"/>
                    </a:lnTo>
                    <a:lnTo>
                      <a:pt x="1063" y="989"/>
                    </a:lnTo>
                    <a:lnTo>
                      <a:pt x="1061" y="989"/>
                    </a:lnTo>
                    <a:lnTo>
                      <a:pt x="1060" y="988"/>
                    </a:lnTo>
                    <a:lnTo>
                      <a:pt x="1061" y="986"/>
                    </a:lnTo>
                    <a:lnTo>
                      <a:pt x="1060" y="985"/>
                    </a:lnTo>
                    <a:lnTo>
                      <a:pt x="1055" y="987"/>
                    </a:lnTo>
                    <a:lnTo>
                      <a:pt x="1054" y="986"/>
                    </a:lnTo>
                    <a:lnTo>
                      <a:pt x="1051" y="985"/>
                    </a:lnTo>
                    <a:lnTo>
                      <a:pt x="1052" y="984"/>
                    </a:lnTo>
                    <a:lnTo>
                      <a:pt x="1054" y="984"/>
                    </a:lnTo>
                    <a:lnTo>
                      <a:pt x="1056" y="982"/>
                    </a:lnTo>
                    <a:lnTo>
                      <a:pt x="1055" y="979"/>
                    </a:lnTo>
                    <a:lnTo>
                      <a:pt x="1059" y="978"/>
                    </a:lnTo>
                    <a:lnTo>
                      <a:pt x="1061" y="976"/>
                    </a:lnTo>
                    <a:lnTo>
                      <a:pt x="1058" y="975"/>
                    </a:lnTo>
                    <a:lnTo>
                      <a:pt x="1061" y="974"/>
                    </a:lnTo>
                    <a:lnTo>
                      <a:pt x="1061" y="971"/>
                    </a:lnTo>
                    <a:lnTo>
                      <a:pt x="1063" y="969"/>
                    </a:lnTo>
                    <a:lnTo>
                      <a:pt x="1061" y="966"/>
                    </a:lnTo>
                    <a:lnTo>
                      <a:pt x="1058" y="965"/>
                    </a:lnTo>
                    <a:lnTo>
                      <a:pt x="1056" y="967"/>
                    </a:lnTo>
                    <a:lnTo>
                      <a:pt x="1050" y="968"/>
                    </a:lnTo>
                    <a:lnTo>
                      <a:pt x="1048" y="969"/>
                    </a:lnTo>
                    <a:lnTo>
                      <a:pt x="1047" y="967"/>
                    </a:lnTo>
                    <a:lnTo>
                      <a:pt x="1048" y="964"/>
                    </a:lnTo>
                    <a:lnTo>
                      <a:pt x="1047" y="964"/>
                    </a:lnTo>
                    <a:lnTo>
                      <a:pt x="1046" y="962"/>
                    </a:lnTo>
                    <a:lnTo>
                      <a:pt x="1050" y="961"/>
                    </a:lnTo>
                    <a:lnTo>
                      <a:pt x="1052" y="960"/>
                    </a:lnTo>
                    <a:lnTo>
                      <a:pt x="1051" y="958"/>
                    </a:lnTo>
                    <a:lnTo>
                      <a:pt x="1052" y="956"/>
                    </a:lnTo>
                    <a:lnTo>
                      <a:pt x="1058" y="954"/>
                    </a:lnTo>
                    <a:lnTo>
                      <a:pt x="1058" y="953"/>
                    </a:lnTo>
                    <a:lnTo>
                      <a:pt x="1058" y="952"/>
                    </a:lnTo>
                    <a:lnTo>
                      <a:pt x="1056" y="951"/>
                    </a:lnTo>
                    <a:lnTo>
                      <a:pt x="1054" y="946"/>
                    </a:lnTo>
                    <a:lnTo>
                      <a:pt x="1051" y="947"/>
                    </a:lnTo>
                    <a:lnTo>
                      <a:pt x="1050" y="946"/>
                    </a:lnTo>
                    <a:lnTo>
                      <a:pt x="1048" y="944"/>
                    </a:lnTo>
                    <a:lnTo>
                      <a:pt x="1045" y="944"/>
                    </a:lnTo>
                    <a:lnTo>
                      <a:pt x="1046" y="942"/>
                    </a:lnTo>
                    <a:lnTo>
                      <a:pt x="1044" y="942"/>
                    </a:lnTo>
                    <a:lnTo>
                      <a:pt x="1046" y="940"/>
                    </a:lnTo>
                    <a:lnTo>
                      <a:pt x="1044" y="940"/>
                    </a:lnTo>
                    <a:lnTo>
                      <a:pt x="1045" y="939"/>
                    </a:lnTo>
                    <a:lnTo>
                      <a:pt x="1045" y="938"/>
                    </a:lnTo>
                    <a:lnTo>
                      <a:pt x="1044" y="937"/>
                    </a:lnTo>
                    <a:lnTo>
                      <a:pt x="1044" y="935"/>
                    </a:lnTo>
                    <a:lnTo>
                      <a:pt x="1042" y="934"/>
                    </a:lnTo>
                    <a:lnTo>
                      <a:pt x="1042" y="933"/>
                    </a:lnTo>
                    <a:lnTo>
                      <a:pt x="1044" y="933"/>
                    </a:lnTo>
                    <a:lnTo>
                      <a:pt x="1048" y="932"/>
                    </a:lnTo>
                    <a:lnTo>
                      <a:pt x="1049" y="932"/>
                    </a:lnTo>
                    <a:lnTo>
                      <a:pt x="1053" y="930"/>
                    </a:lnTo>
                    <a:lnTo>
                      <a:pt x="1053" y="929"/>
                    </a:lnTo>
                    <a:lnTo>
                      <a:pt x="1051" y="926"/>
                    </a:lnTo>
                    <a:lnTo>
                      <a:pt x="1049" y="926"/>
                    </a:lnTo>
                    <a:lnTo>
                      <a:pt x="1049" y="925"/>
                    </a:lnTo>
                    <a:lnTo>
                      <a:pt x="1047" y="926"/>
                    </a:lnTo>
                    <a:lnTo>
                      <a:pt x="1046" y="924"/>
                    </a:lnTo>
                    <a:lnTo>
                      <a:pt x="1049" y="923"/>
                    </a:lnTo>
                    <a:lnTo>
                      <a:pt x="1048" y="921"/>
                    </a:lnTo>
                    <a:lnTo>
                      <a:pt x="1045" y="921"/>
                    </a:lnTo>
                    <a:lnTo>
                      <a:pt x="1043" y="923"/>
                    </a:lnTo>
                    <a:lnTo>
                      <a:pt x="1043" y="920"/>
                    </a:lnTo>
                    <a:lnTo>
                      <a:pt x="1042" y="918"/>
                    </a:lnTo>
                    <a:lnTo>
                      <a:pt x="1044" y="919"/>
                    </a:lnTo>
                    <a:lnTo>
                      <a:pt x="1045" y="918"/>
                    </a:lnTo>
                    <a:lnTo>
                      <a:pt x="1047" y="917"/>
                    </a:lnTo>
                    <a:lnTo>
                      <a:pt x="1047" y="915"/>
                    </a:lnTo>
                    <a:lnTo>
                      <a:pt x="1048" y="914"/>
                    </a:lnTo>
                    <a:lnTo>
                      <a:pt x="1051" y="914"/>
                    </a:lnTo>
                    <a:lnTo>
                      <a:pt x="1051" y="912"/>
                    </a:lnTo>
                    <a:lnTo>
                      <a:pt x="1052" y="911"/>
                    </a:lnTo>
                    <a:lnTo>
                      <a:pt x="1053" y="908"/>
                    </a:lnTo>
                    <a:lnTo>
                      <a:pt x="1051" y="908"/>
                    </a:lnTo>
                    <a:lnTo>
                      <a:pt x="1052" y="904"/>
                    </a:lnTo>
                    <a:lnTo>
                      <a:pt x="1054" y="903"/>
                    </a:lnTo>
                    <a:lnTo>
                      <a:pt x="1055" y="903"/>
                    </a:lnTo>
                    <a:lnTo>
                      <a:pt x="1055" y="902"/>
                    </a:lnTo>
                    <a:lnTo>
                      <a:pt x="1056" y="900"/>
                    </a:lnTo>
                    <a:lnTo>
                      <a:pt x="1055" y="898"/>
                    </a:lnTo>
                    <a:lnTo>
                      <a:pt x="1056" y="897"/>
                    </a:lnTo>
                    <a:lnTo>
                      <a:pt x="1056" y="899"/>
                    </a:lnTo>
                    <a:lnTo>
                      <a:pt x="1059" y="898"/>
                    </a:lnTo>
                    <a:lnTo>
                      <a:pt x="1059" y="899"/>
                    </a:lnTo>
                    <a:lnTo>
                      <a:pt x="1060" y="900"/>
                    </a:lnTo>
                    <a:lnTo>
                      <a:pt x="1062" y="898"/>
                    </a:lnTo>
                    <a:lnTo>
                      <a:pt x="1063" y="895"/>
                    </a:lnTo>
                    <a:lnTo>
                      <a:pt x="1068" y="894"/>
                    </a:lnTo>
                    <a:lnTo>
                      <a:pt x="1069" y="892"/>
                    </a:lnTo>
                    <a:lnTo>
                      <a:pt x="1071" y="892"/>
                    </a:lnTo>
                    <a:lnTo>
                      <a:pt x="1073" y="891"/>
                    </a:lnTo>
                    <a:lnTo>
                      <a:pt x="1075" y="891"/>
                    </a:lnTo>
                    <a:lnTo>
                      <a:pt x="1080" y="890"/>
                    </a:lnTo>
                    <a:lnTo>
                      <a:pt x="1080" y="889"/>
                    </a:lnTo>
                    <a:lnTo>
                      <a:pt x="1082" y="889"/>
                    </a:lnTo>
                    <a:lnTo>
                      <a:pt x="1083" y="885"/>
                    </a:lnTo>
                    <a:lnTo>
                      <a:pt x="1087" y="881"/>
                    </a:lnTo>
                    <a:lnTo>
                      <a:pt x="1095" y="881"/>
                    </a:lnTo>
                    <a:lnTo>
                      <a:pt x="1097" y="882"/>
                    </a:lnTo>
                    <a:lnTo>
                      <a:pt x="1100" y="887"/>
                    </a:lnTo>
                    <a:lnTo>
                      <a:pt x="1103" y="885"/>
                    </a:lnTo>
                    <a:lnTo>
                      <a:pt x="1103" y="882"/>
                    </a:lnTo>
                    <a:lnTo>
                      <a:pt x="1104" y="881"/>
                    </a:lnTo>
                    <a:lnTo>
                      <a:pt x="1105" y="879"/>
                    </a:lnTo>
                    <a:close/>
                    <a:moveTo>
                      <a:pt x="122" y="391"/>
                    </a:moveTo>
                    <a:lnTo>
                      <a:pt x="128" y="393"/>
                    </a:lnTo>
                    <a:lnTo>
                      <a:pt x="129" y="395"/>
                    </a:lnTo>
                    <a:lnTo>
                      <a:pt x="132" y="397"/>
                    </a:lnTo>
                    <a:lnTo>
                      <a:pt x="135" y="397"/>
                    </a:lnTo>
                    <a:lnTo>
                      <a:pt x="135" y="399"/>
                    </a:lnTo>
                    <a:lnTo>
                      <a:pt x="133" y="401"/>
                    </a:lnTo>
                    <a:lnTo>
                      <a:pt x="131" y="400"/>
                    </a:lnTo>
                    <a:lnTo>
                      <a:pt x="129" y="400"/>
                    </a:lnTo>
                    <a:lnTo>
                      <a:pt x="127" y="399"/>
                    </a:lnTo>
                    <a:lnTo>
                      <a:pt x="124" y="399"/>
                    </a:lnTo>
                    <a:lnTo>
                      <a:pt x="123" y="399"/>
                    </a:lnTo>
                    <a:lnTo>
                      <a:pt x="122" y="398"/>
                    </a:lnTo>
                    <a:lnTo>
                      <a:pt x="122" y="397"/>
                    </a:lnTo>
                    <a:lnTo>
                      <a:pt x="120" y="392"/>
                    </a:lnTo>
                    <a:lnTo>
                      <a:pt x="121" y="390"/>
                    </a:lnTo>
                    <a:lnTo>
                      <a:pt x="122" y="391"/>
                    </a:lnTo>
                    <a:close/>
                    <a:moveTo>
                      <a:pt x="189" y="463"/>
                    </a:moveTo>
                    <a:lnTo>
                      <a:pt x="188" y="460"/>
                    </a:lnTo>
                    <a:lnTo>
                      <a:pt x="190" y="459"/>
                    </a:lnTo>
                    <a:lnTo>
                      <a:pt x="195" y="461"/>
                    </a:lnTo>
                    <a:lnTo>
                      <a:pt x="197" y="463"/>
                    </a:lnTo>
                    <a:lnTo>
                      <a:pt x="194" y="463"/>
                    </a:lnTo>
                    <a:lnTo>
                      <a:pt x="193" y="463"/>
                    </a:lnTo>
                    <a:lnTo>
                      <a:pt x="189" y="463"/>
                    </a:lnTo>
                    <a:close/>
                    <a:moveTo>
                      <a:pt x="179" y="168"/>
                    </a:moveTo>
                    <a:lnTo>
                      <a:pt x="177" y="171"/>
                    </a:lnTo>
                    <a:lnTo>
                      <a:pt x="177" y="175"/>
                    </a:lnTo>
                    <a:lnTo>
                      <a:pt x="176" y="175"/>
                    </a:lnTo>
                    <a:lnTo>
                      <a:pt x="172" y="176"/>
                    </a:lnTo>
                    <a:lnTo>
                      <a:pt x="166" y="175"/>
                    </a:lnTo>
                    <a:lnTo>
                      <a:pt x="166" y="174"/>
                    </a:lnTo>
                    <a:lnTo>
                      <a:pt x="167" y="173"/>
                    </a:lnTo>
                    <a:lnTo>
                      <a:pt x="167" y="172"/>
                    </a:lnTo>
                    <a:lnTo>
                      <a:pt x="170" y="171"/>
                    </a:lnTo>
                    <a:lnTo>
                      <a:pt x="173" y="169"/>
                    </a:lnTo>
                    <a:lnTo>
                      <a:pt x="176" y="168"/>
                    </a:lnTo>
                    <a:lnTo>
                      <a:pt x="176" y="167"/>
                    </a:lnTo>
                    <a:lnTo>
                      <a:pt x="179" y="167"/>
                    </a:lnTo>
                    <a:lnTo>
                      <a:pt x="179" y="168"/>
                    </a:lnTo>
                    <a:close/>
                    <a:moveTo>
                      <a:pt x="212" y="193"/>
                    </a:moveTo>
                    <a:lnTo>
                      <a:pt x="213" y="195"/>
                    </a:lnTo>
                    <a:lnTo>
                      <a:pt x="215" y="195"/>
                    </a:lnTo>
                    <a:lnTo>
                      <a:pt x="217" y="196"/>
                    </a:lnTo>
                    <a:lnTo>
                      <a:pt x="217" y="198"/>
                    </a:lnTo>
                    <a:lnTo>
                      <a:pt x="217" y="199"/>
                    </a:lnTo>
                    <a:lnTo>
                      <a:pt x="216" y="200"/>
                    </a:lnTo>
                    <a:lnTo>
                      <a:pt x="216" y="203"/>
                    </a:lnTo>
                    <a:lnTo>
                      <a:pt x="213" y="203"/>
                    </a:lnTo>
                    <a:lnTo>
                      <a:pt x="211" y="201"/>
                    </a:lnTo>
                    <a:lnTo>
                      <a:pt x="210" y="201"/>
                    </a:lnTo>
                    <a:lnTo>
                      <a:pt x="210" y="200"/>
                    </a:lnTo>
                    <a:lnTo>
                      <a:pt x="208" y="199"/>
                    </a:lnTo>
                    <a:lnTo>
                      <a:pt x="205" y="200"/>
                    </a:lnTo>
                    <a:lnTo>
                      <a:pt x="205" y="202"/>
                    </a:lnTo>
                    <a:lnTo>
                      <a:pt x="204" y="202"/>
                    </a:lnTo>
                    <a:lnTo>
                      <a:pt x="204" y="201"/>
                    </a:lnTo>
                    <a:lnTo>
                      <a:pt x="202" y="201"/>
                    </a:lnTo>
                    <a:lnTo>
                      <a:pt x="200" y="201"/>
                    </a:lnTo>
                    <a:lnTo>
                      <a:pt x="201" y="198"/>
                    </a:lnTo>
                    <a:lnTo>
                      <a:pt x="199" y="194"/>
                    </a:lnTo>
                    <a:lnTo>
                      <a:pt x="200" y="193"/>
                    </a:lnTo>
                    <a:lnTo>
                      <a:pt x="204" y="194"/>
                    </a:lnTo>
                    <a:lnTo>
                      <a:pt x="206" y="193"/>
                    </a:lnTo>
                    <a:lnTo>
                      <a:pt x="212" y="193"/>
                    </a:lnTo>
                    <a:close/>
                    <a:moveTo>
                      <a:pt x="206" y="440"/>
                    </a:moveTo>
                    <a:lnTo>
                      <a:pt x="204" y="437"/>
                    </a:lnTo>
                    <a:lnTo>
                      <a:pt x="203" y="436"/>
                    </a:lnTo>
                    <a:lnTo>
                      <a:pt x="198" y="435"/>
                    </a:lnTo>
                    <a:lnTo>
                      <a:pt x="197" y="430"/>
                    </a:lnTo>
                    <a:lnTo>
                      <a:pt x="195" y="428"/>
                    </a:lnTo>
                    <a:lnTo>
                      <a:pt x="199" y="428"/>
                    </a:lnTo>
                    <a:lnTo>
                      <a:pt x="203" y="430"/>
                    </a:lnTo>
                    <a:lnTo>
                      <a:pt x="203" y="433"/>
                    </a:lnTo>
                    <a:lnTo>
                      <a:pt x="207" y="436"/>
                    </a:lnTo>
                    <a:lnTo>
                      <a:pt x="208" y="437"/>
                    </a:lnTo>
                    <a:lnTo>
                      <a:pt x="207" y="441"/>
                    </a:lnTo>
                    <a:lnTo>
                      <a:pt x="206" y="440"/>
                    </a:lnTo>
                    <a:close/>
                    <a:moveTo>
                      <a:pt x="273" y="520"/>
                    </a:moveTo>
                    <a:lnTo>
                      <a:pt x="266" y="517"/>
                    </a:lnTo>
                    <a:lnTo>
                      <a:pt x="263" y="515"/>
                    </a:lnTo>
                    <a:lnTo>
                      <a:pt x="257" y="515"/>
                    </a:lnTo>
                    <a:lnTo>
                      <a:pt x="255" y="514"/>
                    </a:lnTo>
                    <a:lnTo>
                      <a:pt x="253" y="511"/>
                    </a:lnTo>
                    <a:lnTo>
                      <a:pt x="259" y="510"/>
                    </a:lnTo>
                    <a:lnTo>
                      <a:pt x="260" y="512"/>
                    </a:lnTo>
                    <a:lnTo>
                      <a:pt x="257" y="511"/>
                    </a:lnTo>
                    <a:lnTo>
                      <a:pt x="257" y="512"/>
                    </a:lnTo>
                    <a:lnTo>
                      <a:pt x="260" y="514"/>
                    </a:lnTo>
                    <a:lnTo>
                      <a:pt x="262" y="513"/>
                    </a:lnTo>
                    <a:lnTo>
                      <a:pt x="262" y="512"/>
                    </a:lnTo>
                    <a:lnTo>
                      <a:pt x="264" y="512"/>
                    </a:lnTo>
                    <a:lnTo>
                      <a:pt x="263" y="513"/>
                    </a:lnTo>
                    <a:lnTo>
                      <a:pt x="263" y="514"/>
                    </a:lnTo>
                    <a:lnTo>
                      <a:pt x="269" y="514"/>
                    </a:lnTo>
                    <a:lnTo>
                      <a:pt x="274" y="516"/>
                    </a:lnTo>
                    <a:lnTo>
                      <a:pt x="277" y="520"/>
                    </a:lnTo>
                    <a:lnTo>
                      <a:pt x="273" y="520"/>
                    </a:lnTo>
                    <a:close/>
                    <a:moveTo>
                      <a:pt x="278" y="556"/>
                    </a:moveTo>
                    <a:lnTo>
                      <a:pt x="277" y="551"/>
                    </a:lnTo>
                    <a:lnTo>
                      <a:pt x="274" y="547"/>
                    </a:lnTo>
                    <a:lnTo>
                      <a:pt x="267" y="541"/>
                    </a:lnTo>
                    <a:lnTo>
                      <a:pt x="267" y="539"/>
                    </a:lnTo>
                    <a:lnTo>
                      <a:pt x="268" y="537"/>
                    </a:lnTo>
                    <a:lnTo>
                      <a:pt x="265" y="533"/>
                    </a:lnTo>
                    <a:lnTo>
                      <a:pt x="265" y="531"/>
                    </a:lnTo>
                    <a:lnTo>
                      <a:pt x="269" y="532"/>
                    </a:lnTo>
                    <a:lnTo>
                      <a:pt x="274" y="537"/>
                    </a:lnTo>
                    <a:lnTo>
                      <a:pt x="277" y="537"/>
                    </a:lnTo>
                    <a:lnTo>
                      <a:pt x="278" y="539"/>
                    </a:lnTo>
                    <a:lnTo>
                      <a:pt x="278" y="541"/>
                    </a:lnTo>
                    <a:lnTo>
                      <a:pt x="279" y="543"/>
                    </a:lnTo>
                    <a:lnTo>
                      <a:pt x="279" y="544"/>
                    </a:lnTo>
                    <a:lnTo>
                      <a:pt x="282" y="547"/>
                    </a:lnTo>
                    <a:lnTo>
                      <a:pt x="283" y="549"/>
                    </a:lnTo>
                    <a:lnTo>
                      <a:pt x="281" y="555"/>
                    </a:lnTo>
                    <a:lnTo>
                      <a:pt x="280" y="556"/>
                    </a:lnTo>
                    <a:lnTo>
                      <a:pt x="280" y="557"/>
                    </a:lnTo>
                    <a:lnTo>
                      <a:pt x="279" y="556"/>
                    </a:lnTo>
                    <a:lnTo>
                      <a:pt x="278" y="556"/>
                    </a:lnTo>
                    <a:close/>
                    <a:moveTo>
                      <a:pt x="102" y="363"/>
                    </a:moveTo>
                    <a:lnTo>
                      <a:pt x="106" y="363"/>
                    </a:lnTo>
                    <a:lnTo>
                      <a:pt x="107" y="364"/>
                    </a:lnTo>
                    <a:lnTo>
                      <a:pt x="107" y="365"/>
                    </a:lnTo>
                    <a:lnTo>
                      <a:pt x="104" y="365"/>
                    </a:lnTo>
                    <a:lnTo>
                      <a:pt x="100" y="363"/>
                    </a:lnTo>
                    <a:lnTo>
                      <a:pt x="102" y="363"/>
                    </a:lnTo>
                    <a:close/>
                  </a:path>
                </a:pathLst>
              </a:custGeom>
              <a:solidFill>
                <a:schemeClr val="tx1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63" name="United Kingdom">
                <a:extLst>
                  <a:ext uri="{FF2B5EF4-FFF2-40B4-BE49-F238E27FC236}">
                    <a16:creationId xmlns:a16="http://schemas.microsoft.com/office/drawing/2014/main" id="{A5879C78-2462-488B-A176-44231C96C6AB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3123909" y="2095878"/>
                <a:ext cx="869076" cy="1465246"/>
              </a:xfrm>
              <a:custGeom>
                <a:avLst/>
                <a:gdLst>
                  <a:gd name="T0" fmla="*/ 612 w 776"/>
                  <a:gd name="T1" fmla="*/ 750 h 1148"/>
                  <a:gd name="T2" fmla="*/ 532 w 776"/>
                  <a:gd name="T3" fmla="*/ 626 h 1148"/>
                  <a:gd name="T4" fmla="*/ 376 w 776"/>
                  <a:gd name="T5" fmla="*/ 511 h 1148"/>
                  <a:gd name="T6" fmla="*/ 442 w 776"/>
                  <a:gd name="T7" fmla="*/ 444 h 1148"/>
                  <a:gd name="T8" fmla="*/ 323 w 776"/>
                  <a:gd name="T9" fmla="*/ 346 h 1148"/>
                  <a:gd name="T10" fmla="*/ 326 w 776"/>
                  <a:gd name="T11" fmla="*/ 305 h 1148"/>
                  <a:gd name="T12" fmla="*/ 303 w 776"/>
                  <a:gd name="T13" fmla="*/ 243 h 1148"/>
                  <a:gd name="T14" fmla="*/ 239 w 776"/>
                  <a:gd name="T15" fmla="*/ 271 h 1148"/>
                  <a:gd name="T16" fmla="*/ 228 w 776"/>
                  <a:gd name="T17" fmla="*/ 314 h 1148"/>
                  <a:gd name="T18" fmla="*/ 189 w 776"/>
                  <a:gd name="T19" fmla="*/ 348 h 1148"/>
                  <a:gd name="T20" fmla="*/ 194 w 776"/>
                  <a:gd name="T21" fmla="*/ 402 h 1148"/>
                  <a:gd name="T22" fmla="*/ 186 w 776"/>
                  <a:gd name="T23" fmla="*/ 438 h 1148"/>
                  <a:gd name="T24" fmla="*/ 214 w 776"/>
                  <a:gd name="T25" fmla="*/ 459 h 1148"/>
                  <a:gd name="T26" fmla="*/ 195 w 776"/>
                  <a:gd name="T27" fmla="*/ 528 h 1148"/>
                  <a:gd name="T28" fmla="*/ 220 w 776"/>
                  <a:gd name="T29" fmla="*/ 508 h 1148"/>
                  <a:gd name="T30" fmla="*/ 260 w 776"/>
                  <a:gd name="T31" fmla="*/ 505 h 1148"/>
                  <a:gd name="T32" fmla="*/ 251 w 776"/>
                  <a:gd name="T33" fmla="*/ 648 h 1148"/>
                  <a:gd name="T34" fmla="*/ 339 w 776"/>
                  <a:gd name="T35" fmla="*/ 632 h 1148"/>
                  <a:gd name="T36" fmla="*/ 388 w 776"/>
                  <a:gd name="T37" fmla="*/ 698 h 1148"/>
                  <a:gd name="T38" fmla="*/ 411 w 776"/>
                  <a:gd name="T39" fmla="*/ 795 h 1148"/>
                  <a:gd name="T40" fmla="*/ 312 w 776"/>
                  <a:gd name="T41" fmla="*/ 837 h 1148"/>
                  <a:gd name="T42" fmla="*/ 234 w 776"/>
                  <a:gd name="T43" fmla="*/ 938 h 1148"/>
                  <a:gd name="T44" fmla="*/ 300 w 776"/>
                  <a:gd name="T45" fmla="*/ 961 h 1148"/>
                  <a:gd name="T46" fmla="*/ 442 w 776"/>
                  <a:gd name="T47" fmla="*/ 963 h 1148"/>
                  <a:gd name="T48" fmla="*/ 272 w 776"/>
                  <a:gd name="T49" fmla="*/ 1070 h 1148"/>
                  <a:gd name="T50" fmla="*/ 240 w 776"/>
                  <a:gd name="T51" fmla="*/ 1132 h 1148"/>
                  <a:gd name="T52" fmla="*/ 360 w 776"/>
                  <a:gd name="T53" fmla="*/ 1109 h 1148"/>
                  <a:gd name="T54" fmla="*/ 486 w 776"/>
                  <a:gd name="T55" fmla="*/ 1071 h 1148"/>
                  <a:gd name="T56" fmla="*/ 579 w 776"/>
                  <a:gd name="T57" fmla="*/ 1067 h 1148"/>
                  <a:gd name="T58" fmla="*/ 686 w 776"/>
                  <a:gd name="T59" fmla="*/ 993 h 1148"/>
                  <a:gd name="T60" fmla="*/ 735 w 776"/>
                  <a:gd name="T61" fmla="*/ 937 h 1148"/>
                  <a:gd name="T62" fmla="*/ 198 w 776"/>
                  <a:gd name="T63" fmla="*/ 674 h 1148"/>
                  <a:gd name="T64" fmla="*/ 172 w 776"/>
                  <a:gd name="T65" fmla="*/ 611 h 1148"/>
                  <a:gd name="T66" fmla="*/ 0 w 776"/>
                  <a:gd name="T67" fmla="*/ 673 h 1148"/>
                  <a:gd name="T68" fmla="*/ 149 w 776"/>
                  <a:gd name="T69" fmla="*/ 712 h 1148"/>
                  <a:gd name="T70" fmla="*/ 270 w 776"/>
                  <a:gd name="T71" fmla="*/ 713 h 1148"/>
                  <a:gd name="T72" fmla="*/ 521 w 776"/>
                  <a:gd name="T73" fmla="*/ 1073 h 1148"/>
                  <a:gd name="T74" fmla="*/ 74 w 776"/>
                  <a:gd name="T75" fmla="*/ 349 h 1148"/>
                  <a:gd name="T76" fmla="*/ 138 w 776"/>
                  <a:gd name="T77" fmla="*/ 476 h 1148"/>
                  <a:gd name="T78" fmla="*/ 55 w 776"/>
                  <a:gd name="T79" fmla="*/ 403 h 1148"/>
                  <a:gd name="T80" fmla="*/ 154 w 776"/>
                  <a:gd name="T81" fmla="*/ 500 h 1148"/>
                  <a:gd name="T82" fmla="*/ 406 w 776"/>
                  <a:gd name="T83" fmla="*/ 177 h 1148"/>
                  <a:gd name="T84" fmla="*/ 428 w 776"/>
                  <a:gd name="T85" fmla="*/ 171 h 1148"/>
                  <a:gd name="T86" fmla="*/ 94 w 776"/>
                  <a:gd name="T87" fmla="*/ 463 h 1148"/>
                  <a:gd name="T88" fmla="*/ 77 w 776"/>
                  <a:gd name="T89" fmla="*/ 347 h 1148"/>
                  <a:gd name="T90" fmla="*/ 370 w 776"/>
                  <a:gd name="T91" fmla="*/ 207 h 1148"/>
                  <a:gd name="T92" fmla="*/ 395 w 776"/>
                  <a:gd name="T93" fmla="*/ 194 h 1148"/>
                  <a:gd name="T94" fmla="*/ 171 w 776"/>
                  <a:gd name="T95" fmla="*/ 346 h 1148"/>
                  <a:gd name="T96" fmla="*/ 135 w 776"/>
                  <a:gd name="T97" fmla="*/ 371 h 1148"/>
                  <a:gd name="T98" fmla="*/ 144 w 776"/>
                  <a:gd name="T99" fmla="*/ 355 h 1148"/>
                  <a:gd name="T100" fmla="*/ 412 w 776"/>
                  <a:gd name="T101" fmla="*/ 157 h 1148"/>
                  <a:gd name="T102" fmla="*/ 154 w 776"/>
                  <a:gd name="T103" fmla="*/ 274 h 1148"/>
                  <a:gd name="T104" fmla="*/ 105 w 776"/>
                  <a:gd name="T105" fmla="*/ 313 h 1148"/>
                  <a:gd name="T106" fmla="*/ 94 w 776"/>
                  <a:gd name="T107" fmla="*/ 278 h 1148"/>
                  <a:gd name="T108" fmla="*/ 181 w 776"/>
                  <a:gd name="T109" fmla="*/ 475 h 1148"/>
                  <a:gd name="T110" fmla="*/ 181 w 776"/>
                  <a:gd name="T111" fmla="*/ 458 h 1148"/>
                  <a:gd name="T112" fmla="*/ 163 w 776"/>
                  <a:gd name="T113" fmla="*/ 549 h 1148"/>
                  <a:gd name="T114" fmla="*/ 242 w 776"/>
                  <a:gd name="T115" fmla="*/ 567 h 1148"/>
                  <a:gd name="T116" fmla="*/ 569 w 776"/>
                  <a:gd name="T117" fmla="*/ 6 h 1148"/>
                  <a:gd name="T118" fmla="*/ 555 w 776"/>
                  <a:gd name="T119" fmla="*/ 19 h 1148"/>
                  <a:gd name="T120" fmla="*/ 527 w 776"/>
                  <a:gd name="T121" fmla="*/ 25 h 1148"/>
                  <a:gd name="T122" fmla="*/ 511 w 776"/>
                  <a:gd name="T123" fmla="*/ 67 h 1148"/>
                  <a:gd name="T124" fmla="*/ 545 w 776"/>
                  <a:gd name="T125" fmla="*/ 86 h 114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776"/>
                  <a:gd name="T190" fmla="*/ 0 h 1148"/>
                  <a:gd name="T191" fmla="*/ 776 w 776"/>
                  <a:gd name="T192" fmla="*/ 1148 h 1148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776" h="1148">
                    <a:moveTo>
                      <a:pt x="774" y="874"/>
                    </a:moveTo>
                    <a:lnTo>
                      <a:pt x="775" y="871"/>
                    </a:lnTo>
                    <a:lnTo>
                      <a:pt x="774" y="867"/>
                    </a:lnTo>
                    <a:lnTo>
                      <a:pt x="771" y="857"/>
                    </a:lnTo>
                    <a:lnTo>
                      <a:pt x="769" y="854"/>
                    </a:lnTo>
                    <a:lnTo>
                      <a:pt x="767" y="851"/>
                    </a:lnTo>
                    <a:lnTo>
                      <a:pt x="745" y="837"/>
                    </a:lnTo>
                    <a:lnTo>
                      <a:pt x="738" y="834"/>
                    </a:lnTo>
                    <a:lnTo>
                      <a:pt x="724" y="832"/>
                    </a:lnTo>
                    <a:lnTo>
                      <a:pt x="717" y="830"/>
                    </a:lnTo>
                    <a:lnTo>
                      <a:pt x="714" y="831"/>
                    </a:lnTo>
                    <a:lnTo>
                      <a:pt x="717" y="831"/>
                    </a:lnTo>
                    <a:lnTo>
                      <a:pt x="714" y="832"/>
                    </a:lnTo>
                    <a:lnTo>
                      <a:pt x="709" y="832"/>
                    </a:lnTo>
                    <a:lnTo>
                      <a:pt x="707" y="830"/>
                    </a:lnTo>
                    <a:lnTo>
                      <a:pt x="704" y="831"/>
                    </a:lnTo>
                    <a:lnTo>
                      <a:pt x="699" y="831"/>
                    </a:lnTo>
                    <a:lnTo>
                      <a:pt x="695" y="831"/>
                    </a:lnTo>
                    <a:lnTo>
                      <a:pt x="689" y="831"/>
                    </a:lnTo>
                    <a:lnTo>
                      <a:pt x="685" y="831"/>
                    </a:lnTo>
                    <a:lnTo>
                      <a:pt x="682" y="830"/>
                    </a:lnTo>
                    <a:lnTo>
                      <a:pt x="680" y="830"/>
                    </a:lnTo>
                    <a:lnTo>
                      <a:pt x="679" y="832"/>
                    </a:lnTo>
                    <a:lnTo>
                      <a:pt x="677" y="833"/>
                    </a:lnTo>
                    <a:lnTo>
                      <a:pt x="673" y="841"/>
                    </a:lnTo>
                    <a:lnTo>
                      <a:pt x="672" y="845"/>
                    </a:lnTo>
                    <a:lnTo>
                      <a:pt x="668" y="849"/>
                    </a:lnTo>
                    <a:lnTo>
                      <a:pt x="668" y="851"/>
                    </a:lnTo>
                    <a:lnTo>
                      <a:pt x="666" y="850"/>
                    </a:lnTo>
                    <a:lnTo>
                      <a:pt x="663" y="848"/>
                    </a:lnTo>
                    <a:lnTo>
                      <a:pt x="656" y="848"/>
                    </a:lnTo>
                    <a:lnTo>
                      <a:pt x="651" y="842"/>
                    </a:lnTo>
                    <a:lnTo>
                      <a:pt x="645" y="838"/>
                    </a:lnTo>
                    <a:lnTo>
                      <a:pt x="638" y="839"/>
                    </a:lnTo>
                    <a:lnTo>
                      <a:pt x="640" y="837"/>
                    </a:lnTo>
                    <a:lnTo>
                      <a:pt x="640" y="836"/>
                    </a:lnTo>
                    <a:lnTo>
                      <a:pt x="643" y="835"/>
                    </a:lnTo>
                    <a:lnTo>
                      <a:pt x="645" y="832"/>
                    </a:lnTo>
                    <a:lnTo>
                      <a:pt x="651" y="825"/>
                    </a:lnTo>
                    <a:lnTo>
                      <a:pt x="661" y="818"/>
                    </a:lnTo>
                    <a:lnTo>
                      <a:pt x="664" y="818"/>
                    </a:lnTo>
                    <a:lnTo>
                      <a:pt x="665" y="817"/>
                    </a:lnTo>
                    <a:lnTo>
                      <a:pt x="665" y="813"/>
                    </a:lnTo>
                    <a:lnTo>
                      <a:pt x="666" y="810"/>
                    </a:lnTo>
                    <a:lnTo>
                      <a:pt x="665" y="806"/>
                    </a:lnTo>
                    <a:lnTo>
                      <a:pt x="665" y="805"/>
                    </a:lnTo>
                    <a:lnTo>
                      <a:pt x="665" y="802"/>
                    </a:lnTo>
                    <a:lnTo>
                      <a:pt x="657" y="785"/>
                    </a:lnTo>
                    <a:lnTo>
                      <a:pt x="655" y="784"/>
                    </a:lnTo>
                    <a:lnTo>
                      <a:pt x="655" y="783"/>
                    </a:lnTo>
                    <a:lnTo>
                      <a:pt x="652" y="781"/>
                    </a:lnTo>
                    <a:lnTo>
                      <a:pt x="651" y="779"/>
                    </a:lnTo>
                    <a:lnTo>
                      <a:pt x="649" y="777"/>
                    </a:lnTo>
                    <a:lnTo>
                      <a:pt x="647" y="777"/>
                    </a:lnTo>
                    <a:lnTo>
                      <a:pt x="644" y="775"/>
                    </a:lnTo>
                    <a:lnTo>
                      <a:pt x="643" y="774"/>
                    </a:lnTo>
                    <a:lnTo>
                      <a:pt x="640" y="773"/>
                    </a:lnTo>
                    <a:lnTo>
                      <a:pt x="634" y="767"/>
                    </a:lnTo>
                    <a:lnTo>
                      <a:pt x="630" y="767"/>
                    </a:lnTo>
                    <a:lnTo>
                      <a:pt x="622" y="760"/>
                    </a:lnTo>
                    <a:lnTo>
                      <a:pt x="616" y="753"/>
                    </a:lnTo>
                    <a:lnTo>
                      <a:pt x="605" y="755"/>
                    </a:lnTo>
                    <a:lnTo>
                      <a:pt x="603" y="754"/>
                    </a:lnTo>
                    <a:lnTo>
                      <a:pt x="597" y="756"/>
                    </a:lnTo>
                    <a:lnTo>
                      <a:pt x="593" y="755"/>
                    </a:lnTo>
                    <a:lnTo>
                      <a:pt x="590" y="753"/>
                    </a:lnTo>
                    <a:lnTo>
                      <a:pt x="584" y="755"/>
                    </a:lnTo>
                    <a:lnTo>
                      <a:pt x="581" y="754"/>
                    </a:lnTo>
                    <a:lnTo>
                      <a:pt x="589" y="751"/>
                    </a:lnTo>
                    <a:lnTo>
                      <a:pt x="595" y="753"/>
                    </a:lnTo>
                    <a:lnTo>
                      <a:pt x="606" y="753"/>
                    </a:lnTo>
                    <a:lnTo>
                      <a:pt x="612" y="750"/>
                    </a:lnTo>
                    <a:lnTo>
                      <a:pt x="616" y="750"/>
                    </a:lnTo>
                    <a:lnTo>
                      <a:pt x="619" y="751"/>
                    </a:lnTo>
                    <a:lnTo>
                      <a:pt x="621" y="753"/>
                    </a:lnTo>
                    <a:lnTo>
                      <a:pt x="631" y="761"/>
                    </a:lnTo>
                    <a:lnTo>
                      <a:pt x="634" y="761"/>
                    </a:lnTo>
                    <a:lnTo>
                      <a:pt x="641" y="760"/>
                    </a:lnTo>
                    <a:lnTo>
                      <a:pt x="646" y="761"/>
                    </a:lnTo>
                    <a:lnTo>
                      <a:pt x="649" y="764"/>
                    </a:lnTo>
                    <a:lnTo>
                      <a:pt x="647" y="767"/>
                    </a:lnTo>
                    <a:lnTo>
                      <a:pt x="649" y="765"/>
                    </a:lnTo>
                    <a:lnTo>
                      <a:pt x="650" y="763"/>
                    </a:lnTo>
                    <a:lnTo>
                      <a:pt x="648" y="759"/>
                    </a:lnTo>
                    <a:lnTo>
                      <a:pt x="635" y="744"/>
                    </a:lnTo>
                    <a:lnTo>
                      <a:pt x="633" y="741"/>
                    </a:lnTo>
                    <a:lnTo>
                      <a:pt x="628" y="736"/>
                    </a:lnTo>
                    <a:lnTo>
                      <a:pt x="624" y="730"/>
                    </a:lnTo>
                    <a:lnTo>
                      <a:pt x="624" y="725"/>
                    </a:lnTo>
                    <a:lnTo>
                      <a:pt x="621" y="721"/>
                    </a:lnTo>
                    <a:lnTo>
                      <a:pt x="622" y="717"/>
                    </a:lnTo>
                    <a:lnTo>
                      <a:pt x="624" y="713"/>
                    </a:lnTo>
                    <a:lnTo>
                      <a:pt x="631" y="711"/>
                    </a:lnTo>
                    <a:lnTo>
                      <a:pt x="632" y="709"/>
                    </a:lnTo>
                    <a:lnTo>
                      <a:pt x="619" y="705"/>
                    </a:lnTo>
                    <a:lnTo>
                      <a:pt x="617" y="703"/>
                    </a:lnTo>
                    <a:lnTo>
                      <a:pt x="616" y="701"/>
                    </a:lnTo>
                    <a:lnTo>
                      <a:pt x="617" y="700"/>
                    </a:lnTo>
                    <a:lnTo>
                      <a:pt x="616" y="699"/>
                    </a:lnTo>
                    <a:lnTo>
                      <a:pt x="613" y="697"/>
                    </a:lnTo>
                    <a:lnTo>
                      <a:pt x="611" y="697"/>
                    </a:lnTo>
                    <a:lnTo>
                      <a:pt x="608" y="695"/>
                    </a:lnTo>
                    <a:lnTo>
                      <a:pt x="607" y="693"/>
                    </a:lnTo>
                    <a:lnTo>
                      <a:pt x="608" y="692"/>
                    </a:lnTo>
                    <a:lnTo>
                      <a:pt x="606" y="692"/>
                    </a:lnTo>
                    <a:lnTo>
                      <a:pt x="606" y="691"/>
                    </a:lnTo>
                    <a:lnTo>
                      <a:pt x="605" y="689"/>
                    </a:lnTo>
                    <a:lnTo>
                      <a:pt x="605" y="687"/>
                    </a:lnTo>
                    <a:lnTo>
                      <a:pt x="605" y="686"/>
                    </a:lnTo>
                    <a:lnTo>
                      <a:pt x="604" y="686"/>
                    </a:lnTo>
                    <a:lnTo>
                      <a:pt x="603" y="682"/>
                    </a:lnTo>
                    <a:lnTo>
                      <a:pt x="600" y="679"/>
                    </a:lnTo>
                    <a:lnTo>
                      <a:pt x="598" y="678"/>
                    </a:lnTo>
                    <a:lnTo>
                      <a:pt x="598" y="674"/>
                    </a:lnTo>
                    <a:lnTo>
                      <a:pt x="594" y="671"/>
                    </a:lnTo>
                    <a:lnTo>
                      <a:pt x="589" y="670"/>
                    </a:lnTo>
                    <a:lnTo>
                      <a:pt x="585" y="667"/>
                    </a:lnTo>
                    <a:lnTo>
                      <a:pt x="581" y="666"/>
                    </a:lnTo>
                    <a:lnTo>
                      <a:pt x="577" y="663"/>
                    </a:lnTo>
                    <a:lnTo>
                      <a:pt x="572" y="661"/>
                    </a:lnTo>
                    <a:lnTo>
                      <a:pt x="568" y="661"/>
                    </a:lnTo>
                    <a:lnTo>
                      <a:pt x="566" y="660"/>
                    </a:lnTo>
                    <a:lnTo>
                      <a:pt x="561" y="660"/>
                    </a:lnTo>
                    <a:lnTo>
                      <a:pt x="556" y="656"/>
                    </a:lnTo>
                    <a:lnTo>
                      <a:pt x="550" y="654"/>
                    </a:lnTo>
                    <a:lnTo>
                      <a:pt x="549" y="656"/>
                    </a:lnTo>
                    <a:lnTo>
                      <a:pt x="549" y="657"/>
                    </a:lnTo>
                    <a:lnTo>
                      <a:pt x="549" y="658"/>
                    </a:lnTo>
                    <a:lnTo>
                      <a:pt x="546" y="658"/>
                    </a:lnTo>
                    <a:lnTo>
                      <a:pt x="545" y="656"/>
                    </a:lnTo>
                    <a:lnTo>
                      <a:pt x="546" y="654"/>
                    </a:lnTo>
                    <a:lnTo>
                      <a:pt x="547" y="653"/>
                    </a:lnTo>
                    <a:lnTo>
                      <a:pt x="546" y="652"/>
                    </a:lnTo>
                    <a:lnTo>
                      <a:pt x="545" y="649"/>
                    </a:lnTo>
                    <a:lnTo>
                      <a:pt x="547" y="648"/>
                    </a:lnTo>
                    <a:lnTo>
                      <a:pt x="540" y="645"/>
                    </a:lnTo>
                    <a:lnTo>
                      <a:pt x="539" y="643"/>
                    </a:lnTo>
                    <a:lnTo>
                      <a:pt x="536" y="640"/>
                    </a:lnTo>
                    <a:lnTo>
                      <a:pt x="536" y="637"/>
                    </a:lnTo>
                    <a:lnTo>
                      <a:pt x="533" y="630"/>
                    </a:lnTo>
                    <a:lnTo>
                      <a:pt x="532" y="628"/>
                    </a:lnTo>
                    <a:lnTo>
                      <a:pt x="532" y="626"/>
                    </a:lnTo>
                    <a:lnTo>
                      <a:pt x="531" y="624"/>
                    </a:lnTo>
                    <a:lnTo>
                      <a:pt x="532" y="620"/>
                    </a:lnTo>
                    <a:lnTo>
                      <a:pt x="527" y="616"/>
                    </a:lnTo>
                    <a:lnTo>
                      <a:pt x="526" y="613"/>
                    </a:lnTo>
                    <a:lnTo>
                      <a:pt x="524" y="610"/>
                    </a:lnTo>
                    <a:lnTo>
                      <a:pt x="524" y="608"/>
                    </a:lnTo>
                    <a:lnTo>
                      <a:pt x="522" y="608"/>
                    </a:lnTo>
                    <a:lnTo>
                      <a:pt x="521" y="602"/>
                    </a:lnTo>
                    <a:lnTo>
                      <a:pt x="519" y="600"/>
                    </a:lnTo>
                    <a:lnTo>
                      <a:pt x="519" y="598"/>
                    </a:lnTo>
                    <a:lnTo>
                      <a:pt x="520" y="596"/>
                    </a:lnTo>
                    <a:lnTo>
                      <a:pt x="518" y="594"/>
                    </a:lnTo>
                    <a:lnTo>
                      <a:pt x="519" y="592"/>
                    </a:lnTo>
                    <a:lnTo>
                      <a:pt x="516" y="589"/>
                    </a:lnTo>
                    <a:lnTo>
                      <a:pt x="515" y="587"/>
                    </a:lnTo>
                    <a:lnTo>
                      <a:pt x="517" y="582"/>
                    </a:lnTo>
                    <a:lnTo>
                      <a:pt x="514" y="580"/>
                    </a:lnTo>
                    <a:lnTo>
                      <a:pt x="513" y="575"/>
                    </a:lnTo>
                    <a:lnTo>
                      <a:pt x="515" y="572"/>
                    </a:lnTo>
                    <a:lnTo>
                      <a:pt x="514" y="569"/>
                    </a:lnTo>
                    <a:lnTo>
                      <a:pt x="514" y="565"/>
                    </a:lnTo>
                    <a:lnTo>
                      <a:pt x="512" y="563"/>
                    </a:lnTo>
                    <a:lnTo>
                      <a:pt x="512" y="561"/>
                    </a:lnTo>
                    <a:lnTo>
                      <a:pt x="511" y="560"/>
                    </a:lnTo>
                    <a:lnTo>
                      <a:pt x="511" y="558"/>
                    </a:lnTo>
                    <a:lnTo>
                      <a:pt x="509" y="556"/>
                    </a:lnTo>
                    <a:lnTo>
                      <a:pt x="510" y="555"/>
                    </a:lnTo>
                    <a:lnTo>
                      <a:pt x="503" y="551"/>
                    </a:lnTo>
                    <a:lnTo>
                      <a:pt x="500" y="552"/>
                    </a:lnTo>
                    <a:lnTo>
                      <a:pt x="500" y="551"/>
                    </a:lnTo>
                    <a:lnTo>
                      <a:pt x="502" y="551"/>
                    </a:lnTo>
                    <a:lnTo>
                      <a:pt x="502" y="550"/>
                    </a:lnTo>
                    <a:lnTo>
                      <a:pt x="498" y="547"/>
                    </a:lnTo>
                    <a:lnTo>
                      <a:pt x="497" y="549"/>
                    </a:lnTo>
                    <a:lnTo>
                      <a:pt x="495" y="549"/>
                    </a:lnTo>
                    <a:lnTo>
                      <a:pt x="493" y="547"/>
                    </a:lnTo>
                    <a:lnTo>
                      <a:pt x="491" y="543"/>
                    </a:lnTo>
                    <a:lnTo>
                      <a:pt x="484" y="537"/>
                    </a:lnTo>
                    <a:lnTo>
                      <a:pt x="480" y="531"/>
                    </a:lnTo>
                    <a:lnTo>
                      <a:pt x="476" y="527"/>
                    </a:lnTo>
                    <a:lnTo>
                      <a:pt x="476" y="524"/>
                    </a:lnTo>
                    <a:lnTo>
                      <a:pt x="471" y="523"/>
                    </a:lnTo>
                    <a:lnTo>
                      <a:pt x="471" y="521"/>
                    </a:lnTo>
                    <a:lnTo>
                      <a:pt x="465" y="518"/>
                    </a:lnTo>
                    <a:lnTo>
                      <a:pt x="463" y="518"/>
                    </a:lnTo>
                    <a:lnTo>
                      <a:pt x="462" y="519"/>
                    </a:lnTo>
                    <a:lnTo>
                      <a:pt x="457" y="518"/>
                    </a:lnTo>
                    <a:lnTo>
                      <a:pt x="448" y="513"/>
                    </a:lnTo>
                    <a:lnTo>
                      <a:pt x="442" y="511"/>
                    </a:lnTo>
                    <a:lnTo>
                      <a:pt x="440" y="511"/>
                    </a:lnTo>
                    <a:lnTo>
                      <a:pt x="439" y="511"/>
                    </a:lnTo>
                    <a:lnTo>
                      <a:pt x="437" y="511"/>
                    </a:lnTo>
                    <a:lnTo>
                      <a:pt x="436" y="511"/>
                    </a:lnTo>
                    <a:lnTo>
                      <a:pt x="437" y="508"/>
                    </a:lnTo>
                    <a:lnTo>
                      <a:pt x="435" y="506"/>
                    </a:lnTo>
                    <a:lnTo>
                      <a:pt x="430" y="505"/>
                    </a:lnTo>
                    <a:lnTo>
                      <a:pt x="425" y="504"/>
                    </a:lnTo>
                    <a:lnTo>
                      <a:pt x="423" y="505"/>
                    </a:lnTo>
                    <a:lnTo>
                      <a:pt x="419" y="505"/>
                    </a:lnTo>
                    <a:lnTo>
                      <a:pt x="417" y="506"/>
                    </a:lnTo>
                    <a:lnTo>
                      <a:pt x="416" y="507"/>
                    </a:lnTo>
                    <a:lnTo>
                      <a:pt x="414" y="507"/>
                    </a:lnTo>
                    <a:lnTo>
                      <a:pt x="415" y="510"/>
                    </a:lnTo>
                    <a:lnTo>
                      <a:pt x="413" y="510"/>
                    </a:lnTo>
                    <a:lnTo>
                      <a:pt x="413" y="512"/>
                    </a:lnTo>
                    <a:lnTo>
                      <a:pt x="411" y="514"/>
                    </a:lnTo>
                    <a:lnTo>
                      <a:pt x="407" y="514"/>
                    </a:lnTo>
                    <a:lnTo>
                      <a:pt x="403" y="517"/>
                    </a:lnTo>
                    <a:lnTo>
                      <a:pt x="398" y="517"/>
                    </a:lnTo>
                    <a:lnTo>
                      <a:pt x="392" y="513"/>
                    </a:lnTo>
                    <a:lnTo>
                      <a:pt x="381" y="513"/>
                    </a:lnTo>
                    <a:lnTo>
                      <a:pt x="376" y="511"/>
                    </a:lnTo>
                    <a:lnTo>
                      <a:pt x="375" y="512"/>
                    </a:lnTo>
                    <a:lnTo>
                      <a:pt x="366" y="511"/>
                    </a:lnTo>
                    <a:lnTo>
                      <a:pt x="364" y="510"/>
                    </a:lnTo>
                    <a:lnTo>
                      <a:pt x="361" y="510"/>
                    </a:lnTo>
                    <a:lnTo>
                      <a:pt x="358" y="509"/>
                    </a:lnTo>
                    <a:lnTo>
                      <a:pt x="352" y="510"/>
                    </a:lnTo>
                    <a:lnTo>
                      <a:pt x="350" y="508"/>
                    </a:lnTo>
                    <a:lnTo>
                      <a:pt x="350" y="507"/>
                    </a:lnTo>
                    <a:lnTo>
                      <a:pt x="349" y="506"/>
                    </a:lnTo>
                    <a:lnTo>
                      <a:pt x="350" y="505"/>
                    </a:lnTo>
                    <a:lnTo>
                      <a:pt x="358" y="505"/>
                    </a:lnTo>
                    <a:lnTo>
                      <a:pt x="362" y="507"/>
                    </a:lnTo>
                    <a:lnTo>
                      <a:pt x="364" y="506"/>
                    </a:lnTo>
                    <a:lnTo>
                      <a:pt x="365" y="508"/>
                    </a:lnTo>
                    <a:lnTo>
                      <a:pt x="373" y="509"/>
                    </a:lnTo>
                    <a:lnTo>
                      <a:pt x="374" y="508"/>
                    </a:lnTo>
                    <a:lnTo>
                      <a:pt x="377" y="508"/>
                    </a:lnTo>
                    <a:lnTo>
                      <a:pt x="384" y="505"/>
                    </a:lnTo>
                    <a:lnTo>
                      <a:pt x="390" y="505"/>
                    </a:lnTo>
                    <a:lnTo>
                      <a:pt x="392" y="504"/>
                    </a:lnTo>
                    <a:lnTo>
                      <a:pt x="392" y="501"/>
                    </a:lnTo>
                    <a:lnTo>
                      <a:pt x="393" y="499"/>
                    </a:lnTo>
                    <a:lnTo>
                      <a:pt x="395" y="499"/>
                    </a:lnTo>
                    <a:lnTo>
                      <a:pt x="405" y="490"/>
                    </a:lnTo>
                    <a:lnTo>
                      <a:pt x="410" y="489"/>
                    </a:lnTo>
                    <a:lnTo>
                      <a:pt x="413" y="490"/>
                    </a:lnTo>
                    <a:lnTo>
                      <a:pt x="416" y="491"/>
                    </a:lnTo>
                    <a:lnTo>
                      <a:pt x="420" y="491"/>
                    </a:lnTo>
                    <a:lnTo>
                      <a:pt x="425" y="488"/>
                    </a:lnTo>
                    <a:lnTo>
                      <a:pt x="429" y="488"/>
                    </a:lnTo>
                    <a:lnTo>
                      <a:pt x="436" y="482"/>
                    </a:lnTo>
                    <a:lnTo>
                      <a:pt x="437" y="482"/>
                    </a:lnTo>
                    <a:lnTo>
                      <a:pt x="436" y="481"/>
                    </a:lnTo>
                    <a:lnTo>
                      <a:pt x="433" y="478"/>
                    </a:lnTo>
                    <a:lnTo>
                      <a:pt x="432" y="477"/>
                    </a:lnTo>
                    <a:lnTo>
                      <a:pt x="422" y="476"/>
                    </a:lnTo>
                    <a:lnTo>
                      <a:pt x="419" y="474"/>
                    </a:lnTo>
                    <a:lnTo>
                      <a:pt x="418" y="472"/>
                    </a:lnTo>
                    <a:lnTo>
                      <a:pt x="416" y="472"/>
                    </a:lnTo>
                    <a:lnTo>
                      <a:pt x="418" y="471"/>
                    </a:lnTo>
                    <a:lnTo>
                      <a:pt x="418" y="469"/>
                    </a:lnTo>
                    <a:lnTo>
                      <a:pt x="419" y="467"/>
                    </a:lnTo>
                    <a:lnTo>
                      <a:pt x="419" y="465"/>
                    </a:lnTo>
                    <a:lnTo>
                      <a:pt x="418" y="464"/>
                    </a:lnTo>
                    <a:lnTo>
                      <a:pt x="415" y="464"/>
                    </a:lnTo>
                    <a:lnTo>
                      <a:pt x="413" y="463"/>
                    </a:lnTo>
                    <a:lnTo>
                      <a:pt x="410" y="463"/>
                    </a:lnTo>
                    <a:lnTo>
                      <a:pt x="404" y="467"/>
                    </a:lnTo>
                    <a:lnTo>
                      <a:pt x="398" y="468"/>
                    </a:lnTo>
                    <a:lnTo>
                      <a:pt x="388" y="473"/>
                    </a:lnTo>
                    <a:lnTo>
                      <a:pt x="382" y="474"/>
                    </a:lnTo>
                    <a:lnTo>
                      <a:pt x="378" y="473"/>
                    </a:lnTo>
                    <a:lnTo>
                      <a:pt x="378" y="472"/>
                    </a:lnTo>
                    <a:lnTo>
                      <a:pt x="382" y="473"/>
                    </a:lnTo>
                    <a:lnTo>
                      <a:pt x="385" y="472"/>
                    </a:lnTo>
                    <a:lnTo>
                      <a:pt x="393" y="466"/>
                    </a:lnTo>
                    <a:lnTo>
                      <a:pt x="400" y="463"/>
                    </a:lnTo>
                    <a:lnTo>
                      <a:pt x="404" y="464"/>
                    </a:lnTo>
                    <a:lnTo>
                      <a:pt x="408" y="462"/>
                    </a:lnTo>
                    <a:lnTo>
                      <a:pt x="414" y="462"/>
                    </a:lnTo>
                    <a:lnTo>
                      <a:pt x="419" y="460"/>
                    </a:lnTo>
                    <a:lnTo>
                      <a:pt x="424" y="462"/>
                    </a:lnTo>
                    <a:lnTo>
                      <a:pt x="425" y="461"/>
                    </a:lnTo>
                    <a:lnTo>
                      <a:pt x="425" y="459"/>
                    </a:lnTo>
                    <a:lnTo>
                      <a:pt x="426" y="458"/>
                    </a:lnTo>
                    <a:lnTo>
                      <a:pt x="430" y="457"/>
                    </a:lnTo>
                    <a:lnTo>
                      <a:pt x="435" y="452"/>
                    </a:lnTo>
                    <a:lnTo>
                      <a:pt x="438" y="452"/>
                    </a:lnTo>
                    <a:lnTo>
                      <a:pt x="440" y="451"/>
                    </a:lnTo>
                    <a:lnTo>
                      <a:pt x="445" y="446"/>
                    </a:lnTo>
                    <a:lnTo>
                      <a:pt x="444" y="444"/>
                    </a:lnTo>
                    <a:lnTo>
                      <a:pt x="442" y="444"/>
                    </a:lnTo>
                    <a:lnTo>
                      <a:pt x="443" y="442"/>
                    </a:lnTo>
                    <a:lnTo>
                      <a:pt x="448" y="439"/>
                    </a:lnTo>
                    <a:lnTo>
                      <a:pt x="448" y="437"/>
                    </a:lnTo>
                    <a:lnTo>
                      <a:pt x="447" y="436"/>
                    </a:lnTo>
                    <a:lnTo>
                      <a:pt x="450" y="430"/>
                    </a:lnTo>
                    <a:lnTo>
                      <a:pt x="451" y="429"/>
                    </a:lnTo>
                    <a:lnTo>
                      <a:pt x="454" y="429"/>
                    </a:lnTo>
                    <a:lnTo>
                      <a:pt x="461" y="424"/>
                    </a:lnTo>
                    <a:lnTo>
                      <a:pt x="461" y="422"/>
                    </a:lnTo>
                    <a:lnTo>
                      <a:pt x="465" y="420"/>
                    </a:lnTo>
                    <a:lnTo>
                      <a:pt x="465" y="418"/>
                    </a:lnTo>
                    <a:lnTo>
                      <a:pt x="468" y="415"/>
                    </a:lnTo>
                    <a:lnTo>
                      <a:pt x="468" y="411"/>
                    </a:lnTo>
                    <a:lnTo>
                      <a:pt x="467" y="408"/>
                    </a:lnTo>
                    <a:lnTo>
                      <a:pt x="469" y="407"/>
                    </a:lnTo>
                    <a:lnTo>
                      <a:pt x="470" y="404"/>
                    </a:lnTo>
                    <a:lnTo>
                      <a:pt x="473" y="401"/>
                    </a:lnTo>
                    <a:lnTo>
                      <a:pt x="474" y="399"/>
                    </a:lnTo>
                    <a:lnTo>
                      <a:pt x="475" y="397"/>
                    </a:lnTo>
                    <a:lnTo>
                      <a:pt x="478" y="393"/>
                    </a:lnTo>
                    <a:lnTo>
                      <a:pt x="478" y="392"/>
                    </a:lnTo>
                    <a:lnTo>
                      <a:pt x="476" y="389"/>
                    </a:lnTo>
                    <a:lnTo>
                      <a:pt x="477" y="384"/>
                    </a:lnTo>
                    <a:lnTo>
                      <a:pt x="482" y="376"/>
                    </a:lnTo>
                    <a:lnTo>
                      <a:pt x="488" y="368"/>
                    </a:lnTo>
                    <a:lnTo>
                      <a:pt x="493" y="365"/>
                    </a:lnTo>
                    <a:lnTo>
                      <a:pt x="492" y="363"/>
                    </a:lnTo>
                    <a:lnTo>
                      <a:pt x="495" y="362"/>
                    </a:lnTo>
                    <a:lnTo>
                      <a:pt x="498" y="360"/>
                    </a:lnTo>
                    <a:lnTo>
                      <a:pt x="497" y="359"/>
                    </a:lnTo>
                    <a:lnTo>
                      <a:pt x="500" y="356"/>
                    </a:lnTo>
                    <a:lnTo>
                      <a:pt x="498" y="355"/>
                    </a:lnTo>
                    <a:lnTo>
                      <a:pt x="499" y="354"/>
                    </a:lnTo>
                    <a:lnTo>
                      <a:pt x="498" y="353"/>
                    </a:lnTo>
                    <a:lnTo>
                      <a:pt x="500" y="353"/>
                    </a:lnTo>
                    <a:lnTo>
                      <a:pt x="498" y="351"/>
                    </a:lnTo>
                    <a:lnTo>
                      <a:pt x="497" y="349"/>
                    </a:lnTo>
                    <a:lnTo>
                      <a:pt x="498" y="348"/>
                    </a:lnTo>
                    <a:lnTo>
                      <a:pt x="495" y="346"/>
                    </a:lnTo>
                    <a:lnTo>
                      <a:pt x="496" y="341"/>
                    </a:lnTo>
                    <a:lnTo>
                      <a:pt x="492" y="340"/>
                    </a:lnTo>
                    <a:lnTo>
                      <a:pt x="488" y="335"/>
                    </a:lnTo>
                    <a:lnTo>
                      <a:pt x="483" y="335"/>
                    </a:lnTo>
                    <a:lnTo>
                      <a:pt x="481" y="333"/>
                    </a:lnTo>
                    <a:lnTo>
                      <a:pt x="472" y="333"/>
                    </a:lnTo>
                    <a:lnTo>
                      <a:pt x="467" y="335"/>
                    </a:lnTo>
                    <a:lnTo>
                      <a:pt x="459" y="333"/>
                    </a:lnTo>
                    <a:lnTo>
                      <a:pt x="456" y="335"/>
                    </a:lnTo>
                    <a:lnTo>
                      <a:pt x="451" y="336"/>
                    </a:lnTo>
                    <a:lnTo>
                      <a:pt x="445" y="335"/>
                    </a:lnTo>
                    <a:lnTo>
                      <a:pt x="442" y="335"/>
                    </a:lnTo>
                    <a:lnTo>
                      <a:pt x="429" y="333"/>
                    </a:lnTo>
                    <a:lnTo>
                      <a:pt x="424" y="334"/>
                    </a:lnTo>
                    <a:lnTo>
                      <a:pt x="420" y="332"/>
                    </a:lnTo>
                    <a:lnTo>
                      <a:pt x="416" y="333"/>
                    </a:lnTo>
                    <a:lnTo>
                      <a:pt x="415" y="331"/>
                    </a:lnTo>
                    <a:lnTo>
                      <a:pt x="409" y="332"/>
                    </a:lnTo>
                    <a:lnTo>
                      <a:pt x="409" y="334"/>
                    </a:lnTo>
                    <a:lnTo>
                      <a:pt x="401" y="335"/>
                    </a:lnTo>
                    <a:lnTo>
                      <a:pt x="386" y="332"/>
                    </a:lnTo>
                    <a:lnTo>
                      <a:pt x="381" y="330"/>
                    </a:lnTo>
                    <a:lnTo>
                      <a:pt x="376" y="329"/>
                    </a:lnTo>
                    <a:lnTo>
                      <a:pt x="365" y="332"/>
                    </a:lnTo>
                    <a:lnTo>
                      <a:pt x="362" y="335"/>
                    </a:lnTo>
                    <a:lnTo>
                      <a:pt x="350" y="336"/>
                    </a:lnTo>
                    <a:lnTo>
                      <a:pt x="340" y="342"/>
                    </a:lnTo>
                    <a:lnTo>
                      <a:pt x="337" y="343"/>
                    </a:lnTo>
                    <a:lnTo>
                      <a:pt x="325" y="343"/>
                    </a:lnTo>
                    <a:lnTo>
                      <a:pt x="319" y="344"/>
                    </a:lnTo>
                    <a:lnTo>
                      <a:pt x="319" y="345"/>
                    </a:lnTo>
                    <a:lnTo>
                      <a:pt x="322" y="345"/>
                    </a:lnTo>
                    <a:lnTo>
                      <a:pt x="323" y="346"/>
                    </a:lnTo>
                    <a:lnTo>
                      <a:pt x="322" y="347"/>
                    </a:lnTo>
                    <a:lnTo>
                      <a:pt x="319" y="349"/>
                    </a:lnTo>
                    <a:lnTo>
                      <a:pt x="316" y="351"/>
                    </a:lnTo>
                    <a:lnTo>
                      <a:pt x="314" y="352"/>
                    </a:lnTo>
                    <a:lnTo>
                      <a:pt x="313" y="353"/>
                    </a:lnTo>
                    <a:lnTo>
                      <a:pt x="310" y="354"/>
                    </a:lnTo>
                    <a:lnTo>
                      <a:pt x="306" y="353"/>
                    </a:lnTo>
                    <a:lnTo>
                      <a:pt x="309" y="350"/>
                    </a:lnTo>
                    <a:lnTo>
                      <a:pt x="309" y="349"/>
                    </a:lnTo>
                    <a:lnTo>
                      <a:pt x="305" y="347"/>
                    </a:lnTo>
                    <a:lnTo>
                      <a:pt x="311" y="348"/>
                    </a:lnTo>
                    <a:lnTo>
                      <a:pt x="311" y="346"/>
                    </a:lnTo>
                    <a:lnTo>
                      <a:pt x="312" y="346"/>
                    </a:lnTo>
                    <a:lnTo>
                      <a:pt x="317" y="345"/>
                    </a:lnTo>
                    <a:lnTo>
                      <a:pt x="316" y="343"/>
                    </a:lnTo>
                    <a:lnTo>
                      <a:pt x="317" y="342"/>
                    </a:lnTo>
                    <a:lnTo>
                      <a:pt x="320" y="340"/>
                    </a:lnTo>
                    <a:lnTo>
                      <a:pt x="321" y="338"/>
                    </a:lnTo>
                    <a:lnTo>
                      <a:pt x="326" y="335"/>
                    </a:lnTo>
                    <a:lnTo>
                      <a:pt x="325" y="335"/>
                    </a:lnTo>
                    <a:lnTo>
                      <a:pt x="322" y="334"/>
                    </a:lnTo>
                    <a:lnTo>
                      <a:pt x="315" y="336"/>
                    </a:lnTo>
                    <a:lnTo>
                      <a:pt x="312" y="336"/>
                    </a:lnTo>
                    <a:lnTo>
                      <a:pt x="312" y="335"/>
                    </a:lnTo>
                    <a:lnTo>
                      <a:pt x="307" y="335"/>
                    </a:lnTo>
                    <a:lnTo>
                      <a:pt x="300" y="339"/>
                    </a:lnTo>
                    <a:lnTo>
                      <a:pt x="295" y="343"/>
                    </a:lnTo>
                    <a:lnTo>
                      <a:pt x="291" y="346"/>
                    </a:lnTo>
                    <a:lnTo>
                      <a:pt x="292" y="345"/>
                    </a:lnTo>
                    <a:lnTo>
                      <a:pt x="291" y="344"/>
                    </a:lnTo>
                    <a:lnTo>
                      <a:pt x="293" y="343"/>
                    </a:lnTo>
                    <a:lnTo>
                      <a:pt x="293" y="341"/>
                    </a:lnTo>
                    <a:lnTo>
                      <a:pt x="298" y="339"/>
                    </a:lnTo>
                    <a:lnTo>
                      <a:pt x="300" y="337"/>
                    </a:lnTo>
                    <a:lnTo>
                      <a:pt x="302" y="336"/>
                    </a:lnTo>
                    <a:lnTo>
                      <a:pt x="302" y="334"/>
                    </a:lnTo>
                    <a:lnTo>
                      <a:pt x="305" y="334"/>
                    </a:lnTo>
                    <a:lnTo>
                      <a:pt x="308" y="333"/>
                    </a:lnTo>
                    <a:lnTo>
                      <a:pt x="312" y="333"/>
                    </a:lnTo>
                    <a:lnTo>
                      <a:pt x="318" y="329"/>
                    </a:lnTo>
                    <a:lnTo>
                      <a:pt x="323" y="328"/>
                    </a:lnTo>
                    <a:lnTo>
                      <a:pt x="324" y="329"/>
                    </a:lnTo>
                    <a:lnTo>
                      <a:pt x="323" y="331"/>
                    </a:lnTo>
                    <a:lnTo>
                      <a:pt x="323" y="333"/>
                    </a:lnTo>
                    <a:lnTo>
                      <a:pt x="325" y="333"/>
                    </a:lnTo>
                    <a:lnTo>
                      <a:pt x="330" y="330"/>
                    </a:lnTo>
                    <a:lnTo>
                      <a:pt x="333" y="326"/>
                    </a:lnTo>
                    <a:lnTo>
                      <a:pt x="337" y="324"/>
                    </a:lnTo>
                    <a:lnTo>
                      <a:pt x="343" y="316"/>
                    </a:lnTo>
                    <a:lnTo>
                      <a:pt x="343" y="315"/>
                    </a:lnTo>
                    <a:lnTo>
                      <a:pt x="343" y="314"/>
                    </a:lnTo>
                    <a:lnTo>
                      <a:pt x="340" y="315"/>
                    </a:lnTo>
                    <a:lnTo>
                      <a:pt x="338" y="318"/>
                    </a:lnTo>
                    <a:lnTo>
                      <a:pt x="330" y="321"/>
                    </a:lnTo>
                    <a:lnTo>
                      <a:pt x="329" y="320"/>
                    </a:lnTo>
                    <a:lnTo>
                      <a:pt x="332" y="319"/>
                    </a:lnTo>
                    <a:lnTo>
                      <a:pt x="331" y="318"/>
                    </a:lnTo>
                    <a:lnTo>
                      <a:pt x="328" y="317"/>
                    </a:lnTo>
                    <a:lnTo>
                      <a:pt x="322" y="319"/>
                    </a:lnTo>
                    <a:lnTo>
                      <a:pt x="318" y="318"/>
                    </a:lnTo>
                    <a:lnTo>
                      <a:pt x="312" y="318"/>
                    </a:lnTo>
                    <a:lnTo>
                      <a:pt x="311" y="316"/>
                    </a:lnTo>
                    <a:lnTo>
                      <a:pt x="309" y="315"/>
                    </a:lnTo>
                    <a:lnTo>
                      <a:pt x="317" y="316"/>
                    </a:lnTo>
                    <a:lnTo>
                      <a:pt x="318" y="315"/>
                    </a:lnTo>
                    <a:lnTo>
                      <a:pt x="325" y="315"/>
                    </a:lnTo>
                    <a:lnTo>
                      <a:pt x="324" y="313"/>
                    </a:lnTo>
                    <a:lnTo>
                      <a:pt x="326" y="310"/>
                    </a:lnTo>
                    <a:lnTo>
                      <a:pt x="325" y="308"/>
                    </a:lnTo>
                    <a:lnTo>
                      <a:pt x="326" y="305"/>
                    </a:lnTo>
                    <a:lnTo>
                      <a:pt x="326" y="304"/>
                    </a:lnTo>
                    <a:lnTo>
                      <a:pt x="337" y="300"/>
                    </a:lnTo>
                    <a:lnTo>
                      <a:pt x="338" y="298"/>
                    </a:lnTo>
                    <a:lnTo>
                      <a:pt x="339" y="295"/>
                    </a:lnTo>
                    <a:lnTo>
                      <a:pt x="345" y="294"/>
                    </a:lnTo>
                    <a:lnTo>
                      <a:pt x="352" y="289"/>
                    </a:lnTo>
                    <a:lnTo>
                      <a:pt x="354" y="288"/>
                    </a:lnTo>
                    <a:lnTo>
                      <a:pt x="363" y="283"/>
                    </a:lnTo>
                    <a:lnTo>
                      <a:pt x="367" y="279"/>
                    </a:lnTo>
                    <a:lnTo>
                      <a:pt x="369" y="276"/>
                    </a:lnTo>
                    <a:lnTo>
                      <a:pt x="375" y="271"/>
                    </a:lnTo>
                    <a:lnTo>
                      <a:pt x="380" y="270"/>
                    </a:lnTo>
                    <a:lnTo>
                      <a:pt x="383" y="268"/>
                    </a:lnTo>
                    <a:lnTo>
                      <a:pt x="387" y="268"/>
                    </a:lnTo>
                    <a:lnTo>
                      <a:pt x="388" y="265"/>
                    </a:lnTo>
                    <a:lnTo>
                      <a:pt x="392" y="263"/>
                    </a:lnTo>
                    <a:lnTo>
                      <a:pt x="395" y="262"/>
                    </a:lnTo>
                    <a:lnTo>
                      <a:pt x="395" y="261"/>
                    </a:lnTo>
                    <a:lnTo>
                      <a:pt x="395" y="260"/>
                    </a:lnTo>
                    <a:lnTo>
                      <a:pt x="396" y="259"/>
                    </a:lnTo>
                    <a:lnTo>
                      <a:pt x="398" y="255"/>
                    </a:lnTo>
                    <a:lnTo>
                      <a:pt x="401" y="252"/>
                    </a:lnTo>
                    <a:lnTo>
                      <a:pt x="402" y="250"/>
                    </a:lnTo>
                    <a:lnTo>
                      <a:pt x="401" y="250"/>
                    </a:lnTo>
                    <a:lnTo>
                      <a:pt x="395" y="250"/>
                    </a:lnTo>
                    <a:lnTo>
                      <a:pt x="392" y="247"/>
                    </a:lnTo>
                    <a:lnTo>
                      <a:pt x="394" y="244"/>
                    </a:lnTo>
                    <a:lnTo>
                      <a:pt x="397" y="242"/>
                    </a:lnTo>
                    <a:lnTo>
                      <a:pt x="399" y="239"/>
                    </a:lnTo>
                    <a:lnTo>
                      <a:pt x="399" y="238"/>
                    </a:lnTo>
                    <a:lnTo>
                      <a:pt x="401" y="236"/>
                    </a:lnTo>
                    <a:lnTo>
                      <a:pt x="402" y="232"/>
                    </a:lnTo>
                    <a:lnTo>
                      <a:pt x="401" y="232"/>
                    </a:lnTo>
                    <a:lnTo>
                      <a:pt x="395" y="232"/>
                    </a:lnTo>
                    <a:lnTo>
                      <a:pt x="391" y="233"/>
                    </a:lnTo>
                    <a:lnTo>
                      <a:pt x="389" y="231"/>
                    </a:lnTo>
                    <a:lnTo>
                      <a:pt x="377" y="232"/>
                    </a:lnTo>
                    <a:lnTo>
                      <a:pt x="376" y="231"/>
                    </a:lnTo>
                    <a:lnTo>
                      <a:pt x="376" y="230"/>
                    </a:lnTo>
                    <a:lnTo>
                      <a:pt x="374" y="229"/>
                    </a:lnTo>
                    <a:lnTo>
                      <a:pt x="373" y="230"/>
                    </a:lnTo>
                    <a:lnTo>
                      <a:pt x="371" y="232"/>
                    </a:lnTo>
                    <a:lnTo>
                      <a:pt x="372" y="233"/>
                    </a:lnTo>
                    <a:lnTo>
                      <a:pt x="376" y="235"/>
                    </a:lnTo>
                    <a:lnTo>
                      <a:pt x="375" y="237"/>
                    </a:lnTo>
                    <a:lnTo>
                      <a:pt x="367" y="236"/>
                    </a:lnTo>
                    <a:lnTo>
                      <a:pt x="362" y="237"/>
                    </a:lnTo>
                    <a:lnTo>
                      <a:pt x="361" y="236"/>
                    </a:lnTo>
                    <a:lnTo>
                      <a:pt x="361" y="235"/>
                    </a:lnTo>
                    <a:lnTo>
                      <a:pt x="361" y="234"/>
                    </a:lnTo>
                    <a:lnTo>
                      <a:pt x="352" y="234"/>
                    </a:lnTo>
                    <a:lnTo>
                      <a:pt x="348" y="236"/>
                    </a:lnTo>
                    <a:lnTo>
                      <a:pt x="342" y="240"/>
                    </a:lnTo>
                    <a:lnTo>
                      <a:pt x="333" y="241"/>
                    </a:lnTo>
                    <a:lnTo>
                      <a:pt x="332" y="240"/>
                    </a:lnTo>
                    <a:lnTo>
                      <a:pt x="324" y="240"/>
                    </a:lnTo>
                    <a:lnTo>
                      <a:pt x="324" y="237"/>
                    </a:lnTo>
                    <a:lnTo>
                      <a:pt x="322" y="238"/>
                    </a:lnTo>
                    <a:lnTo>
                      <a:pt x="321" y="240"/>
                    </a:lnTo>
                    <a:lnTo>
                      <a:pt x="319" y="241"/>
                    </a:lnTo>
                    <a:lnTo>
                      <a:pt x="315" y="240"/>
                    </a:lnTo>
                    <a:lnTo>
                      <a:pt x="313" y="240"/>
                    </a:lnTo>
                    <a:lnTo>
                      <a:pt x="313" y="242"/>
                    </a:lnTo>
                    <a:lnTo>
                      <a:pt x="312" y="243"/>
                    </a:lnTo>
                    <a:lnTo>
                      <a:pt x="310" y="242"/>
                    </a:lnTo>
                    <a:lnTo>
                      <a:pt x="309" y="242"/>
                    </a:lnTo>
                    <a:lnTo>
                      <a:pt x="308" y="242"/>
                    </a:lnTo>
                    <a:lnTo>
                      <a:pt x="308" y="244"/>
                    </a:lnTo>
                    <a:lnTo>
                      <a:pt x="306" y="244"/>
                    </a:lnTo>
                    <a:lnTo>
                      <a:pt x="307" y="245"/>
                    </a:lnTo>
                    <a:lnTo>
                      <a:pt x="306" y="245"/>
                    </a:lnTo>
                    <a:lnTo>
                      <a:pt x="303" y="243"/>
                    </a:lnTo>
                    <a:lnTo>
                      <a:pt x="297" y="244"/>
                    </a:lnTo>
                    <a:lnTo>
                      <a:pt x="292" y="248"/>
                    </a:lnTo>
                    <a:lnTo>
                      <a:pt x="292" y="250"/>
                    </a:lnTo>
                    <a:lnTo>
                      <a:pt x="287" y="253"/>
                    </a:lnTo>
                    <a:lnTo>
                      <a:pt x="290" y="247"/>
                    </a:lnTo>
                    <a:lnTo>
                      <a:pt x="292" y="245"/>
                    </a:lnTo>
                    <a:lnTo>
                      <a:pt x="292" y="244"/>
                    </a:lnTo>
                    <a:lnTo>
                      <a:pt x="292" y="242"/>
                    </a:lnTo>
                    <a:lnTo>
                      <a:pt x="289" y="242"/>
                    </a:lnTo>
                    <a:lnTo>
                      <a:pt x="288" y="240"/>
                    </a:lnTo>
                    <a:lnTo>
                      <a:pt x="285" y="239"/>
                    </a:lnTo>
                    <a:lnTo>
                      <a:pt x="278" y="239"/>
                    </a:lnTo>
                    <a:lnTo>
                      <a:pt x="277" y="240"/>
                    </a:lnTo>
                    <a:lnTo>
                      <a:pt x="279" y="242"/>
                    </a:lnTo>
                    <a:lnTo>
                      <a:pt x="279" y="243"/>
                    </a:lnTo>
                    <a:lnTo>
                      <a:pt x="277" y="244"/>
                    </a:lnTo>
                    <a:lnTo>
                      <a:pt x="274" y="246"/>
                    </a:lnTo>
                    <a:lnTo>
                      <a:pt x="272" y="248"/>
                    </a:lnTo>
                    <a:lnTo>
                      <a:pt x="273" y="248"/>
                    </a:lnTo>
                    <a:lnTo>
                      <a:pt x="269" y="251"/>
                    </a:lnTo>
                    <a:lnTo>
                      <a:pt x="268" y="253"/>
                    </a:lnTo>
                    <a:lnTo>
                      <a:pt x="266" y="253"/>
                    </a:lnTo>
                    <a:lnTo>
                      <a:pt x="269" y="248"/>
                    </a:lnTo>
                    <a:lnTo>
                      <a:pt x="274" y="244"/>
                    </a:lnTo>
                    <a:lnTo>
                      <a:pt x="273" y="242"/>
                    </a:lnTo>
                    <a:lnTo>
                      <a:pt x="267" y="240"/>
                    </a:lnTo>
                    <a:lnTo>
                      <a:pt x="267" y="238"/>
                    </a:lnTo>
                    <a:lnTo>
                      <a:pt x="265" y="236"/>
                    </a:lnTo>
                    <a:lnTo>
                      <a:pt x="263" y="237"/>
                    </a:lnTo>
                    <a:lnTo>
                      <a:pt x="265" y="238"/>
                    </a:lnTo>
                    <a:lnTo>
                      <a:pt x="265" y="239"/>
                    </a:lnTo>
                    <a:lnTo>
                      <a:pt x="262" y="240"/>
                    </a:lnTo>
                    <a:lnTo>
                      <a:pt x="261" y="240"/>
                    </a:lnTo>
                    <a:lnTo>
                      <a:pt x="260" y="238"/>
                    </a:lnTo>
                    <a:lnTo>
                      <a:pt x="256" y="235"/>
                    </a:lnTo>
                    <a:lnTo>
                      <a:pt x="250" y="235"/>
                    </a:lnTo>
                    <a:lnTo>
                      <a:pt x="247" y="234"/>
                    </a:lnTo>
                    <a:lnTo>
                      <a:pt x="246" y="234"/>
                    </a:lnTo>
                    <a:lnTo>
                      <a:pt x="246" y="239"/>
                    </a:lnTo>
                    <a:lnTo>
                      <a:pt x="245" y="242"/>
                    </a:lnTo>
                    <a:lnTo>
                      <a:pt x="239" y="246"/>
                    </a:lnTo>
                    <a:lnTo>
                      <a:pt x="239" y="248"/>
                    </a:lnTo>
                    <a:lnTo>
                      <a:pt x="240" y="250"/>
                    </a:lnTo>
                    <a:lnTo>
                      <a:pt x="242" y="250"/>
                    </a:lnTo>
                    <a:lnTo>
                      <a:pt x="242" y="251"/>
                    </a:lnTo>
                    <a:lnTo>
                      <a:pt x="246" y="251"/>
                    </a:lnTo>
                    <a:lnTo>
                      <a:pt x="245" y="253"/>
                    </a:lnTo>
                    <a:lnTo>
                      <a:pt x="248" y="254"/>
                    </a:lnTo>
                    <a:lnTo>
                      <a:pt x="245" y="253"/>
                    </a:lnTo>
                    <a:lnTo>
                      <a:pt x="240" y="254"/>
                    </a:lnTo>
                    <a:lnTo>
                      <a:pt x="239" y="254"/>
                    </a:lnTo>
                    <a:lnTo>
                      <a:pt x="240" y="256"/>
                    </a:lnTo>
                    <a:lnTo>
                      <a:pt x="242" y="256"/>
                    </a:lnTo>
                    <a:lnTo>
                      <a:pt x="240" y="257"/>
                    </a:lnTo>
                    <a:lnTo>
                      <a:pt x="245" y="258"/>
                    </a:lnTo>
                    <a:lnTo>
                      <a:pt x="245" y="259"/>
                    </a:lnTo>
                    <a:lnTo>
                      <a:pt x="245" y="260"/>
                    </a:lnTo>
                    <a:lnTo>
                      <a:pt x="239" y="259"/>
                    </a:lnTo>
                    <a:lnTo>
                      <a:pt x="237" y="257"/>
                    </a:lnTo>
                    <a:lnTo>
                      <a:pt x="236" y="262"/>
                    </a:lnTo>
                    <a:lnTo>
                      <a:pt x="234" y="264"/>
                    </a:lnTo>
                    <a:lnTo>
                      <a:pt x="236" y="265"/>
                    </a:lnTo>
                    <a:lnTo>
                      <a:pt x="236" y="266"/>
                    </a:lnTo>
                    <a:lnTo>
                      <a:pt x="238" y="266"/>
                    </a:lnTo>
                    <a:lnTo>
                      <a:pt x="237" y="267"/>
                    </a:lnTo>
                    <a:lnTo>
                      <a:pt x="238" y="268"/>
                    </a:lnTo>
                    <a:lnTo>
                      <a:pt x="237" y="270"/>
                    </a:lnTo>
                    <a:lnTo>
                      <a:pt x="239" y="270"/>
                    </a:lnTo>
                    <a:lnTo>
                      <a:pt x="239" y="271"/>
                    </a:lnTo>
                    <a:lnTo>
                      <a:pt x="244" y="272"/>
                    </a:lnTo>
                    <a:lnTo>
                      <a:pt x="251" y="273"/>
                    </a:lnTo>
                    <a:lnTo>
                      <a:pt x="252" y="274"/>
                    </a:lnTo>
                    <a:lnTo>
                      <a:pt x="249" y="274"/>
                    </a:lnTo>
                    <a:lnTo>
                      <a:pt x="251" y="275"/>
                    </a:lnTo>
                    <a:lnTo>
                      <a:pt x="250" y="276"/>
                    </a:lnTo>
                    <a:lnTo>
                      <a:pt x="248" y="275"/>
                    </a:lnTo>
                    <a:lnTo>
                      <a:pt x="247" y="274"/>
                    </a:lnTo>
                    <a:lnTo>
                      <a:pt x="243" y="274"/>
                    </a:lnTo>
                    <a:lnTo>
                      <a:pt x="240" y="272"/>
                    </a:lnTo>
                    <a:lnTo>
                      <a:pt x="239" y="272"/>
                    </a:lnTo>
                    <a:lnTo>
                      <a:pt x="239" y="273"/>
                    </a:lnTo>
                    <a:lnTo>
                      <a:pt x="236" y="273"/>
                    </a:lnTo>
                    <a:lnTo>
                      <a:pt x="234" y="275"/>
                    </a:lnTo>
                    <a:lnTo>
                      <a:pt x="232" y="274"/>
                    </a:lnTo>
                    <a:lnTo>
                      <a:pt x="224" y="276"/>
                    </a:lnTo>
                    <a:lnTo>
                      <a:pt x="223" y="274"/>
                    </a:lnTo>
                    <a:lnTo>
                      <a:pt x="217" y="273"/>
                    </a:lnTo>
                    <a:lnTo>
                      <a:pt x="216" y="275"/>
                    </a:lnTo>
                    <a:lnTo>
                      <a:pt x="219" y="277"/>
                    </a:lnTo>
                    <a:lnTo>
                      <a:pt x="220" y="279"/>
                    </a:lnTo>
                    <a:lnTo>
                      <a:pt x="222" y="279"/>
                    </a:lnTo>
                    <a:lnTo>
                      <a:pt x="221" y="280"/>
                    </a:lnTo>
                    <a:lnTo>
                      <a:pt x="223" y="281"/>
                    </a:lnTo>
                    <a:lnTo>
                      <a:pt x="224" y="283"/>
                    </a:lnTo>
                    <a:lnTo>
                      <a:pt x="226" y="283"/>
                    </a:lnTo>
                    <a:lnTo>
                      <a:pt x="225" y="284"/>
                    </a:lnTo>
                    <a:lnTo>
                      <a:pt x="226" y="285"/>
                    </a:lnTo>
                    <a:lnTo>
                      <a:pt x="229" y="285"/>
                    </a:lnTo>
                    <a:lnTo>
                      <a:pt x="229" y="286"/>
                    </a:lnTo>
                    <a:lnTo>
                      <a:pt x="226" y="286"/>
                    </a:lnTo>
                    <a:lnTo>
                      <a:pt x="226" y="287"/>
                    </a:lnTo>
                    <a:lnTo>
                      <a:pt x="229" y="288"/>
                    </a:lnTo>
                    <a:lnTo>
                      <a:pt x="226" y="289"/>
                    </a:lnTo>
                    <a:lnTo>
                      <a:pt x="228" y="291"/>
                    </a:lnTo>
                    <a:lnTo>
                      <a:pt x="226" y="293"/>
                    </a:lnTo>
                    <a:lnTo>
                      <a:pt x="224" y="293"/>
                    </a:lnTo>
                    <a:lnTo>
                      <a:pt x="223" y="292"/>
                    </a:lnTo>
                    <a:lnTo>
                      <a:pt x="220" y="292"/>
                    </a:lnTo>
                    <a:lnTo>
                      <a:pt x="219" y="293"/>
                    </a:lnTo>
                    <a:lnTo>
                      <a:pt x="217" y="293"/>
                    </a:lnTo>
                    <a:lnTo>
                      <a:pt x="216" y="291"/>
                    </a:lnTo>
                    <a:lnTo>
                      <a:pt x="214" y="289"/>
                    </a:lnTo>
                    <a:lnTo>
                      <a:pt x="212" y="290"/>
                    </a:lnTo>
                    <a:lnTo>
                      <a:pt x="211" y="292"/>
                    </a:lnTo>
                    <a:lnTo>
                      <a:pt x="214" y="295"/>
                    </a:lnTo>
                    <a:lnTo>
                      <a:pt x="214" y="297"/>
                    </a:lnTo>
                    <a:lnTo>
                      <a:pt x="219" y="297"/>
                    </a:lnTo>
                    <a:lnTo>
                      <a:pt x="220" y="300"/>
                    </a:lnTo>
                    <a:lnTo>
                      <a:pt x="223" y="301"/>
                    </a:lnTo>
                    <a:lnTo>
                      <a:pt x="224" y="303"/>
                    </a:lnTo>
                    <a:lnTo>
                      <a:pt x="232" y="305"/>
                    </a:lnTo>
                    <a:lnTo>
                      <a:pt x="233" y="306"/>
                    </a:lnTo>
                    <a:lnTo>
                      <a:pt x="232" y="307"/>
                    </a:lnTo>
                    <a:lnTo>
                      <a:pt x="230" y="309"/>
                    </a:lnTo>
                    <a:lnTo>
                      <a:pt x="239" y="314"/>
                    </a:lnTo>
                    <a:lnTo>
                      <a:pt x="242" y="318"/>
                    </a:lnTo>
                    <a:lnTo>
                      <a:pt x="237" y="314"/>
                    </a:lnTo>
                    <a:lnTo>
                      <a:pt x="231" y="311"/>
                    </a:lnTo>
                    <a:lnTo>
                      <a:pt x="229" y="309"/>
                    </a:lnTo>
                    <a:lnTo>
                      <a:pt x="228" y="309"/>
                    </a:lnTo>
                    <a:lnTo>
                      <a:pt x="224" y="310"/>
                    </a:lnTo>
                    <a:lnTo>
                      <a:pt x="222" y="309"/>
                    </a:lnTo>
                    <a:lnTo>
                      <a:pt x="221" y="308"/>
                    </a:lnTo>
                    <a:lnTo>
                      <a:pt x="221" y="307"/>
                    </a:lnTo>
                    <a:lnTo>
                      <a:pt x="220" y="307"/>
                    </a:lnTo>
                    <a:lnTo>
                      <a:pt x="218" y="307"/>
                    </a:lnTo>
                    <a:lnTo>
                      <a:pt x="216" y="307"/>
                    </a:lnTo>
                    <a:lnTo>
                      <a:pt x="217" y="309"/>
                    </a:lnTo>
                    <a:lnTo>
                      <a:pt x="221" y="311"/>
                    </a:lnTo>
                    <a:lnTo>
                      <a:pt x="224" y="313"/>
                    </a:lnTo>
                    <a:lnTo>
                      <a:pt x="228" y="314"/>
                    </a:lnTo>
                    <a:lnTo>
                      <a:pt x="230" y="317"/>
                    </a:lnTo>
                    <a:lnTo>
                      <a:pt x="224" y="315"/>
                    </a:lnTo>
                    <a:lnTo>
                      <a:pt x="220" y="312"/>
                    </a:lnTo>
                    <a:lnTo>
                      <a:pt x="215" y="310"/>
                    </a:lnTo>
                    <a:lnTo>
                      <a:pt x="213" y="311"/>
                    </a:lnTo>
                    <a:lnTo>
                      <a:pt x="213" y="314"/>
                    </a:lnTo>
                    <a:lnTo>
                      <a:pt x="211" y="316"/>
                    </a:lnTo>
                    <a:lnTo>
                      <a:pt x="205" y="314"/>
                    </a:lnTo>
                    <a:lnTo>
                      <a:pt x="204" y="312"/>
                    </a:lnTo>
                    <a:lnTo>
                      <a:pt x="204" y="309"/>
                    </a:lnTo>
                    <a:lnTo>
                      <a:pt x="202" y="310"/>
                    </a:lnTo>
                    <a:lnTo>
                      <a:pt x="200" y="308"/>
                    </a:lnTo>
                    <a:lnTo>
                      <a:pt x="197" y="311"/>
                    </a:lnTo>
                    <a:lnTo>
                      <a:pt x="196" y="311"/>
                    </a:lnTo>
                    <a:lnTo>
                      <a:pt x="197" y="312"/>
                    </a:lnTo>
                    <a:lnTo>
                      <a:pt x="196" y="313"/>
                    </a:lnTo>
                    <a:lnTo>
                      <a:pt x="198" y="315"/>
                    </a:lnTo>
                    <a:lnTo>
                      <a:pt x="200" y="316"/>
                    </a:lnTo>
                    <a:lnTo>
                      <a:pt x="202" y="318"/>
                    </a:lnTo>
                    <a:lnTo>
                      <a:pt x="201" y="321"/>
                    </a:lnTo>
                    <a:lnTo>
                      <a:pt x="202" y="323"/>
                    </a:lnTo>
                    <a:lnTo>
                      <a:pt x="201" y="323"/>
                    </a:lnTo>
                    <a:lnTo>
                      <a:pt x="199" y="322"/>
                    </a:lnTo>
                    <a:lnTo>
                      <a:pt x="198" y="323"/>
                    </a:lnTo>
                    <a:lnTo>
                      <a:pt x="200" y="324"/>
                    </a:lnTo>
                    <a:lnTo>
                      <a:pt x="200" y="325"/>
                    </a:lnTo>
                    <a:lnTo>
                      <a:pt x="198" y="325"/>
                    </a:lnTo>
                    <a:lnTo>
                      <a:pt x="196" y="322"/>
                    </a:lnTo>
                    <a:lnTo>
                      <a:pt x="195" y="318"/>
                    </a:lnTo>
                    <a:lnTo>
                      <a:pt x="193" y="316"/>
                    </a:lnTo>
                    <a:lnTo>
                      <a:pt x="194" y="315"/>
                    </a:lnTo>
                    <a:lnTo>
                      <a:pt x="189" y="314"/>
                    </a:lnTo>
                    <a:lnTo>
                      <a:pt x="187" y="315"/>
                    </a:lnTo>
                    <a:lnTo>
                      <a:pt x="183" y="315"/>
                    </a:lnTo>
                    <a:lnTo>
                      <a:pt x="184" y="317"/>
                    </a:lnTo>
                    <a:lnTo>
                      <a:pt x="184" y="319"/>
                    </a:lnTo>
                    <a:lnTo>
                      <a:pt x="185" y="323"/>
                    </a:lnTo>
                    <a:lnTo>
                      <a:pt x="184" y="325"/>
                    </a:lnTo>
                    <a:lnTo>
                      <a:pt x="185" y="326"/>
                    </a:lnTo>
                    <a:lnTo>
                      <a:pt x="184" y="327"/>
                    </a:lnTo>
                    <a:lnTo>
                      <a:pt x="189" y="329"/>
                    </a:lnTo>
                    <a:lnTo>
                      <a:pt x="192" y="329"/>
                    </a:lnTo>
                    <a:lnTo>
                      <a:pt x="194" y="331"/>
                    </a:lnTo>
                    <a:lnTo>
                      <a:pt x="193" y="333"/>
                    </a:lnTo>
                    <a:lnTo>
                      <a:pt x="192" y="332"/>
                    </a:lnTo>
                    <a:lnTo>
                      <a:pt x="189" y="331"/>
                    </a:lnTo>
                    <a:lnTo>
                      <a:pt x="187" y="332"/>
                    </a:lnTo>
                    <a:lnTo>
                      <a:pt x="186" y="334"/>
                    </a:lnTo>
                    <a:lnTo>
                      <a:pt x="185" y="335"/>
                    </a:lnTo>
                    <a:lnTo>
                      <a:pt x="184" y="337"/>
                    </a:lnTo>
                    <a:lnTo>
                      <a:pt x="184" y="338"/>
                    </a:lnTo>
                    <a:lnTo>
                      <a:pt x="188" y="340"/>
                    </a:lnTo>
                    <a:lnTo>
                      <a:pt x="189" y="341"/>
                    </a:lnTo>
                    <a:lnTo>
                      <a:pt x="190" y="344"/>
                    </a:lnTo>
                    <a:lnTo>
                      <a:pt x="194" y="346"/>
                    </a:lnTo>
                    <a:lnTo>
                      <a:pt x="192" y="346"/>
                    </a:lnTo>
                    <a:lnTo>
                      <a:pt x="195" y="348"/>
                    </a:lnTo>
                    <a:lnTo>
                      <a:pt x="201" y="347"/>
                    </a:lnTo>
                    <a:lnTo>
                      <a:pt x="206" y="348"/>
                    </a:lnTo>
                    <a:lnTo>
                      <a:pt x="206" y="349"/>
                    </a:lnTo>
                    <a:lnTo>
                      <a:pt x="200" y="349"/>
                    </a:lnTo>
                    <a:lnTo>
                      <a:pt x="199" y="350"/>
                    </a:lnTo>
                    <a:lnTo>
                      <a:pt x="196" y="349"/>
                    </a:lnTo>
                    <a:lnTo>
                      <a:pt x="197" y="352"/>
                    </a:lnTo>
                    <a:lnTo>
                      <a:pt x="196" y="352"/>
                    </a:lnTo>
                    <a:lnTo>
                      <a:pt x="193" y="349"/>
                    </a:lnTo>
                    <a:lnTo>
                      <a:pt x="192" y="347"/>
                    </a:lnTo>
                    <a:lnTo>
                      <a:pt x="191" y="347"/>
                    </a:lnTo>
                    <a:lnTo>
                      <a:pt x="191" y="349"/>
                    </a:lnTo>
                    <a:lnTo>
                      <a:pt x="189" y="348"/>
                    </a:lnTo>
                    <a:lnTo>
                      <a:pt x="189" y="347"/>
                    </a:lnTo>
                    <a:lnTo>
                      <a:pt x="187" y="346"/>
                    </a:lnTo>
                    <a:lnTo>
                      <a:pt x="182" y="345"/>
                    </a:lnTo>
                    <a:lnTo>
                      <a:pt x="182" y="347"/>
                    </a:lnTo>
                    <a:lnTo>
                      <a:pt x="181" y="347"/>
                    </a:lnTo>
                    <a:lnTo>
                      <a:pt x="181" y="349"/>
                    </a:lnTo>
                    <a:lnTo>
                      <a:pt x="179" y="354"/>
                    </a:lnTo>
                    <a:lnTo>
                      <a:pt x="180" y="358"/>
                    </a:lnTo>
                    <a:lnTo>
                      <a:pt x="181" y="359"/>
                    </a:lnTo>
                    <a:lnTo>
                      <a:pt x="185" y="359"/>
                    </a:lnTo>
                    <a:lnTo>
                      <a:pt x="184" y="362"/>
                    </a:lnTo>
                    <a:lnTo>
                      <a:pt x="185" y="364"/>
                    </a:lnTo>
                    <a:lnTo>
                      <a:pt x="184" y="364"/>
                    </a:lnTo>
                    <a:lnTo>
                      <a:pt x="184" y="365"/>
                    </a:lnTo>
                    <a:lnTo>
                      <a:pt x="183" y="366"/>
                    </a:lnTo>
                    <a:lnTo>
                      <a:pt x="184" y="367"/>
                    </a:lnTo>
                    <a:lnTo>
                      <a:pt x="187" y="370"/>
                    </a:lnTo>
                    <a:lnTo>
                      <a:pt x="190" y="368"/>
                    </a:lnTo>
                    <a:lnTo>
                      <a:pt x="199" y="364"/>
                    </a:lnTo>
                    <a:lnTo>
                      <a:pt x="200" y="364"/>
                    </a:lnTo>
                    <a:lnTo>
                      <a:pt x="197" y="366"/>
                    </a:lnTo>
                    <a:lnTo>
                      <a:pt x="198" y="367"/>
                    </a:lnTo>
                    <a:lnTo>
                      <a:pt x="200" y="368"/>
                    </a:lnTo>
                    <a:lnTo>
                      <a:pt x="204" y="367"/>
                    </a:lnTo>
                    <a:lnTo>
                      <a:pt x="213" y="361"/>
                    </a:lnTo>
                    <a:lnTo>
                      <a:pt x="212" y="364"/>
                    </a:lnTo>
                    <a:lnTo>
                      <a:pt x="207" y="367"/>
                    </a:lnTo>
                    <a:lnTo>
                      <a:pt x="198" y="370"/>
                    </a:lnTo>
                    <a:lnTo>
                      <a:pt x="195" y="370"/>
                    </a:lnTo>
                    <a:lnTo>
                      <a:pt x="192" y="372"/>
                    </a:lnTo>
                    <a:lnTo>
                      <a:pt x="190" y="376"/>
                    </a:lnTo>
                    <a:lnTo>
                      <a:pt x="192" y="376"/>
                    </a:lnTo>
                    <a:lnTo>
                      <a:pt x="197" y="376"/>
                    </a:lnTo>
                    <a:lnTo>
                      <a:pt x="202" y="377"/>
                    </a:lnTo>
                    <a:lnTo>
                      <a:pt x="206" y="376"/>
                    </a:lnTo>
                    <a:lnTo>
                      <a:pt x="211" y="381"/>
                    </a:lnTo>
                    <a:lnTo>
                      <a:pt x="215" y="382"/>
                    </a:lnTo>
                    <a:lnTo>
                      <a:pt x="217" y="381"/>
                    </a:lnTo>
                    <a:lnTo>
                      <a:pt x="217" y="382"/>
                    </a:lnTo>
                    <a:lnTo>
                      <a:pt x="215" y="383"/>
                    </a:lnTo>
                    <a:lnTo>
                      <a:pt x="212" y="382"/>
                    </a:lnTo>
                    <a:lnTo>
                      <a:pt x="205" y="378"/>
                    </a:lnTo>
                    <a:lnTo>
                      <a:pt x="203" y="378"/>
                    </a:lnTo>
                    <a:lnTo>
                      <a:pt x="198" y="379"/>
                    </a:lnTo>
                    <a:lnTo>
                      <a:pt x="196" y="382"/>
                    </a:lnTo>
                    <a:lnTo>
                      <a:pt x="198" y="382"/>
                    </a:lnTo>
                    <a:lnTo>
                      <a:pt x="198" y="385"/>
                    </a:lnTo>
                    <a:lnTo>
                      <a:pt x="194" y="387"/>
                    </a:lnTo>
                    <a:lnTo>
                      <a:pt x="193" y="389"/>
                    </a:lnTo>
                    <a:lnTo>
                      <a:pt x="197" y="391"/>
                    </a:lnTo>
                    <a:lnTo>
                      <a:pt x="200" y="390"/>
                    </a:lnTo>
                    <a:lnTo>
                      <a:pt x="202" y="391"/>
                    </a:lnTo>
                    <a:lnTo>
                      <a:pt x="204" y="393"/>
                    </a:lnTo>
                    <a:lnTo>
                      <a:pt x="205" y="395"/>
                    </a:lnTo>
                    <a:lnTo>
                      <a:pt x="213" y="394"/>
                    </a:lnTo>
                    <a:lnTo>
                      <a:pt x="208" y="395"/>
                    </a:lnTo>
                    <a:lnTo>
                      <a:pt x="206" y="396"/>
                    </a:lnTo>
                    <a:lnTo>
                      <a:pt x="202" y="395"/>
                    </a:lnTo>
                    <a:lnTo>
                      <a:pt x="200" y="393"/>
                    </a:lnTo>
                    <a:lnTo>
                      <a:pt x="197" y="392"/>
                    </a:lnTo>
                    <a:lnTo>
                      <a:pt x="191" y="393"/>
                    </a:lnTo>
                    <a:lnTo>
                      <a:pt x="190" y="395"/>
                    </a:lnTo>
                    <a:lnTo>
                      <a:pt x="188" y="395"/>
                    </a:lnTo>
                    <a:lnTo>
                      <a:pt x="186" y="397"/>
                    </a:lnTo>
                    <a:lnTo>
                      <a:pt x="185" y="399"/>
                    </a:lnTo>
                    <a:lnTo>
                      <a:pt x="186" y="400"/>
                    </a:lnTo>
                    <a:lnTo>
                      <a:pt x="188" y="400"/>
                    </a:lnTo>
                    <a:lnTo>
                      <a:pt x="188" y="401"/>
                    </a:lnTo>
                    <a:lnTo>
                      <a:pt x="190" y="402"/>
                    </a:lnTo>
                    <a:lnTo>
                      <a:pt x="194" y="401"/>
                    </a:lnTo>
                    <a:lnTo>
                      <a:pt x="194" y="402"/>
                    </a:lnTo>
                    <a:lnTo>
                      <a:pt x="193" y="404"/>
                    </a:lnTo>
                    <a:lnTo>
                      <a:pt x="196" y="406"/>
                    </a:lnTo>
                    <a:lnTo>
                      <a:pt x="199" y="407"/>
                    </a:lnTo>
                    <a:lnTo>
                      <a:pt x="206" y="405"/>
                    </a:lnTo>
                    <a:lnTo>
                      <a:pt x="197" y="408"/>
                    </a:lnTo>
                    <a:lnTo>
                      <a:pt x="191" y="406"/>
                    </a:lnTo>
                    <a:lnTo>
                      <a:pt x="190" y="403"/>
                    </a:lnTo>
                    <a:lnTo>
                      <a:pt x="184" y="404"/>
                    </a:lnTo>
                    <a:lnTo>
                      <a:pt x="182" y="405"/>
                    </a:lnTo>
                    <a:lnTo>
                      <a:pt x="181" y="407"/>
                    </a:lnTo>
                    <a:lnTo>
                      <a:pt x="181" y="409"/>
                    </a:lnTo>
                    <a:lnTo>
                      <a:pt x="180" y="411"/>
                    </a:lnTo>
                    <a:lnTo>
                      <a:pt x="179" y="413"/>
                    </a:lnTo>
                    <a:lnTo>
                      <a:pt x="179" y="414"/>
                    </a:lnTo>
                    <a:lnTo>
                      <a:pt x="181" y="415"/>
                    </a:lnTo>
                    <a:lnTo>
                      <a:pt x="181" y="416"/>
                    </a:lnTo>
                    <a:lnTo>
                      <a:pt x="177" y="415"/>
                    </a:lnTo>
                    <a:lnTo>
                      <a:pt x="174" y="417"/>
                    </a:lnTo>
                    <a:lnTo>
                      <a:pt x="175" y="418"/>
                    </a:lnTo>
                    <a:lnTo>
                      <a:pt x="178" y="418"/>
                    </a:lnTo>
                    <a:lnTo>
                      <a:pt x="190" y="418"/>
                    </a:lnTo>
                    <a:lnTo>
                      <a:pt x="185" y="419"/>
                    </a:lnTo>
                    <a:lnTo>
                      <a:pt x="190" y="421"/>
                    </a:lnTo>
                    <a:lnTo>
                      <a:pt x="191" y="421"/>
                    </a:lnTo>
                    <a:lnTo>
                      <a:pt x="191" y="419"/>
                    </a:lnTo>
                    <a:lnTo>
                      <a:pt x="194" y="418"/>
                    </a:lnTo>
                    <a:lnTo>
                      <a:pt x="195" y="419"/>
                    </a:lnTo>
                    <a:lnTo>
                      <a:pt x="192" y="420"/>
                    </a:lnTo>
                    <a:lnTo>
                      <a:pt x="190" y="422"/>
                    </a:lnTo>
                    <a:lnTo>
                      <a:pt x="188" y="421"/>
                    </a:lnTo>
                    <a:lnTo>
                      <a:pt x="181" y="424"/>
                    </a:lnTo>
                    <a:lnTo>
                      <a:pt x="180" y="424"/>
                    </a:lnTo>
                    <a:lnTo>
                      <a:pt x="180" y="425"/>
                    </a:lnTo>
                    <a:lnTo>
                      <a:pt x="187" y="427"/>
                    </a:lnTo>
                    <a:lnTo>
                      <a:pt x="181" y="430"/>
                    </a:lnTo>
                    <a:lnTo>
                      <a:pt x="178" y="429"/>
                    </a:lnTo>
                    <a:lnTo>
                      <a:pt x="178" y="430"/>
                    </a:lnTo>
                    <a:lnTo>
                      <a:pt x="179" y="431"/>
                    </a:lnTo>
                    <a:lnTo>
                      <a:pt x="176" y="431"/>
                    </a:lnTo>
                    <a:lnTo>
                      <a:pt x="172" y="429"/>
                    </a:lnTo>
                    <a:lnTo>
                      <a:pt x="169" y="430"/>
                    </a:lnTo>
                    <a:lnTo>
                      <a:pt x="167" y="430"/>
                    </a:lnTo>
                    <a:lnTo>
                      <a:pt x="166" y="431"/>
                    </a:lnTo>
                    <a:lnTo>
                      <a:pt x="165" y="430"/>
                    </a:lnTo>
                    <a:lnTo>
                      <a:pt x="163" y="431"/>
                    </a:lnTo>
                    <a:lnTo>
                      <a:pt x="157" y="431"/>
                    </a:lnTo>
                    <a:lnTo>
                      <a:pt x="154" y="432"/>
                    </a:lnTo>
                    <a:lnTo>
                      <a:pt x="154" y="434"/>
                    </a:lnTo>
                    <a:lnTo>
                      <a:pt x="151" y="434"/>
                    </a:lnTo>
                    <a:lnTo>
                      <a:pt x="151" y="436"/>
                    </a:lnTo>
                    <a:lnTo>
                      <a:pt x="154" y="439"/>
                    </a:lnTo>
                    <a:lnTo>
                      <a:pt x="157" y="439"/>
                    </a:lnTo>
                    <a:lnTo>
                      <a:pt x="162" y="438"/>
                    </a:lnTo>
                    <a:lnTo>
                      <a:pt x="165" y="440"/>
                    </a:lnTo>
                    <a:lnTo>
                      <a:pt x="170" y="439"/>
                    </a:lnTo>
                    <a:lnTo>
                      <a:pt x="171" y="440"/>
                    </a:lnTo>
                    <a:lnTo>
                      <a:pt x="173" y="439"/>
                    </a:lnTo>
                    <a:lnTo>
                      <a:pt x="176" y="440"/>
                    </a:lnTo>
                    <a:lnTo>
                      <a:pt x="181" y="440"/>
                    </a:lnTo>
                    <a:lnTo>
                      <a:pt x="187" y="436"/>
                    </a:lnTo>
                    <a:lnTo>
                      <a:pt x="191" y="437"/>
                    </a:lnTo>
                    <a:lnTo>
                      <a:pt x="194" y="438"/>
                    </a:lnTo>
                    <a:lnTo>
                      <a:pt x="196" y="439"/>
                    </a:lnTo>
                    <a:lnTo>
                      <a:pt x="204" y="438"/>
                    </a:lnTo>
                    <a:lnTo>
                      <a:pt x="203" y="439"/>
                    </a:lnTo>
                    <a:lnTo>
                      <a:pt x="198" y="440"/>
                    </a:lnTo>
                    <a:lnTo>
                      <a:pt x="192" y="439"/>
                    </a:lnTo>
                    <a:lnTo>
                      <a:pt x="190" y="437"/>
                    </a:lnTo>
                    <a:lnTo>
                      <a:pt x="188" y="437"/>
                    </a:lnTo>
                    <a:lnTo>
                      <a:pt x="186" y="438"/>
                    </a:lnTo>
                    <a:lnTo>
                      <a:pt x="182" y="441"/>
                    </a:lnTo>
                    <a:lnTo>
                      <a:pt x="180" y="442"/>
                    </a:lnTo>
                    <a:lnTo>
                      <a:pt x="179" y="443"/>
                    </a:lnTo>
                    <a:lnTo>
                      <a:pt x="173" y="442"/>
                    </a:lnTo>
                    <a:lnTo>
                      <a:pt x="168" y="443"/>
                    </a:lnTo>
                    <a:lnTo>
                      <a:pt x="168" y="445"/>
                    </a:lnTo>
                    <a:lnTo>
                      <a:pt x="173" y="451"/>
                    </a:lnTo>
                    <a:lnTo>
                      <a:pt x="178" y="454"/>
                    </a:lnTo>
                    <a:lnTo>
                      <a:pt x="185" y="455"/>
                    </a:lnTo>
                    <a:lnTo>
                      <a:pt x="187" y="454"/>
                    </a:lnTo>
                    <a:lnTo>
                      <a:pt x="187" y="455"/>
                    </a:lnTo>
                    <a:lnTo>
                      <a:pt x="187" y="456"/>
                    </a:lnTo>
                    <a:lnTo>
                      <a:pt x="192" y="457"/>
                    </a:lnTo>
                    <a:lnTo>
                      <a:pt x="193" y="459"/>
                    </a:lnTo>
                    <a:lnTo>
                      <a:pt x="194" y="459"/>
                    </a:lnTo>
                    <a:lnTo>
                      <a:pt x="198" y="457"/>
                    </a:lnTo>
                    <a:lnTo>
                      <a:pt x="200" y="456"/>
                    </a:lnTo>
                    <a:lnTo>
                      <a:pt x="203" y="454"/>
                    </a:lnTo>
                    <a:lnTo>
                      <a:pt x="207" y="450"/>
                    </a:lnTo>
                    <a:lnTo>
                      <a:pt x="210" y="446"/>
                    </a:lnTo>
                    <a:lnTo>
                      <a:pt x="212" y="446"/>
                    </a:lnTo>
                    <a:lnTo>
                      <a:pt x="214" y="443"/>
                    </a:lnTo>
                    <a:lnTo>
                      <a:pt x="216" y="443"/>
                    </a:lnTo>
                    <a:lnTo>
                      <a:pt x="219" y="440"/>
                    </a:lnTo>
                    <a:lnTo>
                      <a:pt x="220" y="439"/>
                    </a:lnTo>
                    <a:lnTo>
                      <a:pt x="224" y="436"/>
                    </a:lnTo>
                    <a:lnTo>
                      <a:pt x="226" y="437"/>
                    </a:lnTo>
                    <a:lnTo>
                      <a:pt x="229" y="432"/>
                    </a:lnTo>
                    <a:lnTo>
                      <a:pt x="229" y="430"/>
                    </a:lnTo>
                    <a:lnTo>
                      <a:pt x="231" y="430"/>
                    </a:lnTo>
                    <a:lnTo>
                      <a:pt x="238" y="424"/>
                    </a:lnTo>
                    <a:lnTo>
                      <a:pt x="237" y="426"/>
                    </a:lnTo>
                    <a:lnTo>
                      <a:pt x="231" y="433"/>
                    </a:lnTo>
                    <a:lnTo>
                      <a:pt x="228" y="437"/>
                    </a:lnTo>
                    <a:lnTo>
                      <a:pt x="229" y="437"/>
                    </a:lnTo>
                    <a:lnTo>
                      <a:pt x="237" y="439"/>
                    </a:lnTo>
                    <a:lnTo>
                      <a:pt x="239" y="437"/>
                    </a:lnTo>
                    <a:lnTo>
                      <a:pt x="242" y="437"/>
                    </a:lnTo>
                    <a:lnTo>
                      <a:pt x="237" y="440"/>
                    </a:lnTo>
                    <a:lnTo>
                      <a:pt x="230" y="439"/>
                    </a:lnTo>
                    <a:lnTo>
                      <a:pt x="222" y="442"/>
                    </a:lnTo>
                    <a:lnTo>
                      <a:pt x="222" y="443"/>
                    </a:lnTo>
                    <a:lnTo>
                      <a:pt x="224" y="444"/>
                    </a:lnTo>
                    <a:lnTo>
                      <a:pt x="219" y="446"/>
                    </a:lnTo>
                    <a:lnTo>
                      <a:pt x="217" y="449"/>
                    </a:lnTo>
                    <a:lnTo>
                      <a:pt x="217" y="452"/>
                    </a:lnTo>
                    <a:lnTo>
                      <a:pt x="216" y="452"/>
                    </a:lnTo>
                    <a:lnTo>
                      <a:pt x="215" y="454"/>
                    </a:lnTo>
                    <a:lnTo>
                      <a:pt x="216" y="454"/>
                    </a:lnTo>
                    <a:lnTo>
                      <a:pt x="217" y="456"/>
                    </a:lnTo>
                    <a:lnTo>
                      <a:pt x="219" y="456"/>
                    </a:lnTo>
                    <a:lnTo>
                      <a:pt x="223" y="454"/>
                    </a:lnTo>
                    <a:lnTo>
                      <a:pt x="228" y="453"/>
                    </a:lnTo>
                    <a:lnTo>
                      <a:pt x="224" y="454"/>
                    </a:lnTo>
                    <a:lnTo>
                      <a:pt x="222" y="456"/>
                    </a:lnTo>
                    <a:lnTo>
                      <a:pt x="218" y="458"/>
                    </a:lnTo>
                    <a:lnTo>
                      <a:pt x="214" y="456"/>
                    </a:lnTo>
                    <a:lnTo>
                      <a:pt x="212" y="457"/>
                    </a:lnTo>
                    <a:lnTo>
                      <a:pt x="212" y="458"/>
                    </a:lnTo>
                    <a:lnTo>
                      <a:pt x="212" y="459"/>
                    </a:lnTo>
                    <a:lnTo>
                      <a:pt x="211" y="459"/>
                    </a:lnTo>
                    <a:lnTo>
                      <a:pt x="211" y="460"/>
                    </a:lnTo>
                    <a:lnTo>
                      <a:pt x="212" y="460"/>
                    </a:lnTo>
                    <a:lnTo>
                      <a:pt x="211" y="461"/>
                    </a:lnTo>
                    <a:lnTo>
                      <a:pt x="212" y="461"/>
                    </a:lnTo>
                    <a:lnTo>
                      <a:pt x="213" y="460"/>
                    </a:lnTo>
                    <a:lnTo>
                      <a:pt x="214" y="459"/>
                    </a:lnTo>
                    <a:lnTo>
                      <a:pt x="214" y="458"/>
                    </a:lnTo>
                    <a:lnTo>
                      <a:pt x="214" y="459"/>
                    </a:lnTo>
                    <a:lnTo>
                      <a:pt x="214" y="460"/>
                    </a:lnTo>
                    <a:lnTo>
                      <a:pt x="215" y="460"/>
                    </a:lnTo>
                    <a:lnTo>
                      <a:pt x="216" y="462"/>
                    </a:lnTo>
                    <a:lnTo>
                      <a:pt x="220" y="462"/>
                    </a:lnTo>
                    <a:lnTo>
                      <a:pt x="221" y="462"/>
                    </a:lnTo>
                    <a:lnTo>
                      <a:pt x="226" y="463"/>
                    </a:lnTo>
                    <a:lnTo>
                      <a:pt x="228" y="464"/>
                    </a:lnTo>
                    <a:lnTo>
                      <a:pt x="226" y="464"/>
                    </a:lnTo>
                    <a:lnTo>
                      <a:pt x="220" y="463"/>
                    </a:lnTo>
                    <a:lnTo>
                      <a:pt x="212" y="464"/>
                    </a:lnTo>
                    <a:lnTo>
                      <a:pt x="210" y="466"/>
                    </a:lnTo>
                    <a:lnTo>
                      <a:pt x="210" y="467"/>
                    </a:lnTo>
                    <a:lnTo>
                      <a:pt x="209" y="468"/>
                    </a:lnTo>
                    <a:lnTo>
                      <a:pt x="205" y="472"/>
                    </a:lnTo>
                    <a:lnTo>
                      <a:pt x="205" y="474"/>
                    </a:lnTo>
                    <a:lnTo>
                      <a:pt x="203" y="474"/>
                    </a:lnTo>
                    <a:lnTo>
                      <a:pt x="202" y="475"/>
                    </a:lnTo>
                    <a:lnTo>
                      <a:pt x="200" y="485"/>
                    </a:lnTo>
                    <a:lnTo>
                      <a:pt x="201" y="486"/>
                    </a:lnTo>
                    <a:lnTo>
                      <a:pt x="204" y="487"/>
                    </a:lnTo>
                    <a:lnTo>
                      <a:pt x="204" y="488"/>
                    </a:lnTo>
                    <a:lnTo>
                      <a:pt x="202" y="490"/>
                    </a:lnTo>
                    <a:lnTo>
                      <a:pt x="202" y="491"/>
                    </a:lnTo>
                    <a:lnTo>
                      <a:pt x="201" y="492"/>
                    </a:lnTo>
                    <a:lnTo>
                      <a:pt x="199" y="496"/>
                    </a:lnTo>
                    <a:lnTo>
                      <a:pt x="199" y="498"/>
                    </a:lnTo>
                    <a:lnTo>
                      <a:pt x="200" y="498"/>
                    </a:lnTo>
                    <a:lnTo>
                      <a:pt x="202" y="495"/>
                    </a:lnTo>
                    <a:lnTo>
                      <a:pt x="203" y="495"/>
                    </a:lnTo>
                    <a:lnTo>
                      <a:pt x="204" y="493"/>
                    </a:lnTo>
                    <a:lnTo>
                      <a:pt x="205" y="492"/>
                    </a:lnTo>
                    <a:lnTo>
                      <a:pt x="206" y="491"/>
                    </a:lnTo>
                    <a:lnTo>
                      <a:pt x="208" y="491"/>
                    </a:lnTo>
                    <a:lnTo>
                      <a:pt x="207" y="493"/>
                    </a:lnTo>
                    <a:lnTo>
                      <a:pt x="203" y="498"/>
                    </a:lnTo>
                    <a:lnTo>
                      <a:pt x="203" y="499"/>
                    </a:lnTo>
                    <a:lnTo>
                      <a:pt x="204" y="500"/>
                    </a:lnTo>
                    <a:lnTo>
                      <a:pt x="205" y="500"/>
                    </a:lnTo>
                    <a:lnTo>
                      <a:pt x="206" y="502"/>
                    </a:lnTo>
                    <a:lnTo>
                      <a:pt x="205" y="503"/>
                    </a:lnTo>
                    <a:lnTo>
                      <a:pt x="201" y="502"/>
                    </a:lnTo>
                    <a:lnTo>
                      <a:pt x="198" y="505"/>
                    </a:lnTo>
                    <a:lnTo>
                      <a:pt x="197" y="506"/>
                    </a:lnTo>
                    <a:lnTo>
                      <a:pt x="197" y="508"/>
                    </a:lnTo>
                    <a:lnTo>
                      <a:pt x="192" y="513"/>
                    </a:lnTo>
                    <a:lnTo>
                      <a:pt x="192" y="515"/>
                    </a:lnTo>
                    <a:lnTo>
                      <a:pt x="192" y="516"/>
                    </a:lnTo>
                    <a:lnTo>
                      <a:pt x="192" y="517"/>
                    </a:lnTo>
                    <a:lnTo>
                      <a:pt x="193" y="518"/>
                    </a:lnTo>
                    <a:lnTo>
                      <a:pt x="194" y="516"/>
                    </a:lnTo>
                    <a:lnTo>
                      <a:pt x="195" y="513"/>
                    </a:lnTo>
                    <a:lnTo>
                      <a:pt x="197" y="512"/>
                    </a:lnTo>
                    <a:lnTo>
                      <a:pt x="199" y="509"/>
                    </a:lnTo>
                    <a:lnTo>
                      <a:pt x="198" y="508"/>
                    </a:lnTo>
                    <a:lnTo>
                      <a:pt x="203" y="506"/>
                    </a:lnTo>
                    <a:lnTo>
                      <a:pt x="200" y="508"/>
                    </a:lnTo>
                    <a:lnTo>
                      <a:pt x="202" y="508"/>
                    </a:lnTo>
                    <a:lnTo>
                      <a:pt x="202" y="509"/>
                    </a:lnTo>
                    <a:lnTo>
                      <a:pt x="200" y="511"/>
                    </a:lnTo>
                    <a:lnTo>
                      <a:pt x="197" y="515"/>
                    </a:lnTo>
                    <a:lnTo>
                      <a:pt x="193" y="518"/>
                    </a:lnTo>
                    <a:lnTo>
                      <a:pt x="193" y="522"/>
                    </a:lnTo>
                    <a:lnTo>
                      <a:pt x="194" y="523"/>
                    </a:lnTo>
                    <a:lnTo>
                      <a:pt x="200" y="519"/>
                    </a:lnTo>
                    <a:lnTo>
                      <a:pt x="202" y="518"/>
                    </a:lnTo>
                    <a:lnTo>
                      <a:pt x="199" y="522"/>
                    </a:lnTo>
                    <a:lnTo>
                      <a:pt x="195" y="527"/>
                    </a:lnTo>
                    <a:lnTo>
                      <a:pt x="195" y="528"/>
                    </a:lnTo>
                    <a:lnTo>
                      <a:pt x="195" y="531"/>
                    </a:lnTo>
                    <a:lnTo>
                      <a:pt x="197" y="534"/>
                    </a:lnTo>
                    <a:lnTo>
                      <a:pt x="200" y="535"/>
                    </a:lnTo>
                    <a:lnTo>
                      <a:pt x="199" y="536"/>
                    </a:lnTo>
                    <a:lnTo>
                      <a:pt x="201" y="536"/>
                    </a:lnTo>
                    <a:lnTo>
                      <a:pt x="205" y="533"/>
                    </a:lnTo>
                    <a:lnTo>
                      <a:pt x="211" y="527"/>
                    </a:lnTo>
                    <a:lnTo>
                      <a:pt x="212" y="528"/>
                    </a:lnTo>
                    <a:lnTo>
                      <a:pt x="209" y="532"/>
                    </a:lnTo>
                    <a:lnTo>
                      <a:pt x="202" y="537"/>
                    </a:lnTo>
                    <a:lnTo>
                      <a:pt x="200" y="539"/>
                    </a:lnTo>
                    <a:lnTo>
                      <a:pt x="198" y="543"/>
                    </a:lnTo>
                    <a:lnTo>
                      <a:pt x="194" y="545"/>
                    </a:lnTo>
                    <a:lnTo>
                      <a:pt x="195" y="546"/>
                    </a:lnTo>
                    <a:lnTo>
                      <a:pt x="194" y="551"/>
                    </a:lnTo>
                    <a:lnTo>
                      <a:pt x="191" y="556"/>
                    </a:lnTo>
                    <a:lnTo>
                      <a:pt x="192" y="559"/>
                    </a:lnTo>
                    <a:lnTo>
                      <a:pt x="191" y="564"/>
                    </a:lnTo>
                    <a:lnTo>
                      <a:pt x="191" y="569"/>
                    </a:lnTo>
                    <a:lnTo>
                      <a:pt x="190" y="571"/>
                    </a:lnTo>
                    <a:lnTo>
                      <a:pt x="187" y="572"/>
                    </a:lnTo>
                    <a:lnTo>
                      <a:pt x="187" y="573"/>
                    </a:lnTo>
                    <a:lnTo>
                      <a:pt x="185" y="575"/>
                    </a:lnTo>
                    <a:lnTo>
                      <a:pt x="184" y="579"/>
                    </a:lnTo>
                    <a:lnTo>
                      <a:pt x="184" y="581"/>
                    </a:lnTo>
                    <a:lnTo>
                      <a:pt x="184" y="585"/>
                    </a:lnTo>
                    <a:lnTo>
                      <a:pt x="185" y="586"/>
                    </a:lnTo>
                    <a:lnTo>
                      <a:pt x="191" y="586"/>
                    </a:lnTo>
                    <a:lnTo>
                      <a:pt x="194" y="585"/>
                    </a:lnTo>
                    <a:lnTo>
                      <a:pt x="201" y="583"/>
                    </a:lnTo>
                    <a:lnTo>
                      <a:pt x="203" y="583"/>
                    </a:lnTo>
                    <a:lnTo>
                      <a:pt x="203" y="581"/>
                    </a:lnTo>
                    <a:lnTo>
                      <a:pt x="206" y="580"/>
                    </a:lnTo>
                    <a:lnTo>
                      <a:pt x="207" y="578"/>
                    </a:lnTo>
                    <a:lnTo>
                      <a:pt x="206" y="574"/>
                    </a:lnTo>
                    <a:lnTo>
                      <a:pt x="204" y="572"/>
                    </a:lnTo>
                    <a:lnTo>
                      <a:pt x="201" y="572"/>
                    </a:lnTo>
                    <a:lnTo>
                      <a:pt x="205" y="570"/>
                    </a:lnTo>
                    <a:lnTo>
                      <a:pt x="205" y="566"/>
                    </a:lnTo>
                    <a:lnTo>
                      <a:pt x="208" y="565"/>
                    </a:lnTo>
                    <a:lnTo>
                      <a:pt x="208" y="561"/>
                    </a:lnTo>
                    <a:lnTo>
                      <a:pt x="209" y="560"/>
                    </a:lnTo>
                    <a:lnTo>
                      <a:pt x="209" y="556"/>
                    </a:lnTo>
                    <a:lnTo>
                      <a:pt x="212" y="555"/>
                    </a:lnTo>
                    <a:lnTo>
                      <a:pt x="212" y="554"/>
                    </a:lnTo>
                    <a:lnTo>
                      <a:pt x="209" y="553"/>
                    </a:lnTo>
                    <a:lnTo>
                      <a:pt x="209" y="551"/>
                    </a:lnTo>
                    <a:lnTo>
                      <a:pt x="210" y="550"/>
                    </a:lnTo>
                    <a:lnTo>
                      <a:pt x="209" y="548"/>
                    </a:lnTo>
                    <a:lnTo>
                      <a:pt x="211" y="547"/>
                    </a:lnTo>
                    <a:lnTo>
                      <a:pt x="211" y="546"/>
                    </a:lnTo>
                    <a:lnTo>
                      <a:pt x="212" y="543"/>
                    </a:lnTo>
                    <a:lnTo>
                      <a:pt x="213" y="541"/>
                    </a:lnTo>
                    <a:lnTo>
                      <a:pt x="218" y="537"/>
                    </a:lnTo>
                    <a:lnTo>
                      <a:pt x="222" y="536"/>
                    </a:lnTo>
                    <a:lnTo>
                      <a:pt x="223" y="535"/>
                    </a:lnTo>
                    <a:lnTo>
                      <a:pt x="222" y="531"/>
                    </a:lnTo>
                    <a:lnTo>
                      <a:pt x="220" y="529"/>
                    </a:lnTo>
                    <a:lnTo>
                      <a:pt x="216" y="525"/>
                    </a:lnTo>
                    <a:lnTo>
                      <a:pt x="217" y="524"/>
                    </a:lnTo>
                    <a:lnTo>
                      <a:pt x="216" y="523"/>
                    </a:lnTo>
                    <a:lnTo>
                      <a:pt x="215" y="521"/>
                    </a:lnTo>
                    <a:lnTo>
                      <a:pt x="214" y="517"/>
                    </a:lnTo>
                    <a:lnTo>
                      <a:pt x="212" y="515"/>
                    </a:lnTo>
                    <a:lnTo>
                      <a:pt x="213" y="513"/>
                    </a:lnTo>
                    <a:lnTo>
                      <a:pt x="212" y="510"/>
                    </a:lnTo>
                    <a:lnTo>
                      <a:pt x="213" y="508"/>
                    </a:lnTo>
                    <a:lnTo>
                      <a:pt x="214" y="510"/>
                    </a:lnTo>
                    <a:lnTo>
                      <a:pt x="217" y="511"/>
                    </a:lnTo>
                    <a:lnTo>
                      <a:pt x="220" y="508"/>
                    </a:lnTo>
                    <a:lnTo>
                      <a:pt x="221" y="505"/>
                    </a:lnTo>
                    <a:lnTo>
                      <a:pt x="223" y="505"/>
                    </a:lnTo>
                    <a:lnTo>
                      <a:pt x="225" y="502"/>
                    </a:lnTo>
                    <a:lnTo>
                      <a:pt x="229" y="498"/>
                    </a:lnTo>
                    <a:lnTo>
                      <a:pt x="233" y="496"/>
                    </a:lnTo>
                    <a:lnTo>
                      <a:pt x="239" y="493"/>
                    </a:lnTo>
                    <a:lnTo>
                      <a:pt x="242" y="486"/>
                    </a:lnTo>
                    <a:lnTo>
                      <a:pt x="247" y="486"/>
                    </a:lnTo>
                    <a:lnTo>
                      <a:pt x="250" y="484"/>
                    </a:lnTo>
                    <a:lnTo>
                      <a:pt x="253" y="483"/>
                    </a:lnTo>
                    <a:lnTo>
                      <a:pt x="253" y="484"/>
                    </a:lnTo>
                    <a:lnTo>
                      <a:pt x="251" y="485"/>
                    </a:lnTo>
                    <a:lnTo>
                      <a:pt x="243" y="489"/>
                    </a:lnTo>
                    <a:lnTo>
                      <a:pt x="242" y="491"/>
                    </a:lnTo>
                    <a:lnTo>
                      <a:pt x="241" y="494"/>
                    </a:lnTo>
                    <a:lnTo>
                      <a:pt x="232" y="498"/>
                    </a:lnTo>
                    <a:lnTo>
                      <a:pt x="229" y="501"/>
                    </a:lnTo>
                    <a:lnTo>
                      <a:pt x="224" y="505"/>
                    </a:lnTo>
                    <a:lnTo>
                      <a:pt x="223" y="508"/>
                    </a:lnTo>
                    <a:lnTo>
                      <a:pt x="220" y="512"/>
                    </a:lnTo>
                    <a:lnTo>
                      <a:pt x="219" y="515"/>
                    </a:lnTo>
                    <a:lnTo>
                      <a:pt x="221" y="516"/>
                    </a:lnTo>
                    <a:lnTo>
                      <a:pt x="220" y="521"/>
                    </a:lnTo>
                    <a:lnTo>
                      <a:pt x="222" y="526"/>
                    </a:lnTo>
                    <a:lnTo>
                      <a:pt x="227" y="527"/>
                    </a:lnTo>
                    <a:lnTo>
                      <a:pt x="231" y="529"/>
                    </a:lnTo>
                    <a:lnTo>
                      <a:pt x="231" y="528"/>
                    </a:lnTo>
                    <a:lnTo>
                      <a:pt x="229" y="524"/>
                    </a:lnTo>
                    <a:lnTo>
                      <a:pt x="229" y="522"/>
                    </a:lnTo>
                    <a:lnTo>
                      <a:pt x="230" y="521"/>
                    </a:lnTo>
                    <a:lnTo>
                      <a:pt x="230" y="519"/>
                    </a:lnTo>
                    <a:lnTo>
                      <a:pt x="231" y="518"/>
                    </a:lnTo>
                    <a:lnTo>
                      <a:pt x="232" y="515"/>
                    </a:lnTo>
                    <a:lnTo>
                      <a:pt x="233" y="515"/>
                    </a:lnTo>
                    <a:lnTo>
                      <a:pt x="234" y="518"/>
                    </a:lnTo>
                    <a:lnTo>
                      <a:pt x="241" y="521"/>
                    </a:lnTo>
                    <a:lnTo>
                      <a:pt x="242" y="521"/>
                    </a:lnTo>
                    <a:lnTo>
                      <a:pt x="241" y="518"/>
                    </a:lnTo>
                    <a:lnTo>
                      <a:pt x="239" y="515"/>
                    </a:lnTo>
                    <a:lnTo>
                      <a:pt x="240" y="514"/>
                    </a:lnTo>
                    <a:lnTo>
                      <a:pt x="242" y="517"/>
                    </a:lnTo>
                    <a:lnTo>
                      <a:pt x="243" y="524"/>
                    </a:lnTo>
                    <a:lnTo>
                      <a:pt x="245" y="526"/>
                    </a:lnTo>
                    <a:lnTo>
                      <a:pt x="248" y="526"/>
                    </a:lnTo>
                    <a:lnTo>
                      <a:pt x="251" y="523"/>
                    </a:lnTo>
                    <a:lnTo>
                      <a:pt x="251" y="519"/>
                    </a:lnTo>
                    <a:lnTo>
                      <a:pt x="254" y="515"/>
                    </a:lnTo>
                    <a:lnTo>
                      <a:pt x="254" y="514"/>
                    </a:lnTo>
                    <a:lnTo>
                      <a:pt x="252" y="512"/>
                    </a:lnTo>
                    <a:lnTo>
                      <a:pt x="255" y="512"/>
                    </a:lnTo>
                    <a:lnTo>
                      <a:pt x="255" y="511"/>
                    </a:lnTo>
                    <a:lnTo>
                      <a:pt x="255" y="505"/>
                    </a:lnTo>
                    <a:lnTo>
                      <a:pt x="256" y="502"/>
                    </a:lnTo>
                    <a:lnTo>
                      <a:pt x="254" y="500"/>
                    </a:lnTo>
                    <a:lnTo>
                      <a:pt x="255" y="498"/>
                    </a:lnTo>
                    <a:lnTo>
                      <a:pt x="254" y="496"/>
                    </a:lnTo>
                    <a:lnTo>
                      <a:pt x="255" y="495"/>
                    </a:lnTo>
                    <a:lnTo>
                      <a:pt x="256" y="496"/>
                    </a:lnTo>
                    <a:lnTo>
                      <a:pt x="256" y="500"/>
                    </a:lnTo>
                    <a:lnTo>
                      <a:pt x="257" y="501"/>
                    </a:lnTo>
                    <a:lnTo>
                      <a:pt x="258" y="501"/>
                    </a:lnTo>
                    <a:lnTo>
                      <a:pt x="261" y="498"/>
                    </a:lnTo>
                    <a:lnTo>
                      <a:pt x="259" y="500"/>
                    </a:lnTo>
                    <a:lnTo>
                      <a:pt x="256" y="506"/>
                    </a:lnTo>
                    <a:lnTo>
                      <a:pt x="258" y="510"/>
                    </a:lnTo>
                    <a:lnTo>
                      <a:pt x="259" y="512"/>
                    </a:lnTo>
                    <a:lnTo>
                      <a:pt x="262" y="513"/>
                    </a:lnTo>
                    <a:lnTo>
                      <a:pt x="264" y="513"/>
                    </a:lnTo>
                    <a:lnTo>
                      <a:pt x="266" y="512"/>
                    </a:lnTo>
                    <a:lnTo>
                      <a:pt x="262" y="509"/>
                    </a:lnTo>
                    <a:lnTo>
                      <a:pt x="260" y="505"/>
                    </a:lnTo>
                    <a:lnTo>
                      <a:pt x="260" y="504"/>
                    </a:lnTo>
                    <a:lnTo>
                      <a:pt x="265" y="509"/>
                    </a:lnTo>
                    <a:lnTo>
                      <a:pt x="269" y="511"/>
                    </a:lnTo>
                    <a:lnTo>
                      <a:pt x="275" y="516"/>
                    </a:lnTo>
                    <a:lnTo>
                      <a:pt x="287" y="518"/>
                    </a:lnTo>
                    <a:lnTo>
                      <a:pt x="284" y="519"/>
                    </a:lnTo>
                    <a:lnTo>
                      <a:pt x="270" y="517"/>
                    </a:lnTo>
                    <a:lnTo>
                      <a:pt x="269" y="517"/>
                    </a:lnTo>
                    <a:lnTo>
                      <a:pt x="263" y="515"/>
                    </a:lnTo>
                    <a:lnTo>
                      <a:pt x="257" y="517"/>
                    </a:lnTo>
                    <a:lnTo>
                      <a:pt x="256" y="518"/>
                    </a:lnTo>
                    <a:lnTo>
                      <a:pt x="257" y="518"/>
                    </a:lnTo>
                    <a:lnTo>
                      <a:pt x="256" y="520"/>
                    </a:lnTo>
                    <a:lnTo>
                      <a:pt x="256" y="521"/>
                    </a:lnTo>
                    <a:lnTo>
                      <a:pt x="254" y="523"/>
                    </a:lnTo>
                    <a:lnTo>
                      <a:pt x="255" y="524"/>
                    </a:lnTo>
                    <a:lnTo>
                      <a:pt x="255" y="530"/>
                    </a:lnTo>
                    <a:lnTo>
                      <a:pt x="258" y="535"/>
                    </a:lnTo>
                    <a:lnTo>
                      <a:pt x="258" y="537"/>
                    </a:lnTo>
                    <a:lnTo>
                      <a:pt x="254" y="541"/>
                    </a:lnTo>
                    <a:lnTo>
                      <a:pt x="254" y="543"/>
                    </a:lnTo>
                    <a:lnTo>
                      <a:pt x="262" y="547"/>
                    </a:lnTo>
                    <a:lnTo>
                      <a:pt x="262" y="549"/>
                    </a:lnTo>
                    <a:lnTo>
                      <a:pt x="265" y="550"/>
                    </a:lnTo>
                    <a:lnTo>
                      <a:pt x="271" y="552"/>
                    </a:lnTo>
                    <a:lnTo>
                      <a:pt x="274" y="557"/>
                    </a:lnTo>
                    <a:lnTo>
                      <a:pt x="272" y="559"/>
                    </a:lnTo>
                    <a:lnTo>
                      <a:pt x="275" y="559"/>
                    </a:lnTo>
                    <a:lnTo>
                      <a:pt x="277" y="561"/>
                    </a:lnTo>
                    <a:lnTo>
                      <a:pt x="278" y="564"/>
                    </a:lnTo>
                    <a:lnTo>
                      <a:pt x="275" y="569"/>
                    </a:lnTo>
                    <a:lnTo>
                      <a:pt x="269" y="571"/>
                    </a:lnTo>
                    <a:lnTo>
                      <a:pt x="267" y="573"/>
                    </a:lnTo>
                    <a:lnTo>
                      <a:pt x="265" y="575"/>
                    </a:lnTo>
                    <a:lnTo>
                      <a:pt x="265" y="578"/>
                    </a:lnTo>
                    <a:lnTo>
                      <a:pt x="260" y="582"/>
                    </a:lnTo>
                    <a:lnTo>
                      <a:pt x="260" y="586"/>
                    </a:lnTo>
                    <a:lnTo>
                      <a:pt x="258" y="589"/>
                    </a:lnTo>
                    <a:lnTo>
                      <a:pt x="258" y="593"/>
                    </a:lnTo>
                    <a:lnTo>
                      <a:pt x="254" y="595"/>
                    </a:lnTo>
                    <a:lnTo>
                      <a:pt x="252" y="598"/>
                    </a:lnTo>
                    <a:lnTo>
                      <a:pt x="246" y="602"/>
                    </a:lnTo>
                    <a:lnTo>
                      <a:pt x="246" y="606"/>
                    </a:lnTo>
                    <a:lnTo>
                      <a:pt x="242" y="612"/>
                    </a:lnTo>
                    <a:lnTo>
                      <a:pt x="242" y="614"/>
                    </a:lnTo>
                    <a:lnTo>
                      <a:pt x="244" y="618"/>
                    </a:lnTo>
                    <a:lnTo>
                      <a:pt x="246" y="620"/>
                    </a:lnTo>
                    <a:lnTo>
                      <a:pt x="246" y="622"/>
                    </a:lnTo>
                    <a:lnTo>
                      <a:pt x="249" y="624"/>
                    </a:lnTo>
                    <a:lnTo>
                      <a:pt x="248" y="626"/>
                    </a:lnTo>
                    <a:lnTo>
                      <a:pt x="246" y="626"/>
                    </a:lnTo>
                    <a:lnTo>
                      <a:pt x="243" y="624"/>
                    </a:lnTo>
                    <a:lnTo>
                      <a:pt x="242" y="621"/>
                    </a:lnTo>
                    <a:lnTo>
                      <a:pt x="242" y="619"/>
                    </a:lnTo>
                    <a:lnTo>
                      <a:pt x="242" y="617"/>
                    </a:lnTo>
                    <a:lnTo>
                      <a:pt x="240" y="616"/>
                    </a:lnTo>
                    <a:lnTo>
                      <a:pt x="238" y="615"/>
                    </a:lnTo>
                    <a:lnTo>
                      <a:pt x="237" y="616"/>
                    </a:lnTo>
                    <a:lnTo>
                      <a:pt x="234" y="616"/>
                    </a:lnTo>
                    <a:lnTo>
                      <a:pt x="233" y="618"/>
                    </a:lnTo>
                    <a:lnTo>
                      <a:pt x="234" y="620"/>
                    </a:lnTo>
                    <a:lnTo>
                      <a:pt x="233" y="624"/>
                    </a:lnTo>
                    <a:lnTo>
                      <a:pt x="234" y="626"/>
                    </a:lnTo>
                    <a:lnTo>
                      <a:pt x="236" y="629"/>
                    </a:lnTo>
                    <a:lnTo>
                      <a:pt x="237" y="633"/>
                    </a:lnTo>
                    <a:lnTo>
                      <a:pt x="244" y="638"/>
                    </a:lnTo>
                    <a:lnTo>
                      <a:pt x="247" y="640"/>
                    </a:lnTo>
                    <a:lnTo>
                      <a:pt x="246" y="641"/>
                    </a:lnTo>
                    <a:lnTo>
                      <a:pt x="248" y="643"/>
                    </a:lnTo>
                    <a:lnTo>
                      <a:pt x="248" y="644"/>
                    </a:lnTo>
                    <a:lnTo>
                      <a:pt x="251" y="645"/>
                    </a:lnTo>
                    <a:lnTo>
                      <a:pt x="251" y="648"/>
                    </a:lnTo>
                    <a:lnTo>
                      <a:pt x="250" y="650"/>
                    </a:lnTo>
                    <a:lnTo>
                      <a:pt x="251" y="653"/>
                    </a:lnTo>
                    <a:lnTo>
                      <a:pt x="258" y="656"/>
                    </a:lnTo>
                    <a:lnTo>
                      <a:pt x="259" y="654"/>
                    </a:lnTo>
                    <a:lnTo>
                      <a:pt x="257" y="653"/>
                    </a:lnTo>
                    <a:lnTo>
                      <a:pt x="258" y="650"/>
                    </a:lnTo>
                    <a:lnTo>
                      <a:pt x="257" y="649"/>
                    </a:lnTo>
                    <a:lnTo>
                      <a:pt x="255" y="648"/>
                    </a:lnTo>
                    <a:lnTo>
                      <a:pt x="253" y="644"/>
                    </a:lnTo>
                    <a:lnTo>
                      <a:pt x="253" y="642"/>
                    </a:lnTo>
                    <a:lnTo>
                      <a:pt x="251" y="641"/>
                    </a:lnTo>
                    <a:lnTo>
                      <a:pt x="251" y="638"/>
                    </a:lnTo>
                    <a:lnTo>
                      <a:pt x="250" y="637"/>
                    </a:lnTo>
                    <a:lnTo>
                      <a:pt x="253" y="634"/>
                    </a:lnTo>
                    <a:lnTo>
                      <a:pt x="261" y="631"/>
                    </a:lnTo>
                    <a:lnTo>
                      <a:pt x="263" y="631"/>
                    </a:lnTo>
                    <a:lnTo>
                      <a:pt x="264" y="634"/>
                    </a:lnTo>
                    <a:lnTo>
                      <a:pt x="270" y="635"/>
                    </a:lnTo>
                    <a:lnTo>
                      <a:pt x="273" y="638"/>
                    </a:lnTo>
                    <a:lnTo>
                      <a:pt x="279" y="640"/>
                    </a:lnTo>
                    <a:lnTo>
                      <a:pt x="286" y="648"/>
                    </a:lnTo>
                    <a:lnTo>
                      <a:pt x="292" y="648"/>
                    </a:lnTo>
                    <a:lnTo>
                      <a:pt x="295" y="650"/>
                    </a:lnTo>
                    <a:lnTo>
                      <a:pt x="298" y="648"/>
                    </a:lnTo>
                    <a:lnTo>
                      <a:pt x="298" y="647"/>
                    </a:lnTo>
                    <a:lnTo>
                      <a:pt x="297" y="645"/>
                    </a:lnTo>
                    <a:lnTo>
                      <a:pt x="298" y="642"/>
                    </a:lnTo>
                    <a:lnTo>
                      <a:pt x="297" y="641"/>
                    </a:lnTo>
                    <a:lnTo>
                      <a:pt x="297" y="639"/>
                    </a:lnTo>
                    <a:lnTo>
                      <a:pt x="299" y="638"/>
                    </a:lnTo>
                    <a:lnTo>
                      <a:pt x="298" y="637"/>
                    </a:lnTo>
                    <a:lnTo>
                      <a:pt x="294" y="634"/>
                    </a:lnTo>
                    <a:lnTo>
                      <a:pt x="293" y="632"/>
                    </a:lnTo>
                    <a:lnTo>
                      <a:pt x="292" y="630"/>
                    </a:lnTo>
                    <a:lnTo>
                      <a:pt x="292" y="629"/>
                    </a:lnTo>
                    <a:lnTo>
                      <a:pt x="295" y="628"/>
                    </a:lnTo>
                    <a:lnTo>
                      <a:pt x="295" y="626"/>
                    </a:lnTo>
                    <a:lnTo>
                      <a:pt x="297" y="627"/>
                    </a:lnTo>
                    <a:lnTo>
                      <a:pt x="297" y="629"/>
                    </a:lnTo>
                    <a:lnTo>
                      <a:pt x="297" y="631"/>
                    </a:lnTo>
                    <a:lnTo>
                      <a:pt x="304" y="634"/>
                    </a:lnTo>
                    <a:lnTo>
                      <a:pt x="307" y="633"/>
                    </a:lnTo>
                    <a:lnTo>
                      <a:pt x="309" y="630"/>
                    </a:lnTo>
                    <a:lnTo>
                      <a:pt x="310" y="630"/>
                    </a:lnTo>
                    <a:lnTo>
                      <a:pt x="310" y="631"/>
                    </a:lnTo>
                    <a:lnTo>
                      <a:pt x="309" y="634"/>
                    </a:lnTo>
                    <a:lnTo>
                      <a:pt x="310" y="635"/>
                    </a:lnTo>
                    <a:lnTo>
                      <a:pt x="310" y="636"/>
                    </a:lnTo>
                    <a:lnTo>
                      <a:pt x="312" y="636"/>
                    </a:lnTo>
                    <a:lnTo>
                      <a:pt x="312" y="638"/>
                    </a:lnTo>
                    <a:lnTo>
                      <a:pt x="315" y="640"/>
                    </a:lnTo>
                    <a:lnTo>
                      <a:pt x="316" y="640"/>
                    </a:lnTo>
                    <a:lnTo>
                      <a:pt x="318" y="641"/>
                    </a:lnTo>
                    <a:lnTo>
                      <a:pt x="319" y="640"/>
                    </a:lnTo>
                    <a:lnTo>
                      <a:pt x="318" y="639"/>
                    </a:lnTo>
                    <a:lnTo>
                      <a:pt x="319" y="638"/>
                    </a:lnTo>
                    <a:lnTo>
                      <a:pt x="320" y="634"/>
                    </a:lnTo>
                    <a:lnTo>
                      <a:pt x="321" y="634"/>
                    </a:lnTo>
                    <a:lnTo>
                      <a:pt x="322" y="634"/>
                    </a:lnTo>
                    <a:lnTo>
                      <a:pt x="321" y="638"/>
                    </a:lnTo>
                    <a:lnTo>
                      <a:pt x="321" y="640"/>
                    </a:lnTo>
                    <a:lnTo>
                      <a:pt x="328" y="641"/>
                    </a:lnTo>
                    <a:lnTo>
                      <a:pt x="336" y="636"/>
                    </a:lnTo>
                    <a:lnTo>
                      <a:pt x="339" y="635"/>
                    </a:lnTo>
                    <a:lnTo>
                      <a:pt x="339" y="634"/>
                    </a:lnTo>
                    <a:lnTo>
                      <a:pt x="337" y="633"/>
                    </a:lnTo>
                    <a:lnTo>
                      <a:pt x="338" y="632"/>
                    </a:lnTo>
                    <a:lnTo>
                      <a:pt x="338" y="631"/>
                    </a:lnTo>
                    <a:lnTo>
                      <a:pt x="339" y="630"/>
                    </a:lnTo>
                    <a:lnTo>
                      <a:pt x="339" y="629"/>
                    </a:lnTo>
                    <a:lnTo>
                      <a:pt x="339" y="630"/>
                    </a:lnTo>
                    <a:lnTo>
                      <a:pt x="339" y="632"/>
                    </a:lnTo>
                    <a:lnTo>
                      <a:pt x="340" y="632"/>
                    </a:lnTo>
                    <a:lnTo>
                      <a:pt x="341" y="630"/>
                    </a:lnTo>
                    <a:lnTo>
                      <a:pt x="345" y="631"/>
                    </a:lnTo>
                    <a:lnTo>
                      <a:pt x="349" y="628"/>
                    </a:lnTo>
                    <a:lnTo>
                      <a:pt x="357" y="630"/>
                    </a:lnTo>
                    <a:lnTo>
                      <a:pt x="359" y="628"/>
                    </a:lnTo>
                    <a:lnTo>
                      <a:pt x="359" y="625"/>
                    </a:lnTo>
                    <a:lnTo>
                      <a:pt x="358" y="624"/>
                    </a:lnTo>
                    <a:lnTo>
                      <a:pt x="359" y="621"/>
                    </a:lnTo>
                    <a:lnTo>
                      <a:pt x="358" y="620"/>
                    </a:lnTo>
                    <a:lnTo>
                      <a:pt x="359" y="617"/>
                    </a:lnTo>
                    <a:lnTo>
                      <a:pt x="362" y="620"/>
                    </a:lnTo>
                    <a:lnTo>
                      <a:pt x="364" y="617"/>
                    </a:lnTo>
                    <a:lnTo>
                      <a:pt x="366" y="618"/>
                    </a:lnTo>
                    <a:lnTo>
                      <a:pt x="370" y="618"/>
                    </a:lnTo>
                    <a:lnTo>
                      <a:pt x="373" y="619"/>
                    </a:lnTo>
                    <a:lnTo>
                      <a:pt x="378" y="618"/>
                    </a:lnTo>
                    <a:lnTo>
                      <a:pt x="384" y="620"/>
                    </a:lnTo>
                    <a:lnTo>
                      <a:pt x="388" y="619"/>
                    </a:lnTo>
                    <a:lnTo>
                      <a:pt x="392" y="620"/>
                    </a:lnTo>
                    <a:lnTo>
                      <a:pt x="402" y="618"/>
                    </a:lnTo>
                    <a:lnTo>
                      <a:pt x="403" y="618"/>
                    </a:lnTo>
                    <a:lnTo>
                      <a:pt x="402" y="620"/>
                    </a:lnTo>
                    <a:lnTo>
                      <a:pt x="398" y="620"/>
                    </a:lnTo>
                    <a:lnTo>
                      <a:pt x="397" y="622"/>
                    </a:lnTo>
                    <a:lnTo>
                      <a:pt x="401" y="621"/>
                    </a:lnTo>
                    <a:lnTo>
                      <a:pt x="402" y="622"/>
                    </a:lnTo>
                    <a:lnTo>
                      <a:pt x="401" y="622"/>
                    </a:lnTo>
                    <a:lnTo>
                      <a:pt x="399" y="623"/>
                    </a:lnTo>
                    <a:lnTo>
                      <a:pt x="396" y="624"/>
                    </a:lnTo>
                    <a:lnTo>
                      <a:pt x="389" y="622"/>
                    </a:lnTo>
                    <a:lnTo>
                      <a:pt x="388" y="622"/>
                    </a:lnTo>
                    <a:lnTo>
                      <a:pt x="386" y="622"/>
                    </a:lnTo>
                    <a:lnTo>
                      <a:pt x="381" y="624"/>
                    </a:lnTo>
                    <a:lnTo>
                      <a:pt x="382" y="626"/>
                    </a:lnTo>
                    <a:lnTo>
                      <a:pt x="385" y="626"/>
                    </a:lnTo>
                    <a:lnTo>
                      <a:pt x="384" y="628"/>
                    </a:lnTo>
                    <a:lnTo>
                      <a:pt x="383" y="628"/>
                    </a:lnTo>
                    <a:lnTo>
                      <a:pt x="382" y="630"/>
                    </a:lnTo>
                    <a:lnTo>
                      <a:pt x="380" y="628"/>
                    </a:lnTo>
                    <a:lnTo>
                      <a:pt x="378" y="628"/>
                    </a:lnTo>
                    <a:lnTo>
                      <a:pt x="378" y="627"/>
                    </a:lnTo>
                    <a:lnTo>
                      <a:pt x="376" y="628"/>
                    </a:lnTo>
                    <a:lnTo>
                      <a:pt x="374" y="630"/>
                    </a:lnTo>
                    <a:lnTo>
                      <a:pt x="373" y="633"/>
                    </a:lnTo>
                    <a:lnTo>
                      <a:pt x="369" y="636"/>
                    </a:lnTo>
                    <a:lnTo>
                      <a:pt x="369" y="641"/>
                    </a:lnTo>
                    <a:lnTo>
                      <a:pt x="368" y="643"/>
                    </a:lnTo>
                    <a:lnTo>
                      <a:pt x="364" y="646"/>
                    </a:lnTo>
                    <a:lnTo>
                      <a:pt x="363" y="649"/>
                    </a:lnTo>
                    <a:lnTo>
                      <a:pt x="359" y="654"/>
                    </a:lnTo>
                    <a:lnTo>
                      <a:pt x="358" y="660"/>
                    </a:lnTo>
                    <a:lnTo>
                      <a:pt x="356" y="666"/>
                    </a:lnTo>
                    <a:lnTo>
                      <a:pt x="354" y="668"/>
                    </a:lnTo>
                    <a:lnTo>
                      <a:pt x="356" y="670"/>
                    </a:lnTo>
                    <a:lnTo>
                      <a:pt x="365" y="679"/>
                    </a:lnTo>
                    <a:lnTo>
                      <a:pt x="369" y="685"/>
                    </a:lnTo>
                    <a:lnTo>
                      <a:pt x="371" y="685"/>
                    </a:lnTo>
                    <a:lnTo>
                      <a:pt x="372" y="689"/>
                    </a:lnTo>
                    <a:lnTo>
                      <a:pt x="372" y="691"/>
                    </a:lnTo>
                    <a:lnTo>
                      <a:pt x="372" y="692"/>
                    </a:lnTo>
                    <a:lnTo>
                      <a:pt x="374" y="696"/>
                    </a:lnTo>
                    <a:lnTo>
                      <a:pt x="375" y="697"/>
                    </a:lnTo>
                    <a:lnTo>
                      <a:pt x="379" y="701"/>
                    </a:lnTo>
                    <a:lnTo>
                      <a:pt x="385" y="701"/>
                    </a:lnTo>
                    <a:lnTo>
                      <a:pt x="385" y="700"/>
                    </a:lnTo>
                    <a:lnTo>
                      <a:pt x="385" y="699"/>
                    </a:lnTo>
                    <a:lnTo>
                      <a:pt x="386" y="695"/>
                    </a:lnTo>
                    <a:lnTo>
                      <a:pt x="387" y="694"/>
                    </a:lnTo>
                    <a:lnTo>
                      <a:pt x="387" y="695"/>
                    </a:lnTo>
                    <a:lnTo>
                      <a:pt x="388" y="698"/>
                    </a:lnTo>
                    <a:lnTo>
                      <a:pt x="387" y="701"/>
                    </a:lnTo>
                    <a:lnTo>
                      <a:pt x="387" y="703"/>
                    </a:lnTo>
                    <a:lnTo>
                      <a:pt x="384" y="704"/>
                    </a:lnTo>
                    <a:lnTo>
                      <a:pt x="386" y="706"/>
                    </a:lnTo>
                    <a:lnTo>
                      <a:pt x="385" y="708"/>
                    </a:lnTo>
                    <a:lnTo>
                      <a:pt x="385" y="710"/>
                    </a:lnTo>
                    <a:lnTo>
                      <a:pt x="386" y="711"/>
                    </a:lnTo>
                    <a:lnTo>
                      <a:pt x="390" y="712"/>
                    </a:lnTo>
                    <a:lnTo>
                      <a:pt x="390" y="713"/>
                    </a:lnTo>
                    <a:lnTo>
                      <a:pt x="392" y="715"/>
                    </a:lnTo>
                    <a:lnTo>
                      <a:pt x="392" y="713"/>
                    </a:lnTo>
                    <a:lnTo>
                      <a:pt x="395" y="711"/>
                    </a:lnTo>
                    <a:lnTo>
                      <a:pt x="395" y="710"/>
                    </a:lnTo>
                    <a:lnTo>
                      <a:pt x="396" y="709"/>
                    </a:lnTo>
                    <a:lnTo>
                      <a:pt x="401" y="701"/>
                    </a:lnTo>
                    <a:lnTo>
                      <a:pt x="403" y="703"/>
                    </a:lnTo>
                    <a:lnTo>
                      <a:pt x="404" y="705"/>
                    </a:lnTo>
                    <a:lnTo>
                      <a:pt x="406" y="706"/>
                    </a:lnTo>
                    <a:lnTo>
                      <a:pt x="409" y="705"/>
                    </a:lnTo>
                    <a:lnTo>
                      <a:pt x="410" y="703"/>
                    </a:lnTo>
                    <a:lnTo>
                      <a:pt x="413" y="701"/>
                    </a:lnTo>
                    <a:lnTo>
                      <a:pt x="417" y="701"/>
                    </a:lnTo>
                    <a:lnTo>
                      <a:pt x="417" y="702"/>
                    </a:lnTo>
                    <a:lnTo>
                      <a:pt x="416" y="702"/>
                    </a:lnTo>
                    <a:lnTo>
                      <a:pt x="415" y="703"/>
                    </a:lnTo>
                    <a:lnTo>
                      <a:pt x="419" y="709"/>
                    </a:lnTo>
                    <a:lnTo>
                      <a:pt x="418" y="711"/>
                    </a:lnTo>
                    <a:lnTo>
                      <a:pt x="418" y="712"/>
                    </a:lnTo>
                    <a:lnTo>
                      <a:pt x="413" y="714"/>
                    </a:lnTo>
                    <a:lnTo>
                      <a:pt x="410" y="718"/>
                    </a:lnTo>
                    <a:lnTo>
                      <a:pt x="412" y="720"/>
                    </a:lnTo>
                    <a:lnTo>
                      <a:pt x="412" y="721"/>
                    </a:lnTo>
                    <a:lnTo>
                      <a:pt x="412" y="723"/>
                    </a:lnTo>
                    <a:lnTo>
                      <a:pt x="414" y="721"/>
                    </a:lnTo>
                    <a:lnTo>
                      <a:pt x="415" y="721"/>
                    </a:lnTo>
                    <a:lnTo>
                      <a:pt x="414" y="725"/>
                    </a:lnTo>
                    <a:lnTo>
                      <a:pt x="416" y="725"/>
                    </a:lnTo>
                    <a:lnTo>
                      <a:pt x="414" y="726"/>
                    </a:lnTo>
                    <a:lnTo>
                      <a:pt x="412" y="729"/>
                    </a:lnTo>
                    <a:lnTo>
                      <a:pt x="410" y="727"/>
                    </a:lnTo>
                    <a:lnTo>
                      <a:pt x="400" y="729"/>
                    </a:lnTo>
                    <a:lnTo>
                      <a:pt x="399" y="731"/>
                    </a:lnTo>
                    <a:lnTo>
                      <a:pt x="400" y="735"/>
                    </a:lnTo>
                    <a:lnTo>
                      <a:pt x="398" y="743"/>
                    </a:lnTo>
                    <a:lnTo>
                      <a:pt x="399" y="747"/>
                    </a:lnTo>
                    <a:lnTo>
                      <a:pt x="402" y="750"/>
                    </a:lnTo>
                    <a:lnTo>
                      <a:pt x="407" y="750"/>
                    </a:lnTo>
                    <a:lnTo>
                      <a:pt x="409" y="749"/>
                    </a:lnTo>
                    <a:lnTo>
                      <a:pt x="411" y="750"/>
                    </a:lnTo>
                    <a:lnTo>
                      <a:pt x="416" y="749"/>
                    </a:lnTo>
                    <a:lnTo>
                      <a:pt x="411" y="752"/>
                    </a:lnTo>
                    <a:lnTo>
                      <a:pt x="407" y="755"/>
                    </a:lnTo>
                    <a:lnTo>
                      <a:pt x="406" y="755"/>
                    </a:lnTo>
                    <a:lnTo>
                      <a:pt x="403" y="757"/>
                    </a:lnTo>
                    <a:lnTo>
                      <a:pt x="396" y="766"/>
                    </a:lnTo>
                    <a:lnTo>
                      <a:pt x="395" y="769"/>
                    </a:lnTo>
                    <a:lnTo>
                      <a:pt x="399" y="774"/>
                    </a:lnTo>
                    <a:lnTo>
                      <a:pt x="400" y="777"/>
                    </a:lnTo>
                    <a:lnTo>
                      <a:pt x="402" y="779"/>
                    </a:lnTo>
                    <a:lnTo>
                      <a:pt x="403" y="784"/>
                    </a:lnTo>
                    <a:lnTo>
                      <a:pt x="405" y="786"/>
                    </a:lnTo>
                    <a:lnTo>
                      <a:pt x="415" y="792"/>
                    </a:lnTo>
                    <a:lnTo>
                      <a:pt x="420" y="793"/>
                    </a:lnTo>
                    <a:lnTo>
                      <a:pt x="424" y="790"/>
                    </a:lnTo>
                    <a:lnTo>
                      <a:pt x="424" y="791"/>
                    </a:lnTo>
                    <a:lnTo>
                      <a:pt x="423" y="793"/>
                    </a:lnTo>
                    <a:lnTo>
                      <a:pt x="423" y="794"/>
                    </a:lnTo>
                    <a:lnTo>
                      <a:pt x="423" y="795"/>
                    </a:lnTo>
                    <a:lnTo>
                      <a:pt x="419" y="797"/>
                    </a:lnTo>
                    <a:lnTo>
                      <a:pt x="417" y="797"/>
                    </a:lnTo>
                    <a:lnTo>
                      <a:pt x="411" y="795"/>
                    </a:lnTo>
                    <a:lnTo>
                      <a:pt x="408" y="793"/>
                    </a:lnTo>
                    <a:lnTo>
                      <a:pt x="404" y="787"/>
                    </a:lnTo>
                    <a:lnTo>
                      <a:pt x="404" y="786"/>
                    </a:lnTo>
                    <a:lnTo>
                      <a:pt x="402" y="782"/>
                    </a:lnTo>
                    <a:lnTo>
                      <a:pt x="400" y="781"/>
                    </a:lnTo>
                    <a:lnTo>
                      <a:pt x="398" y="781"/>
                    </a:lnTo>
                    <a:lnTo>
                      <a:pt x="390" y="784"/>
                    </a:lnTo>
                    <a:lnTo>
                      <a:pt x="388" y="786"/>
                    </a:lnTo>
                    <a:lnTo>
                      <a:pt x="388" y="787"/>
                    </a:lnTo>
                    <a:lnTo>
                      <a:pt x="392" y="791"/>
                    </a:lnTo>
                    <a:lnTo>
                      <a:pt x="396" y="795"/>
                    </a:lnTo>
                    <a:lnTo>
                      <a:pt x="396" y="796"/>
                    </a:lnTo>
                    <a:lnTo>
                      <a:pt x="398" y="798"/>
                    </a:lnTo>
                    <a:lnTo>
                      <a:pt x="398" y="801"/>
                    </a:lnTo>
                    <a:lnTo>
                      <a:pt x="398" y="802"/>
                    </a:lnTo>
                    <a:lnTo>
                      <a:pt x="397" y="803"/>
                    </a:lnTo>
                    <a:lnTo>
                      <a:pt x="395" y="800"/>
                    </a:lnTo>
                    <a:lnTo>
                      <a:pt x="379" y="790"/>
                    </a:lnTo>
                    <a:lnTo>
                      <a:pt x="373" y="791"/>
                    </a:lnTo>
                    <a:lnTo>
                      <a:pt x="355" y="797"/>
                    </a:lnTo>
                    <a:lnTo>
                      <a:pt x="347" y="796"/>
                    </a:lnTo>
                    <a:lnTo>
                      <a:pt x="343" y="793"/>
                    </a:lnTo>
                    <a:lnTo>
                      <a:pt x="341" y="793"/>
                    </a:lnTo>
                    <a:lnTo>
                      <a:pt x="335" y="791"/>
                    </a:lnTo>
                    <a:lnTo>
                      <a:pt x="335" y="792"/>
                    </a:lnTo>
                    <a:lnTo>
                      <a:pt x="338" y="794"/>
                    </a:lnTo>
                    <a:lnTo>
                      <a:pt x="339" y="797"/>
                    </a:lnTo>
                    <a:lnTo>
                      <a:pt x="335" y="797"/>
                    </a:lnTo>
                    <a:lnTo>
                      <a:pt x="320" y="803"/>
                    </a:lnTo>
                    <a:lnTo>
                      <a:pt x="315" y="803"/>
                    </a:lnTo>
                    <a:lnTo>
                      <a:pt x="310" y="805"/>
                    </a:lnTo>
                    <a:lnTo>
                      <a:pt x="309" y="808"/>
                    </a:lnTo>
                    <a:lnTo>
                      <a:pt x="303" y="813"/>
                    </a:lnTo>
                    <a:lnTo>
                      <a:pt x="301" y="816"/>
                    </a:lnTo>
                    <a:lnTo>
                      <a:pt x="300" y="816"/>
                    </a:lnTo>
                    <a:lnTo>
                      <a:pt x="300" y="815"/>
                    </a:lnTo>
                    <a:lnTo>
                      <a:pt x="298" y="815"/>
                    </a:lnTo>
                    <a:lnTo>
                      <a:pt x="298" y="821"/>
                    </a:lnTo>
                    <a:lnTo>
                      <a:pt x="297" y="824"/>
                    </a:lnTo>
                    <a:lnTo>
                      <a:pt x="284" y="833"/>
                    </a:lnTo>
                    <a:lnTo>
                      <a:pt x="282" y="834"/>
                    </a:lnTo>
                    <a:lnTo>
                      <a:pt x="281" y="833"/>
                    </a:lnTo>
                    <a:lnTo>
                      <a:pt x="279" y="836"/>
                    </a:lnTo>
                    <a:lnTo>
                      <a:pt x="278" y="836"/>
                    </a:lnTo>
                    <a:lnTo>
                      <a:pt x="276" y="838"/>
                    </a:lnTo>
                    <a:lnTo>
                      <a:pt x="275" y="838"/>
                    </a:lnTo>
                    <a:lnTo>
                      <a:pt x="273" y="841"/>
                    </a:lnTo>
                    <a:lnTo>
                      <a:pt x="269" y="843"/>
                    </a:lnTo>
                    <a:lnTo>
                      <a:pt x="269" y="844"/>
                    </a:lnTo>
                    <a:lnTo>
                      <a:pt x="268" y="845"/>
                    </a:lnTo>
                    <a:lnTo>
                      <a:pt x="266" y="849"/>
                    </a:lnTo>
                    <a:lnTo>
                      <a:pt x="267" y="850"/>
                    </a:lnTo>
                    <a:lnTo>
                      <a:pt x="269" y="850"/>
                    </a:lnTo>
                    <a:lnTo>
                      <a:pt x="270" y="848"/>
                    </a:lnTo>
                    <a:lnTo>
                      <a:pt x="272" y="849"/>
                    </a:lnTo>
                    <a:lnTo>
                      <a:pt x="274" y="848"/>
                    </a:lnTo>
                    <a:lnTo>
                      <a:pt x="276" y="848"/>
                    </a:lnTo>
                    <a:lnTo>
                      <a:pt x="278" y="846"/>
                    </a:lnTo>
                    <a:lnTo>
                      <a:pt x="283" y="848"/>
                    </a:lnTo>
                    <a:lnTo>
                      <a:pt x="284" y="849"/>
                    </a:lnTo>
                    <a:lnTo>
                      <a:pt x="284" y="850"/>
                    </a:lnTo>
                    <a:lnTo>
                      <a:pt x="285" y="850"/>
                    </a:lnTo>
                    <a:lnTo>
                      <a:pt x="287" y="849"/>
                    </a:lnTo>
                    <a:lnTo>
                      <a:pt x="289" y="848"/>
                    </a:lnTo>
                    <a:lnTo>
                      <a:pt x="287" y="846"/>
                    </a:lnTo>
                    <a:lnTo>
                      <a:pt x="290" y="841"/>
                    </a:lnTo>
                    <a:lnTo>
                      <a:pt x="294" y="839"/>
                    </a:lnTo>
                    <a:lnTo>
                      <a:pt x="295" y="838"/>
                    </a:lnTo>
                    <a:lnTo>
                      <a:pt x="300" y="839"/>
                    </a:lnTo>
                    <a:lnTo>
                      <a:pt x="301" y="838"/>
                    </a:lnTo>
                    <a:lnTo>
                      <a:pt x="308" y="836"/>
                    </a:lnTo>
                    <a:lnTo>
                      <a:pt x="312" y="837"/>
                    </a:lnTo>
                    <a:lnTo>
                      <a:pt x="313" y="838"/>
                    </a:lnTo>
                    <a:lnTo>
                      <a:pt x="316" y="842"/>
                    </a:lnTo>
                    <a:lnTo>
                      <a:pt x="316" y="845"/>
                    </a:lnTo>
                    <a:lnTo>
                      <a:pt x="314" y="847"/>
                    </a:lnTo>
                    <a:lnTo>
                      <a:pt x="315" y="850"/>
                    </a:lnTo>
                    <a:lnTo>
                      <a:pt x="322" y="857"/>
                    </a:lnTo>
                    <a:lnTo>
                      <a:pt x="323" y="857"/>
                    </a:lnTo>
                    <a:lnTo>
                      <a:pt x="325" y="855"/>
                    </a:lnTo>
                    <a:lnTo>
                      <a:pt x="326" y="855"/>
                    </a:lnTo>
                    <a:lnTo>
                      <a:pt x="323" y="858"/>
                    </a:lnTo>
                    <a:lnTo>
                      <a:pt x="321" y="858"/>
                    </a:lnTo>
                    <a:lnTo>
                      <a:pt x="321" y="860"/>
                    </a:lnTo>
                    <a:lnTo>
                      <a:pt x="317" y="864"/>
                    </a:lnTo>
                    <a:lnTo>
                      <a:pt x="315" y="868"/>
                    </a:lnTo>
                    <a:lnTo>
                      <a:pt x="320" y="875"/>
                    </a:lnTo>
                    <a:lnTo>
                      <a:pt x="323" y="875"/>
                    </a:lnTo>
                    <a:lnTo>
                      <a:pt x="329" y="874"/>
                    </a:lnTo>
                    <a:lnTo>
                      <a:pt x="330" y="874"/>
                    </a:lnTo>
                    <a:lnTo>
                      <a:pt x="324" y="878"/>
                    </a:lnTo>
                    <a:lnTo>
                      <a:pt x="321" y="877"/>
                    </a:lnTo>
                    <a:lnTo>
                      <a:pt x="321" y="882"/>
                    </a:lnTo>
                    <a:lnTo>
                      <a:pt x="319" y="886"/>
                    </a:lnTo>
                    <a:lnTo>
                      <a:pt x="318" y="893"/>
                    </a:lnTo>
                    <a:lnTo>
                      <a:pt x="314" y="899"/>
                    </a:lnTo>
                    <a:lnTo>
                      <a:pt x="307" y="906"/>
                    </a:lnTo>
                    <a:lnTo>
                      <a:pt x="300" y="911"/>
                    </a:lnTo>
                    <a:lnTo>
                      <a:pt x="296" y="911"/>
                    </a:lnTo>
                    <a:lnTo>
                      <a:pt x="292" y="914"/>
                    </a:lnTo>
                    <a:lnTo>
                      <a:pt x="289" y="915"/>
                    </a:lnTo>
                    <a:lnTo>
                      <a:pt x="289" y="916"/>
                    </a:lnTo>
                    <a:lnTo>
                      <a:pt x="287" y="917"/>
                    </a:lnTo>
                    <a:lnTo>
                      <a:pt x="287" y="918"/>
                    </a:lnTo>
                    <a:lnTo>
                      <a:pt x="286" y="918"/>
                    </a:lnTo>
                    <a:lnTo>
                      <a:pt x="285" y="918"/>
                    </a:lnTo>
                    <a:lnTo>
                      <a:pt x="284" y="918"/>
                    </a:lnTo>
                    <a:lnTo>
                      <a:pt x="283" y="918"/>
                    </a:lnTo>
                    <a:lnTo>
                      <a:pt x="281" y="918"/>
                    </a:lnTo>
                    <a:lnTo>
                      <a:pt x="280" y="918"/>
                    </a:lnTo>
                    <a:lnTo>
                      <a:pt x="279" y="918"/>
                    </a:lnTo>
                    <a:lnTo>
                      <a:pt x="271" y="918"/>
                    </a:lnTo>
                    <a:lnTo>
                      <a:pt x="271" y="919"/>
                    </a:lnTo>
                    <a:lnTo>
                      <a:pt x="271" y="922"/>
                    </a:lnTo>
                    <a:lnTo>
                      <a:pt x="268" y="921"/>
                    </a:lnTo>
                    <a:lnTo>
                      <a:pt x="265" y="925"/>
                    </a:lnTo>
                    <a:lnTo>
                      <a:pt x="264" y="926"/>
                    </a:lnTo>
                    <a:lnTo>
                      <a:pt x="260" y="927"/>
                    </a:lnTo>
                    <a:lnTo>
                      <a:pt x="260" y="929"/>
                    </a:lnTo>
                    <a:lnTo>
                      <a:pt x="261" y="931"/>
                    </a:lnTo>
                    <a:lnTo>
                      <a:pt x="260" y="931"/>
                    </a:lnTo>
                    <a:lnTo>
                      <a:pt x="257" y="931"/>
                    </a:lnTo>
                    <a:lnTo>
                      <a:pt x="254" y="929"/>
                    </a:lnTo>
                    <a:lnTo>
                      <a:pt x="253" y="930"/>
                    </a:lnTo>
                    <a:lnTo>
                      <a:pt x="254" y="931"/>
                    </a:lnTo>
                    <a:lnTo>
                      <a:pt x="250" y="932"/>
                    </a:lnTo>
                    <a:lnTo>
                      <a:pt x="249" y="932"/>
                    </a:lnTo>
                    <a:lnTo>
                      <a:pt x="248" y="931"/>
                    </a:lnTo>
                    <a:lnTo>
                      <a:pt x="245" y="930"/>
                    </a:lnTo>
                    <a:lnTo>
                      <a:pt x="241" y="930"/>
                    </a:lnTo>
                    <a:lnTo>
                      <a:pt x="241" y="931"/>
                    </a:lnTo>
                    <a:lnTo>
                      <a:pt x="242" y="932"/>
                    </a:lnTo>
                    <a:lnTo>
                      <a:pt x="240" y="933"/>
                    </a:lnTo>
                    <a:lnTo>
                      <a:pt x="241" y="935"/>
                    </a:lnTo>
                    <a:lnTo>
                      <a:pt x="240" y="937"/>
                    </a:lnTo>
                    <a:lnTo>
                      <a:pt x="237" y="937"/>
                    </a:lnTo>
                    <a:lnTo>
                      <a:pt x="235" y="938"/>
                    </a:lnTo>
                    <a:lnTo>
                      <a:pt x="234" y="938"/>
                    </a:lnTo>
                    <a:lnTo>
                      <a:pt x="231" y="940"/>
                    </a:lnTo>
                    <a:lnTo>
                      <a:pt x="229" y="941"/>
                    </a:lnTo>
                    <a:lnTo>
                      <a:pt x="224" y="942"/>
                    </a:lnTo>
                    <a:lnTo>
                      <a:pt x="225" y="944"/>
                    </a:lnTo>
                    <a:lnTo>
                      <a:pt x="224" y="944"/>
                    </a:lnTo>
                    <a:lnTo>
                      <a:pt x="224" y="946"/>
                    </a:lnTo>
                    <a:lnTo>
                      <a:pt x="223" y="947"/>
                    </a:lnTo>
                    <a:lnTo>
                      <a:pt x="230" y="946"/>
                    </a:lnTo>
                    <a:lnTo>
                      <a:pt x="233" y="946"/>
                    </a:lnTo>
                    <a:lnTo>
                      <a:pt x="237" y="948"/>
                    </a:lnTo>
                    <a:lnTo>
                      <a:pt x="239" y="955"/>
                    </a:lnTo>
                    <a:lnTo>
                      <a:pt x="239" y="957"/>
                    </a:lnTo>
                    <a:lnTo>
                      <a:pt x="234" y="957"/>
                    </a:lnTo>
                    <a:lnTo>
                      <a:pt x="234" y="959"/>
                    </a:lnTo>
                    <a:lnTo>
                      <a:pt x="232" y="959"/>
                    </a:lnTo>
                    <a:lnTo>
                      <a:pt x="231" y="961"/>
                    </a:lnTo>
                    <a:lnTo>
                      <a:pt x="228" y="961"/>
                    </a:lnTo>
                    <a:lnTo>
                      <a:pt x="233" y="963"/>
                    </a:lnTo>
                    <a:lnTo>
                      <a:pt x="233" y="965"/>
                    </a:lnTo>
                    <a:lnTo>
                      <a:pt x="235" y="965"/>
                    </a:lnTo>
                    <a:lnTo>
                      <a:pt x="234" y="962"/>
                    </a:lnTo>
                    <a:lnTo>
                      <a:pt x="237" y="963"/>
                    </a:lnTo>
                    <a:lnTo>
                      <a:pt x="239" y="962"/>
                    </a:lnTo>
                    <a:lnTo>
                      <a:pt x="242" y="964"/>
                    </a:lnTo>
                    <a:lnTo>
                      <a:pt x="246" y="963"/>
                    </a:lnTo>
                    <a:lnTo>
                      <a:pt x="249" y="964"/>
                    </a:lnTo>
                    <a:lnTo>
                      <a:pt x="251" y="963"/>
                    </a:lnTo>
                    <a:lnTo>
                      <a:pt x="257" y="962"/>
                    </a:lnTo>
                    <a:lnTo>
                      <a:pt x="257" y="963"/>
                    </a:lnTo>
                    <a:lnTo>
                      <a:pt x="255" y="964"/>
                    </a:lnTo>
                    <a:lnTo>
                      <a:pt x="249" y="965"/>
                    </a:lnTo>
                    <a:lnTo>
                      <a:pt x="246" y="965"/>
                    </a:lnTo>
                    <a:lnTo>
                      <a:pt x="245" y="965"/>
                    </a:lnTo>
                    <a:lnTo>
                      <a:pt x="244" y="965"/>
                    </a:lnTo>
                    <a:lnTo>
                      <a:pt x="245" y="966"/>
                    </a:lnTo>
                    <a:lnTo>
                      <a:pt x="244" y="967"/>
                    </a:lnTo>
                    <a:lnTo>
                      <a:pt x="238" y="965"/>
                    </a:lnTo>
                    <a:lnTo>
                      <a:pt x="239" y="967"/>
                    </a:lnTo>
                    <a:lnTo>
                      <a:pt x="244" y="969"/>
                    </a:lnTo>
                    <a:lnTo>
                      <a:pt x="245" y="971"/>
                    </a:lnTo>
                    <a:lnTo>
                      <a:pt x="243" y="972"/>
                    </a:lnTo>
                    <a:lnTo>
                      <a:pt x="247" y="974"/>
                    </a:lnTo>
                    <a:lnTo>
                      <a:pt x="249" y="973"/>
                    </a:lnTo>
                    <a:lnTo>
                      <a:pt x="250" y="975"/>
                    </a:lnTo>
                    <a:lnTo>
                      <a:pt x="253" y="975"/>
                    </a:lnTo>
                    <a:lnTo>
                      <a:pt x="253" y="974"/>
                    </a:lnTo>
                    <a:lnTo>
                      <a:pt x="255" y="973"/>
                    </a:lnTo>
                    <a:lnTo>
                      <a:pt x="255" y="972"/>
                    </a:lnTo>
                    <a:lnTo>
                      <a:pt x="258" y="970"/>
                    </a:lnTo>
                    <a:lnTo>
                      <a:pt x="261" y="969"/>
                    </a:lnTo>
                    <a:lnTo>
                      <a:pt x="264" y="971"/>
                    </a:lnTo>
                    <a:lnTo>
                      <a:pt x="266" y="969"/>
                    </a:lnTo>
                    <a:lnTo>
                      <a:pt x="270" y="969"/>
                    </a:lnTo>
                    <a:lnTo>
                      <a:pt x="272" y="967"/>
                    </a:lnTo>
                    <a:lnTo>
                      <a:pt x="271" y="966"/>
                    </a:lnTo>
                    <a:lnTo>
                      <a:pt x="272" y="965"/>
                    </a:lnTo>
                    <a:lnTo>
                      <a:pt x="272" y="963"/>
                    </a:lnTo>
                    <a:lnTo>
                      <a:pt x="273" y="962"/>
                    </a:lnTo>
                    <a:lnTo>
                      <a:pt x="281" y="960"/>
                    </a:lnTo>
                    <a:lnTo>
                      <a:pt x="287" y="961"/>
                    </a:lnTo>
                    <a:lnTo>
                      <a:pt x="291" y="960"/>
                    </a:lnTo>
                    <a:lnTo>
                      <a:pt x="292" y="959"/>
                    </a:lnTo>
                    <a:lnTo>
                      <a:pt x="290" y="957"/>
                    </a:lnTo>
                    <a:lnTo>
                      <a:pt x="291" y="956"/>
                    </a:lnTo>
                    <a:lnTo>
                      <a:pt x="292" y="956"/>
                    </a:lnTo>
                    <a:lnTo>
                      <a:pt x="292" y="957"/>
                    </a:lnTo>
                    <a:lnTo>
                      <a:pt x="294" y="958"/>
                    </a:lnTo>
                    <a:lnTo>
                      <a:pt x="297" y="955"/>
                    </a:lnTo>
                    <a:lnTo>
                      <a:pt x="297" y="956"/>
                    </a:lnTo>
                    <a:lnTo>
                      <a:pt x="297" y="959"/>
                    </a:lnTo>
                    <a:lnTo>
                      <a:pt x="300" y="961"/>
                    </a:lnTo>
                    <a:lnTo>
                      <a:pt x="301" y="961"/>
                    </a:lnTo>
                    <a:lnTo>
                      <a:pt x="296" y="961"/>
                    </a:lnTo>
                    <a:lnTo>
                      <a:pt x="295" y="962"/>
                    </a:lnTo>
                    <a:lnTo>
                      <a:pt x="301" y="967"/>
                    </a:lnTo>
                    <a:lnTo>
                      <a:pt x="303" y="967"/>
                    </a:lnTo>
                    <a:lnTo>
                      <a:pt x="305" y="966"/>
                    </a:lnTo>
                    <a:lnTo>
                      <a:pt x="311" y="966"/>
                    </a:lnTo>
                    <a:lnTo>
                      <a:pt x="314" y="969"/>
                    </a:lnTo>
                    <a:lnTo>
                      <a:pt x="318" y="968"/>
                    </a:lnTo>
                    <a:lnTo>
                      <a:pt x="320" y="966"/>
                    </a:lnTo>
                    <a:lnTo>
                      <a:pt x="320" y="967"/>
                    </a:lnTo>
                    <a:lnTo>
                      <a:pt x="319" y="969"/>
                    </a:lnTo>
                    <a:lnTo>
                      <a:pt x="313" y="972"/>
                    </a:lnTo>
                    <a:lnTo>
                      <a:pt x="310" y="971"/>
                    </a:lnTo>
                    <a:lnTo>
                      <a:pt x="308" y="972"/>
                    </a:lnTo>
                    <a:lnTo>
                      <a:pt x="307" y="971"/>
                    </a:lnTo>
                    <a:lnTo>
                      <a:pt x="307" y="970"/>
                    </a:lnTo>
                    <a:lnTo>
                      <a:pt x="306" y="971"/>
                    </a:lnTo>
                    <a:lnTo>
                      <a:pt x="304" y="973"/>
                    </a:lnTo>
                    <a:lnTo>
                      <a:pt x="303" y="973"/>
                    </a:lnTo>
                    <a:lnTo>
                      <a:pt x="303" y="974"/>
                    </a:lnTo>
                    <a:lnTo>
                      <a:pt x="304" y="976"/>
                    </a:lnTo>
                    <a:lnTo>
                      <a:pt x="303" y="979"/>
                    </a:lnTo>
                    <a:lnTo>
                      <a:pt x="304" y="980"/>
                    </a:lnTo>
                    <a:lnTo>
                      <a:pt x="309" y="981"/>
                    </a:lnTo>
                    <a:lnTo>
                      <a:pt x="310" y="980"/>
                    </a:lnTo>
                    <a:lnTo>
                      <a:pt x="313" y="981"/>
                    </a:lnTo>
                    <a:lnTo>
                      <a:pt x="314" y="979"/>
                    </a:lnTo>
                    <a:lnTo>
                      <a:pt x="317" y="978"/>
                    </a:lnTo>
                    <a:lnTo>
                      <a:pt x="319" y="980"/>
                    </a:lnTo>
                    <a:lnTo>
                      <a:pt x="322" y="978"/>
                    </a:lnTo>
                    <a:lnTo>
                      <a:pt x="324" y="980"/>
                    </a:lnTo>
                    <a:lnTo>
                      <a:pt x="325" y="978"/>
                    </a:lnTo>
                    <a:lnTo>
                      <a:pt x="328" y="979"/>
                    </a:lnTo>
                    <a:lnTo>
                      <a:pt x="328" y="978"/>
                    </a:lnTo>
                    <a:lnTo>
                      <a:pt x="325" y="976"/>
                    </a:lnTo>
                    <a:lnTo>
                      <a:pt x="327" y="974"/>
                    </a:lnTo>
                    <a:lnTo>
                      <a:pt x="329" y="973"/>
                    </a:lnTo>
                    <a:lnTo>
                      <a:pt x="333" y="973"/>
                    </a:lnTo>
                    <a:lnTo>
                      <a:pt x="338" y="972"/>
                    </a:lnTo>
                    <a:lnTo>
                      <a:pt x="339" y="974"/>
                    </a:lnTo>
                    <a:lnTo>
                      <a:pt x="341" y="975"/>
                    </a:lnTo>
                    <a:lnTo>
                      <a:pt x="344" y="980"/>
                    </a:lnTo>
                    <a:lnTo>
                      <a:pt x="345" y="983"/>
                    </a:lnTo>
                    <a:lnTo>
                      <a:pt x="346" y="986"/>
                    </a:lnTo>
                    <a:lnTo>
                      <a:pt x="347" y="987"/>
                    </a:lnTo>
                    <a:lnTo>
                      <a:pt x="350" y="988"/>
                    </a:lnTo>
                    <a:lnTo>
                      <a:pt x="351" y="987"/>
                    </a:lnTo>
                    <a:lnTo>
                      <a:pt x="353" y="989"/>
                    </a:lnTo>
                    <a:lnTo>
                      <a:pt x="361" y="995"/>
                    </a:lnTo>
                    <a:lnTo>
                      <a:pt x="372" y="998"/>
                    </a:lnTo>
                    <a:lnTo>
                      <a:pt x="379" y="997"/>
                    </a:lnTo>
                    <a:lnTo>
                      <a:pt x="382" y="998"/>
                    </a:lnTo>
                    <a:lnTo>
                      <a:pt x="385" y="996"/>
                    </a:lnTo>
                    <a:lnTo>
                      <a:pt x="390" y="996"/>
                    </a:lnTo>
                    <a:lnTo>
                      <a:pt x="390" y="995"/>
                    </a:lnTo>
                    <a:lnTo>
                      <a:pt x="391" y="993"/>
                    </a:lnTo>
                    <a:lnTo>
                      <a:pt x="390" y="990"/>
                    </a:lnTo>
                    <a:lnTo>
                      <a:pt x="390" y="989"/>
                    </a:lnTo>
                    <a:lnTo>
                      <a:pt x="392" y="989"/>
                    </a:lnTo>
                    <a:lnTo>
                      <a:pt x="395" y="986"/>
                    </a:lnTo>
                    <a:lnTo>
                      <a:pt x="402" y="982"/>
                    </a:lnTo>
                    <a:lnTo>
                      <a:pt x="404" y="980"/>
                    </a:lnTo>
                    <a:lnTo>
                      <a:pt x="406" y="980"/>
                    </a:lnTo>
                    <a:lnTo>
                      <a:pt x="406" y="981"/>
                    </a:lnTo>
                    <a:lnTo>
                      <a:pt x="412" y="981"/>
                    </a:lnTo>
                    <a:lnTo>
                      <a:pt x="416" y="980"/>
                    </a:lnTo>
                    <a:lnTo>
                      <a:pt x="422" y="977"/>
                    </a:lnTo>
                    <a:lnTo>
                      <a:pt x="425" y="977"/>
                    </a:lnTo>
                    <a:lnTo>
                      <a:pt x="431" y="971"/>
                    </a:lnTo>
                    <a:lnTo>
                      <a:pt x="434" y="968"/>
                    </a:lnTo>
                    <a:lnTo>
                      <a:pt x="442" y="963"/>
                    </a:lnTo>
                    <a:lnTo>
                      <a:pt x="444" y="959"/>
                    </a:lnTo>
                    <a:lnTo>
                      <a:pt x="450" y="959"/>
                    </a:lnTo>
                    <a:lnTo>
                      <a:pt x="450" y="956"/>
                    </a:lnTo>
                    <a:lnTo>
                      <a:pt x="452" y="957"/>
                    </a:lnTo>
                    <a:lnTo>
                      <a:pt x="452" y="958"/>
                    </a:lnTo>
                    <a:lnTo>
                      <a:pt x="451" y="959"/>
                    </a:lnTo>
                    <a:lnTo>
                      <a:pt x="445" y="961"/>
                    </a:lnTo>
                    <a:lnTo>
                      <a:pt x="443" y="965"/>
                    </a:lnTo>
                    <a:lnTo>
                      <a:pt x="440" y="967"/>
                    </a:lnTo>
                    <a:lnTo>
                      <a:pt x="437" y="970"/>
                    </a:lnTo>
                    <a:lnTo>
                      <a:pt x="436" y="973"/>
                    </a:lnTo>
                    <a:lnTo>
                      <a:pt x="432" y="977"/>
                    </a:lnTo>
                    <a:lnTo>
                      <a:pt x="429" y="982"/>
                    </a:lnTo>
                    <a:lnTo>
                      <a:pt x="426" y="986"/>
                    </a:lnTo>
                    <a:lnTo>
                      <a:pt x="420" y="987"/>
                    </a:lnTo>
                    <a:lnTo>
                      <a:pt x="416" y="989"/>
                    </a:lnTo>
                    <a:lnTo>
                      <a:pt x="410" y="996"/>
                    </a:lnTo>
                    <a:lnTo>
                      <a:pt x="406" y="997"/>
                    </a:lnTo>
                    <a:lnTo>
                      <a:pt x="406" y="999"/>
                    </a:lnTo>
                    <a:lnTo>
                      <a:pt x="406" y="1000"/>
                    </a:lnTo>
                    <a:lnTo>
                      <a:pt x="404" y="1001"/>
                    </a:lnTo>
                    <a:lnTo>
                      <a:pt x="404" y="1004"/>
                    </a:lnTo>
                    <a:lnTo>
                      <a:pt x="402" y="1004"/>
                    </a:lnTo>
                    <a:lnTo>
                      <a:pt x="403" y="1006"/>
                    </a:lnTo>
                    <a:lnTo>
                      <a:pt x="402" y="1011"/>
                    </a:lnTo>
                    <a:lnTo>
                      <a:pt x="404" y="1013"/>
                    </a:lnTo>
                    <a:lnTo>
                      <a:pt x="403" y="1016"/>
                    </a:lnTo>
                    <a:lnTo>
                      <a:pt x="402" y="1016"/>
                    </a:lnTo>
                    <a:lnTo>
                      <a:pt x="398" y="1018"/>
                    </a:lnTo>
                    <a:lnTo>
                      <a:pt x="393" y="1017"/>
                    </a:lnTo>
                    <a:lnTo>
                      <a:pt x="390" y="1018"/>
                    </a:lnTo>
                    <a:lnTo>
                      <a:pt x="388" y="1018"/>
                    </a:lnTo>
                    <a:lnTo>
                      <a:pt x="382" y="1019"/>
                    </a:lnTo>
                    <a:lnTo>
                      <a:pt x="373" y="1019"/>
                    </a:lnTo>
                    <a:lnTo>
                      <a:pt x="369" y="1017"/>
                    </a:lnTo>
                    <a:lnTo>
                      <a:pt x="359" y="1014"/>
                    </a:lnTo>
                    <a:lnTo>
                      <a:pt x="358" y="1016"/>
                    </a:lnTo>
                    <a:lnTo>
                      <a:pt x="356" y="1016"/>
                    </a:lnTo>
                    <a:lnTo>
                      <a:pt x="343" y="1013"/>
                    </a:lnTo>
                    <a:lnTo>
                      <a:pt x="340" y="1015"/>
                    </a:lnTo>
                    <a:lnTo>
                      <a:pt x="338" y="1014"/>
                    </a:lnTo>
                    <a:lnTo>
                      <a:pt x="334" y="1015"/>
                    </a:lnTo>
                    <a:lnTo>
                      <a:pt x="331" y="1015"/>
                    </a:lnTo>
                    <a:lnTo>
                      <a:pt x="329" y="1016"/>
                    </a:lnTo>
                    <a:lnTo>
                      <a:pt x="326" y="1016"/>
                    </a:lnTo>
                    <a:lnTo>
                      <a:pt x="323" y="1017"/>
                    </a:lnTo>
                    <a:lnTo>
                      <a:pt x="319" y="1016"/>
                    </a:lnTo>
                    <a:lnTo>
                      <a:pt x="310" y="1018"/>
                    </a:lnTo>
                    <a:lnTo>
                      <a:pt x="308" y="1019"/>
                    </a:lnTo>
                    <a:lnTo>
                      <a:pt x="309" y="1020"/>
                    </a:lnTo>
                    <a:lnTo>
                      <a:pt x="309" y="1023"/>
                    </a:lnTo>
                    <a:lnTo>
                      <a:pt x="306" y="1024"/>
                    </a:lnTo>
                    <a:lnTo>
                      <a:pt x="307" y="1024"/>
                    </a:lnTo>
                    <a:lnTo>
                      <a:pt x="307" y="1025"/>
                    </a:lnTo>
                    <a:lnTo>
                      <a:pt x="309" y="1026"/>
                    </a:lnTo>
                    <a:lnTo>
                      <a:pt x="308" y="1029"/>
                    </a:lnTo>
                    <a:lnTo>
                      <a:pt x="309" y="1031"/>
                    </a:lnTo>
                    <a:lnTo>
                      <a:pt x="307" y="1034"/>
                    </a:lnTo>
                    <a:lnTo>
                      <a:pt x="301" y="1038"/>
                    </a:lnTo>
                    <a:lnTo>
                      <a:pt x="299" y="1040"/>
                    </a:lnTo>
                    <a:lnTo>
                      <a:pt x="289" y="1036"/>
                    </a:lnTo>
                    <a:lnTo>
                      <a:pt x="284" y="1036"/>
                    </a:lnTo>
                    <a:lnTo>
                      <a:pt x="284" y="1042"/>
                    </a:lnTo>
                    <a:lnTo>
                      <a:pt x="282" y="1048"/>
                    </a:lnTo>
                    <a:lnTo>
                      <a:pt x="281" y="1050"/>
                    </a:lnTo>
                    <a:lnTo>
                      <a:pt x="283" y="1052"/>
                    </a:lnTo>
                    <a:lnTo>
                      <a:pt x="282" y="1060"/>
                    </a:lnTo>
                    <a:lnTo>
                      <a:pt x="275" y="1066"/>
                    </a:lnTo>
                    <a:lnTo>
                      <a:pt x="275" y="1068"/>
                    </a:lnTo>
                    <a:lnTo>
                      <a:pt x="272" y="1070"/>
                    </a:lnTo>
                    <a:lnTo>
                      <a:pt x="267" y="1073"/>
                    </a:lnTo>
                    <a:lnTo>
                      <a:pt x="266" y="1074"/>
                    </a:lnTo>
                    <a:lnTo>
                      <a:pt x="267" y="1076"/>
                    </a:lnTo>
                    <a:lnTo>
                      <a:pt x="266" y="1079"/>
                    </a:lnTo>
                    <a:lnTo>
                      <a:pt x="264" y="1080"/>
                    </a:lnTo>
                    <a:lnTo>
                      <a:pt x="258" y="1081"/>
                    </a:lnTo>
                    <a:lnTo>
                      <a:pt x="257" y="1082"/>
                    </a:lnTo>
                    <a:lnTo>
                      <a:pt x="253" y="1081"/>
                    </a:lnTo>
                    <a:lnTo>
                      <a:pt x="253" y="1082"/>
                    </a:lnTo>
                    <a:lnTo>
                      <a:pt x="254" y="1083"/>
                    </a:lnTo>
                    <a:lnTo>
                      <a:pt x="253" y="1085"/>
                    </a:lnTo>
                    <a:lnTo>
                      <a:pt x="252" y="1085"/>
                    </a:lnTo>
                    <a:lnTo>
                      <a:pt x="252" y="1084"/>
                    </a:lnTo>
                    <a:lnTo>
                      <a:pt x="248" y="1086"/>
                    </a:lnTo>
                    <a:lnTo>
                      <a:pt x="247" y="1086"/>
                    </a:lnTo>
                    <a:lnTo>
                      <a:pt x="246" y="1086"/>
                    </a:lnTo>
                    <a:lnTo>
                      <a:pt x="245" y="1086"/>
                    </a:lnTo>
                    <a:lnTo>
                      <a:pt x="246" y="1088"/>
                    </a:lnTo>
                    <a:lnTo>
                      <a:pt x="245" y="1091"/>
                    </a:lnTo>
                    <a:lnTo>
                      <a:pt x="245" y="1094"/>
                    </a:lnTo>
                    <a:lnTo>
                      <a:pt x="243" y="1099"/>
                    </a:lnTo>
                    <a:lnTo>
                      <a:pt x="242" y="1100"/>
                    </a:lnTo>
                    <a:lnTo>
                      <a:pt x="240" y="1099"/>
                    </a:lnTo>
                    <a:lnTo>
                      <a:pt x="238" y="1100"/>
                    </a:lnTo>
                    <a:lnTo>
                      <a:pt x="236" y="1100"/>
                    </a:lnTo>
                    <a:lnTo>
                      <a:pt x="236" y="1103"/>
                    </a:lnTo>
                    <a:lnTo>
                      <a:pt x="236" y="1104"/>
                    </a:lnTo>
                    <a:lnTo>
                      <a:pt x="236" y="1106"/>
                    </a:lnTo>
                    <a:lnTo>
                      <a:pt x="232" y="1109"/>
                    </a:lnTo>
                    <a:lnTo>
                      <a:pt x="230" y="1110"/>
                    </a:lnTo>
                    <a:lnTo>
                      <a:pt x="229" y="1111"/>
                    </a:lnTo>
                    <a:lnTo>
                      <a:pt x="226" y="1115"/>
                    </a:lnTo>
                    <a:lnTo>
                      <a:pt x="222" y="1117"/>
                    </a:lnTo>
                    <a:lnTo>
                      <a:pt x="221" y="1118"/>
                    </a:lnTo>
                    <a:lnTo>
                      <a:pt x="217" y="1119"/>
                    </a:lnTo>
                    <a:lnTo>
                      <a:pt x="215" y="1123"/>
                    </a:lnTo>
                    <a:lnTo>
                      <a:pt x="214" y="1123"/>
                    </a:lnTo>
                    <a:lnTo>
                      <a:pt x="211" y="1123"/>
                    </a:lnTo>
                    <a:lnTo>
                      <a:pt x="210" y="1121"/>
                    </a:lnTo>
                    <a:lnTo>
                      <a:pt x="207" y="1121"/>
                    </a:lnTo>
                    <a:lnTo>
                      <a:pt x="196" y="1126"/>
                    </a:lnTo>
                    <a:lnTo>
                      <a:pt x="193" y="1127"/>
                    </a:lnTo>
                    <a:lnTo>
                      <a:pt x="192" y="1129"/>
                    </a:lnTo>
                    <a:lnTo>
                      <a:pt x="193" y="1134"/>
                    </a:lnTo>
                    <a:lnTo>
                      <a:pt x="191" y="1135"/>
                    </a:lnTo>
                    <a:lnTo>
                      <a:pt x="191" y="1137"/>
                    </a:lnTo>
                    <a:lnTo>
                      <a:pt x="192" y="1137"/>
                    </a:lnTo>
                    <a:lnTo>
                      <a:pt x="195" y="1139"/>
                    </a:lnTo>
                    <a:lnTo>
                      <a:pt x="203" y="1137"/>
                    </a:lnTo>
                    <a:lnTo>
                      <a:pt x="205" y="1135"/>
                    </a:lnTo>
                    <a:lnTo>
                      <a:pt x="205" y="1132"/>
                    </a:lnTo>
                    <a:lnTo>
                      <a:pt x="206" y="1131"/>
                    </a:lnTo>
                    <a:lnTo>
                      <a:pt x="210" y="1130"/>
                    </a:lnTo>
                    <a:lnTo>
                      <a:pt x="214" y="1132"/>
                    </a:lnTo>
                    <a:lnTo>
                      <a:pt x="218" y="1132"/>
                    </a:lnTo>
                    <a:lnTo>
                      <a:pt x="219" y="1133"/>
                    </a:lnTo>
                    <a:lnTo>
                      <a:pt x="221" y="1133"/>
                    </a:lnTo>
                    <a:lnTo>
                      <a:pt x="225" y="1136"/>
                    </a:lnTo>
                    <a:lnTo>
                      <a:pt x="228" y="1140"/>
                    </a:lnTo>
                    <a:lnTo>
                      <a:pt x="228" y="1143"/>
                    </a:lnTo>
                    <a:lnTo>
                      <a:pt x="229" y="1146"/>
                    </a:lnTo>
                    <a:lnTo>
                      <a:pt x="232" y="1148"/>
                    </a:lnTo>
                    <a:lnTo>
                      <a:pt x="234" y="1143"/>
                    </a:lnTo>
                    <a:lnTo>
                      <a:pt x="240" y="1142"/>
                    </a:lnTo>
                    <a:lnTo>
                      <a:pt x="240" y="1140"/>
                    </a:lnTo>
                    <a:lnTo>
                      <a:pt x="242" y="1139"/>
                    </a:lnTo>
                    <a:lnTo>
                      <a:pt x="243" y="1137"/>
                    </a:lnTo>
                    <a:lnTo>
                      <a:pt x="242" y="1135"/>
                    </a:lnTo>
                    <a:lnTo>
                      <a:pt x="238" y="1133"/>
                    </a:lnTo>
                    <a:lnTo>
                      <a:pt x="240" y="1132"/>
                    </a:lnTo>
                    <a:lnTo>
                      <a:pt x="241" y="1130"/>
                    </a:lnTo>
                    <a:lnTo>
                      <a:pt x="242" y="1129"/>
                    </a:lnTo>
                    <a:lnTo>
                      <a:pt x="244" y="1128"/>
                    </a:lnTo>
                    <a:lnTo>
                      <a:pt x="242" y="1127"/>
                    </a:lnTo>
                    <a:lnTo>
                      <a:pt x="243" y="1125"/>
                    </a:lnTo>
                    <a:lnTo>
                      <a:pt x="242" y="1123"/>
                    </a:lnTo>
                    <a:lnTo>
                      <a:pt x="245" y="1122"/>
                    </a:lnTo>
                    <a:lnTo>
                      <a:pt x="245" y="1120"/>
                    </a:lnTo>
                    <a:lnTo>
                      <a:pt x="246" y="1120"/>
                    </a:lnTo>
                    <a:lnTo>
                      <a:pt x="245" y="1123"/>
                    </a:lnTo>
                    <a:lnTo>
                      <a:pt x="246" y="1125"/>
                    </a:lnTo>
                    <a:lnTo>
                      <a:pt x="246" y="1127"/>
                    </a:lnTo>
                    <a:lnTo>
                      <a:pt x="248" y="1127"/>
                    </a:lnTo>
                    <a:lnTo>
                      <a:pt x="246" y="1128"/>
                    </a:lnTo>
                    <a:lnTo>
                      <a:pt x="247" y="1129"/>
                    </a:lnTo>
                    <a:lnTo>
                      <a:pt x="249" y="1127"/>
                    </a:lnTo>
                    <a:lnTo>
                      <a:pt x="250" y="1123"/>
                    </a:lnTo>
                    <a:lnTo>
                      <a:pt x="251" y="1123"/>
                    </a:lnTo>
                    <a:lnTo>
                      <a:pt x="255" y="1123"/>
                    </a:lnTo>
                    <a:lnTo>
                      <a:pt x="256" y="1121"/>
                    </a:lnTo>
                    <a:lnTo>
                      <a:pt x="259" y="1119"/>
                    </a:lnTo>
                    <a:lnTo>
                      <a:pt x="261" y="1119"/>
                    </a:lnTo>
                    <a:lnTo>
                      <a:pt x="263" y="1120"/>
                    </a:lnTo>
                    <a:lnTo>
                      <a:pt x="263" y="1119"/>
                    </a:lnTo>
                    <a:lnTo>
                      <a:pt x="265" y="1116"/>
                    </a:lnTo>
                    <a:lnTo>
                      <a:pt x="264" y="1115"/>
                    </a:lnTo>
                    <a:lnTo>
                      <a:pt x="265" y="1112"/>
                    </a:lnTo>
                    <a:lnTo>
                      <a:pt x="267" y="1111"/>
                    </a:lnTo>
                    <a:lnTo>
                      <a:pt x="266" y="1111"/>
                    </a:lnTo>
                    <a:lnTo>
                      <a:pt x="266" y="1109"/>
                    </a:lnTo>
                    <a:lnTo>
                      <a:pt x="271" y="1107"/>
                    </a:lnTo>
                    <a:lnTo>
                      <a:pt x="272" y="1107"/>
                    </a:lnTo>
                    <a:lnTo>
                      <a:pt x="272" y="1110"/>
                    </a:lnTo>
                    <a:lnTo>
                      <a:pt x="274" y="1110"/>
                    </a:lnTo>
                    <a:lnTo>
                      <a:pt x="275" y="1109"/>
                    </a:lnTo>
                    <a:lnTo>
                      <a:pt x="289" y="1109"/>
                    </a:lnTo>
                    <a:lnTo>
                      <a:pt x="292" y="1106"/>
                    </a:lnTo>
                    <a:lnTo>
                      <a:pt x="301" y="1106"/>
                    </a:lnTo>
                    <a:lnTo>
                      <a:pt x="305" y="1106"/>
                    </a:lnTo>
                    <a:lnTo>
                      <a:pt x="308" y="1109"/>
                    </a:lnTo>
                    <a:lnTo>
                      <a:pt x="308" y="1111"/>
                    </a:lnTo>
                    <a:lnTo>
                      <a:pt x="309" y="1111"/>
                    </a:lnTo>
                    <a:lnTo>
                      <a:pt x="310" y="1110"/>
                    </a:lnTo>
                    <a:lnTo>
                      <a:pt x="311" y="1108"/>
                    </a:lnTo>
                    <a:lnTo>
                      <a:pt x="312" y="1106"/>
                    </a:lnTo>
                    <a:lnTo>
                      <a:pt x="308" y="1106"/>
                    </a:lnTo>
                    <a:lnTo>
                      <a:pt x="308" y="1105"/>
                    </a:lnTo>
                    <a:lnTo>
                      <a:pt x="310" y="1105"/>
                    </a:lnTo>
                    <a:lnTo>
                      <a:pt x="312" y="1106"/>
                    </a:lnTo>
                    <a:lnTo>
                      <a:pt x="315" y="1106"/>
                    </a:lnTo>
                    <a:lnTo>
                      <a:pt x="316" y="1107"/>
                    </a:lnTo>
                    <a:lnTo>
                      <a:pt x="317" y="1110"/>
                    </a:lnTo>
                    <a:lnTo>
                      <a:pt x="320" y="1111"/>
                    </a:lnTo>
                    <a:lnTo>
                      <a:pt x="321" y="1112"/>
                    </a:lnTo>
                    <a:lnTo>
                      <a:pt x="323" y="1112"/>
                    </a:lnTo>
                    <a:lnTo>
                      <a:pt x="330" y="1111"/>
                    </a:lnTo>
                    <a:lnTo>
                      <a:pt x="330" y="1112"/>
                    </a:lnTo>
                    <a:lnTo>
                      <a:pt x="334" y="1113"/>
                    </a:lnTo>
                    <a:lnTo>
                      <a:pt x="337" y="1115"/>
                    </a:lnTo>
                    <a:lnTo>
                      <a:pt x="339" y="1119"/>
                    </a:lnTo>
                    <a:lnTo>
                      <a:pt x="341" y="1121"/>
                    </a:lnTo>
                    <a:lnTo>
                      <a:pt x="342" y="1121"/>
                    </a:lnTo>
                    <a:lnTo>
                      <a:pt x="344" y="1119"/>
                    </a:lnTo>
                    <a:lnTo>
                      <a:pt x="347" y="1121"/>
                    </a:lnTo>
                    <a:lnTo>
                      <a:pt x="350" y="1120"/>
                    </a:lnTo>
                    <a:lnTo>
                      <a:pt x="353" y="1120"/>
                    </a:lnTo>
                    <a:lnTo>
                      <a:pt x="353" y="1119"/>
                    </a:lnTo>
                    <a:lnTo>
                      <a:pt x="353" y="1117"/>
                    </a:lnTo>
                    <a:lnTo>
                      <a:pt x="353" y="1116"/>
                    </a:lnTo>
                    <a:lnTo>
                      <a:pt x="355" y="1111"/>
                    </a:lnTo>
                    <a:lnTo>
                      <a:pt x="356" y="1111"/>
                    </a:lnTo>
                    <a:lnTo>
                      <a:pt x="360" y="1109"/>
                    </a:lnTo>
                    <a:lnTo>
                      <a:pt x="359" y="1107"/>
                    </a:lnTo>
                    <a:lnTo>
                      <a:pt x="359" y="1106"/>
                    </a:lnTo>
                    <a:lnTo>
                      <a:pt x="362" y="1108"/>
                    </a:lnTo>
                    <a:lnTo>
                      <a:pt x="363" y="1107"/>
                    </a:lnTo>
                    <a:lnTo>
                      <a:pt x="363" y="1106"/>
                    </a:lnTo>
                    <a:lnTo>
                      <a:pt x="364" y="1104"/>
                    </a:lnTo>
                    <a:lnTo>
                      <a:pt x="366" y="1103"/>
                    </a:lnTo>
                    <a:lnTo>
                      <a:pt x="366" y="1102"/>
                    </a:lnTo>
                    <a:lnTo>
                      <a:pt x="361" y="1100"/>
                    </a:lnTo>
                    <a:lnTo>
                      <a:pt x="361" y="1097"/>
                    </a:lnTo>
                    <a:lnTo>
                      <a:pt x="362" y="1095"/>
                    </a:lnTo>
                    <a:lnTo>
                      <a:pt x="366" y="1094"/>
                    </a:lnTo>
                    <a:lnTo>
                      <a:pt x="364" y="1092"/>
                    </a:lnTo>
                    <a:lnTo>
                      <a:pt x="364" y="1090"/>
                    </a:lnTo>
                    <a:lnTo>
                      <a:pt x="365" y="1086"/>
                    </a:lnTo>
                    <a:lnTo>
                      <a:pt x="368" y="1083"/>
                    </a:lnTo>
                    <a:lnTo>
                      <a:pt x="368" y="1082"/>
                    </a:lnTo>
                    <a:lnTo>
                      <a:pt x="369" y="1080"/>
                    </a:lnTo>
                    <a:lnTo>
                      <a:pt x="368" y="1080"/>
                    </a:lnTo>
                    <a:lnTo>
                      <a:pt x="369" y="1075"/>
                    </a:lnTo>
                    <a:lnTo>
                      <a:pt x="367" y="1073"/>
                    </a:lnTo>
                    <a:lnTo>
                      <a:pt x="371" y="1077"/>
                    </a:lnTo>
                    <a:lnTo>
                      <a:pt x="371" y="1079"/>
                    </a:lnTo>
                    <a:lnTo>
                      <a:pt x="373" y="1080"/>
                    </a:lnTo>
                    <a:lnTo>
                      <a:pt x="377" y="1079"/>
                    </a:lnTo>
                    <a:lnTo>
                      <a:pt x="380" y="1076"/>
                    </a:lnTo>
                    <a:lnTo>
                      <a:pt x="383" y="1073"/>
                    </a:lnTo>
                    <a:lnTo>
                      <a:pt x="388" y="1071"/>
                    </a:lnTo>
                    <a:lnTo>
                      <a:pt x="394" y="1072"/>
                    </a:lnTo>
                    <a:lnTo>
                      <a:pt x="399" y="1070"/>
                    </a:lnTo>
                    <a:lnTo>
                      <a:pt x="403" y="1070"/>
                    </a:lnTo>
                    <a:lnTo>
                      <a:pt x="410" y="1067"/>
                    </a:lnTo>
                    <a:lnTo>
                      <a:pt x="421" y="1068"/>
                    </a:lnTo>
                    <a:lnTo>
                      <a:pt x="426" y="1072"/>
                    </a:lnTo>
                    <a:lnTo>
                      <a:pt x="434" y="1075"/>
                    </a:lnTo>
                    <a:lnTo>
                      <a:pt x="445" y="1084"/>
                    </a:lnTo>
                    <a:lnTo>
                      <a:pt x="447" y="1085"/>
                    </a:lnTo>
                    <a:lnTo>
                      <a:pt x="446" y="1086"/>
                    </a:lnTo>
                    <a:lnTo>
                      <a:pt x="447" y="1087"/>
                    </a:lnTo>
                    <a:lnTo>
                      <a:pt x="445" y="1089"/>
                    </a:lnTo>
                    <a:lnTo>
                      <a:pt x="446" y="1091"/>
                    </a:lnTo>
                    <a:lnTo>
                      <a:pt x="449" y="1086"/>
                    </a:lnTo>
                    <a:lnTo>
                      <a:pt x="448" y="1084"/>
                    </a:lnTo>
                    <a:lnTo>
                      <a:pt x="445" y="1082"/>
                    </a:lnTo>
                    <a:lnTo>
                      <a:pt x="447" y="1080"/>
                    </a:lnTo>
                    <a:lnTo>
                      <a:pt x="447" y="1079"/>
                    </a:lnTo>
                    <a:lnTo>
                      <a:pt x="448" y="1077"/>
                    </a:lnTo>
                    <a:lnTo>
                      <a:pt x="451" y="1076"/>
                    </a:lnTo>
                    <a:lnTo>
                      <a:pt x="464" y="1079"/>
                    </a:lnTo>
                    <a:lnTo>
                      <a:pt x="466" y="1078"/>
                    </a:lnTo>
                    <a:lnTo>
                      <a:pt x="476" y="1080"/>
                    </a:lnTo>
                    <a:lnTo>
                      <a:pt x="477" y="1082"/>
                    </a:lnTo>
                    <a:lnTo>
                      <a:pt x="480" y="1081"/>
                    </a:lnTo>
                    <a:lnTo>
                      <a:pt x="485" y="1081"/>
                    </a:lnTo>
                    <a:lnTo>
                      <a:pt x="487" y="1080"/>
                    </a:lnTo>
                    <a:lnTo>
                      <a:pt x="486" y="1078"/>
                    </a:lnTo>
                    <a:lnTo>
                      <a:pt x="489" y="1076"/>
                    </a:lnTo>
                    <a:lnTo>
                      <a:pt x="486" y="1075"/>
                    </a:lnTo>
                    <a:lnTo>
                      <a:pt x="487" y="1073"/>
                    </a:lnTo>
                    <a:lnTo>
                      <a:pt x="482" y="1071"/>
                    </a:lnTo>
                    <a:lnTo>
                      <a:pt x="481" y="1073"/>
                    </a:lnTo>
                    <a:lnTo>
                      <a:pt x="480" y="1073"/>
                    </a:lnTo>
                    <a:lnTo>
                      <a:pt x="479" y="1070"/>
                    </a:lnTo>
                    <a:lnTo>
                      <a:pt x="475" y="1072"/>
                    </a:lnTo>
                    <a:lnTo>
                      <a:pt x="477" y="1068"/>
                    </a:lnTo>
                    <a:lnTo>
                      <a:pt x="478" y="1068"/>
                    </a:lnTo>
                    <a:lnTo>
                      <a:pt x="480" y="1069"/>
                    </a:lnTo>
                    <a:lnTo>
                      <a:pt x="486" y="1068"/>
                    </a:lnTo>
                    <a:lnTo>
                      <a:pt x="486" y="1070"/>
                    </a:lnTo>
                    <a:lnTo>
                      <a:pt x="486" y="1071"/>
                    </a:lnTo>
                    <a:lnTo>
                      <a:pt x="487" y="1072"/>
                    </a:lnTo>
                    <a:lnTo>
                      <a:pt x="490" y="1069"/>
                    </a:lnTo>
                    <a:lnTo>
                      <a:pt x="494" y="1068"/>
                    </a:lnTo>
                    <a:lnTo>
                      <a:pt x="497" y="1068"/>
                    </a:lnTo>
                    <a:lnTo>
                      <a:pt x="502" y="1068"/>
                    </a:lnTo>
                    <a:lnTo>
                      <a:pt x="503" y="1068"/>
                    </a:lnTo>
                    <a:lnTo>
                      <a:pt x="500" y="1067"/>
                    </a:lnTo>
                    <a:lnTo>
                      <a:pt x="506" y="1065"/>
                    </a:lnTo>
                    <a:lnTo>
                      <a:pt x="513" y="1067"/>
                    </a:lnTo>
                    <a:lnTo>
                      <a:pt x="516" y="1068"/>
                    </a:lnTo>
                    <a:lnTo>
                      <a:pt x="519" y="1065"/>
                    </a:lnTo>
                    <a:lnTo>
                      <a:pt x="523" y="1063"/>
                    </a:lnTo>
                    <a:lnTo>
                      <a:pt x="530" y="1062"/>
                    </a:lnTo>
                    <a:lnTo>
                      <a:pt x="534" y="1060"/>
                    </a:lnTo>
                    <a:lnTo>
                      <a:pt x="536" y="1058"/>
                    </a:lnTo>
                    <a:lnTo>
                      <a:pt x="535" y="1056"/>
                    </a:lnTo>
                    <a:lnTo>
                      <a:pt x="533" y="1054"/>
                    </a:lnTo>
                    <a:lnTo>
                      <a:pt x="529" y="1052"/>
                    </a:lnTo>
                    <a:lnTo>
                      <a:pt x="528" y="1050"/>
                    </a:lnTo>
                    <a:lnTo>
                      <a:pt x="523" y="1048"/>
                    </a:lnTo>
                    <a:lnTo>
                      <a:pt x="523" y="1047"/>
                    </a:lnTo>
                    <a:lnTo>
                      <a:pt x="527" y="1048"/>
                    </a:lnTo>
                    <a:lnTo>
                      <a:pt x="530" y="1050"/>
                    </a:lnTo>
                    <a:lnTo>
                      <a:pt x="538" y="1056"/>
                    </a:lnTo>
                    <a:lnTo>
                      <a:pt x="542" y="1057"/>
                    </a:lnTo>
                    <a:lnTo>
                      <a:pt x="545" y="1060"/>
                    </a:lnTo>
                    <a:lnTo>
                      <a:pt x="547" y="1061"/>
                    </a:lnTo>
                    <a:lnTo>
                      <a:pt x="550" y="1060"/>
                    </a:lnTo>
                    <a:lnTo>
                      <a:pt x="550" y="1058"/>
                    </a:lnTo>
                    <a:lnTo>
                      <a:pt x="550" y="1057"/>
                    </a:lnTo>
                    <a:lnTo>
                      <a:pt x="549" y="1056"/>
                    </a:lnTo>
                    <a:lnTo>
                      <a:pt x="547" y="1055"/>
                    </a:lnTo>
                    <a:lnTo>
                      <a:pt x="547" y="1054"/>
                    </a:lnTo>
                    <a:lnTo>
                      <a:pt x="548" y="1054"/>
                    </a:lnTo>
                    <a:lnTo>
                      <a:pt x="550" y="1054"/>
                    </a:lnTo>
                    <a:lnTo>
                      <a:pt x="553" y="1054"/>
                    </a:lnTo>
                    <a:lnTo>
                      <a:pt x="554" y="1055"/>
                    </a:lnTo>
                    <a:lnTo>
                      <a:pt x="554" y="1056"/>
                    </a:lnTo>
                    <a:lnTo>
                      <a:pt x="553" y="1056"/>
                    </a:lnTo>
                    <a:lnTo>
                      <a:pt x="553" y="1058"/>
                    </a:lnTo>
                    <a:lnTo>
                      <a:pt x="552" y="1059"/>
                    </a:lnTo>
                    <a:lnTo>
                      <a:pt x="552" y="1061"/>
                    </a:lnTo>
                    <a:lnTo>
                      <a:pt x="553" y="1061"/>
                    </a:lnTo>
                    <a:lnTo>
                      <a:pt x="557" y="1060"/>
                    </a:lnTo>
                    <a:lnTo>
                      <a:pt x="557" y="1056"/>
                    </a:lnTo>
                    <a:lnTo>
                      <a:pt x="558" y="1054"/>
                    </a:lnTo>
                    <a:lnTo>
                      <a:pt x="561" y="1055"/>
                    </a:lnTo>
                    <a:lnTo>
                      <a:pt x="561" y="1058"/>
                    </a:lnTo>
                    <a:lnTo>
                      <a:pt x="558" y="1061"/>
                    </a:lnTo>
                    <a:lnTo>
                      <a:pt x="558" y="1062"/>
                    </a:lnTo>
                    <a:lnTo>
                      <a:pt x="560" y="1061"/>
                    </a:lnTo>
                    <a:lnTo>
                      <a:pt x="564" y="1061"/>
                    </a:lnTo>
                    <a:lnTo>
                      <a:pt x="563" y="1058"/>
                    </a:lnTo>
                    <a:lnTo>
                      <a:pt x="564" y="1056"/>
                    </a:lnTo>
                    <a:lnTo>
                      <a:pt x="563" y="1056"/>
                    </a:lnTo>
                    <a:lnTo>
                      <a:pt x="564" y="1054"/>
                    </a:lnTo>
                    <a:lnTo>
                      <a:pt x="566" y="1054"/>
                    </a:lnTo>
                    <a:lnTo>
                      <a:pt x="566" y="1058"/>
                    </a:lnTo>
                    <a:lnTo>
                      <a:pt x="566" y="1057"/>
                    </a:lnTo>
                    <a:lnTo>
                      <a:pt x="567" y="1056"/>
                    </a:lnTo>
                    <a:lnTo>
                      <a:pt x="569" y="1057"/>
                    </a:lnTo>
                    <a:lnTo>
                      <a:pt x="570" y="1058"/>
                    </a:lnTo>
                    <a:lnTo>
                      <a:pt x="570" y="1059"/>
                    </a:lnTo>
                    <a:lnTo>
                      <a:pt x="569" y="1059"/>
                    </a:lnTo>
                    <a:lnTo>
                      <a:pt x="567" y="1060"/>
                    </a:lnTo>
                    <a:lnTo>
                      <a:pt x="566" y="1060"/>
                    </a:lnTo>
                    <a:lnTo>
                      <a:pt x="566" y="1061"/>
                    </a:lnTo>
                    <a:lnTo>
                      <a:pt x="566" y="1062"/>
                    </a:lnTo>
                    <a:lnTo>
                      <a:pt x="577" y="1067"/>
                    </a:lnTo>
                    <a:lnTo>
                      <a:pt x="579" y="1067"/>
                    </a:lnTo>
                    <a:lnTo>
                      <a:pt x="579" y="1064"/>
                    </a:lnTo>
                    <a:lnTo>
                      <a:pt x="578" y="1063"/>
                    </a:lnTo>
                    <a:lnTo>
                      <a:pt x="579" y="1062"/>
                    </a:lnTo>
                    <a:lnTo>
                      <a:pt x="580" y="1064"/>
                    </a:lnTo>
                    <a:lnTo>
                      <a:pt x="582" y="1062"/>
                    </a:lnTo>
                    <a:lnTo>
                      <a:pt x="599" y="1060"/>
                    </a:lnTo>
                    <a:lnTo>
                      <a:pt x="604" y="1060"/>
                    </a:lnTo>
                    <a:lnTo>
                      <a:pt x="618" y="1056"/>
                    </a:lnTo>
                    <a:lnTo>
                      <a:pt x="624" y="1056"/>
                    </a:lnTo>
                    <a:lnTo>
                      <a:pt x="640" y="1061"/>
                    </a:lnTo>
                    <a:lnTo>
                      <a:pt x="642" y="1061"/>
                    </a:lnTo>
                    <a:lnTo>
                      <a:pt x="648" y="1063"/>
                    </a:lnTo>
                    <a:lnTo>
                      <a:pt x="650" y="1063"/>
                    </a:lnTo>
                    <a:lnTo>
                      <a:pt x="655" y="1065"/>
                    </a:lnTo>
                    <a:lnTo>
                      <a:pt x="658" y="1065"/>
                    </a:lnTo>
                    <a:lnTo>
                      <a:pt x="659" y="1065"/>
                    </a:lnTo>
                    <a:lnTo>
                      <a:pt x="662" y="1061"/>
                    </a:lnTo>
                    <a:lnTo>
                      <a:pt x="665" y="1060"/>
                    </a:lnTo>
                    <a:lnTo>
                      <a:pt x="665" y="1058"/>
                    </a:lnTo>
                    <a:lnTo>
                      <a:pt x="672" y="1056"/>
                    </a:lnTo>
                    <a:lnTo>
                      <a:pt x="682" y="1054"/>
                    </a:lnTo>
                    <a:lnTo>
                      <a:pt x="690" y="1052"/>
                    </a:lnTo>
                    <a:lnTo>
                      <a:pt x="694" y="1048"/>
                    </a:lnTo>
                    <a:lnTo>
                      <a:pt x="699" y="1044"/>
                    </a:lnTo>
                    <a:lnTo>
                      <a:pt x="710" y="1047"/>
                    </a:lnTo>
                    <a:lnTo>
                      <a:pt x="714" y="1047"/>
                    </a:lnTo>
                    <a:lnTo>
                      <a:pt x="715" y="1046"/>
                    </a:lnTo>
                    <a:lnTo>
                      <a:pt x="714" y="1044"/>
                    </a:lnTo>
                    <a:lnTo>
                      <a:pt x="714" y="1040"/>
                    </a:lnTo>
                    <a:lnTo>
                      <a:pt x="715" y="1036"/>
                    </a:lnTo>
                    <a:lnTo>
                      <a:pt x="718" y="1034"/>
                    </a:lnTo>
                    <a:lnTo>
                      <a:pt x="724" y="1030"/>
                    </a:lnTo>
                    <a:lnTo>
                      <a:pt x="731" y="1030"/>
                    </a:lnTo>
                    <a:lnTo>
                      <a:pt x="733" y="1027"/>
                    </a:lnTo>
                    <a:lnTo>
                      <a:pt x="737" y="1027"/>
                    </a:lnTo>
                    <a:lnTo>
                      <a:pt x="744" y="1024"/>
                    </a:lnTo>
                    <a:lnTo>
                      <a:pt x="746" y="1022"/>
                    </a:lnTo>
                    <a:lnTo>
                      <a:pt x="748" y="1019"/>
                    </a:lnTo>
                    <a:lnTo>
                      <a:pt x="748" y="1015"/>
                    </a:lnTo>
                    <a:lnTo>
                      <a:pt x="748" y="1012"/>
                    </a:lnTo>
                    <a:lnTo>
                      <a:pt x="745" y="1004"/>
                    </a:lnTo>
                    <a:lnTo>
                      <a:pt x="746" y="1004"/>
                    </a:lnTo>
                    <a:lnTo>
                      <a:pt x="750" y="1003"/>
                    </a:lnTo>
                    <a:lnTo>
                      <a:pt x="751" y="999"/>
                    </a:lnTo>
                    <a:lnTo>
                      <a:pt x="751" y="996"/>
                    </a:lnTo>
                    <a:lnTo>
                      <a:pt x="747" y="996"/>
                    </a:lnTo>
                    <a:lnTo>
                      <a:pt x="738" y="998"/>
                    </a:lnTo>
                    <a:lnTo>
                      <a:pt x="732" y="998"/>
                    </a:lnTo>
                    <a:lnTo>
                      <a:pt x="721" y="999"/>
                    </a:lnTo>
                    <a:lnTo>
                      <a:pt x="717" y="1001"/>
                    </a:lnTo>
                    <a:lnTo>
                      <a:pt x="709" y="1001"/>
                    </a:lnTo>
                    <a:lnTo>
                      <a:pt x="702" y="1000"/>
                    </a:lnTo>
                    <a:lnTo>
                      <a:pt x="700" y="999"/>
                    </a:lnTo>
                    <a:lnTo>
                      <a:pt x="708" y="1000"/>
                    </a:lnTo>
                    <a:lnTo>
                      <a:pt x="712" y="999"/>
                    </a:lnTo>
                    <a:lnTo>
                      <a:pt x="712" y="997"/>
                    </a:lnTo>
                    <a:lnTo>
                      <a:pt x="709" y="993"/>
                    </a:lnTo>
                    <a:lnTo>
                      <a:pt x="699" y="992"/>
                    </a:lnTo>
                    <a:lnTo>
                      <a:pt x="696" y="991"/>
                    </a:lnTo>
                    <a:lnTo>
                      <a:pt x="695" y="995"/>
                    </a:lnTo>
                    <a:lnTo>
                      <a:pt x="694" y="993"/>
                    </a:lnTo>
                    <a:lnTo>
                      <a:pt x="693" y="993"/>
                    </a:lnTo>
                    <a:lnTo>
                      <a:pt x="693" y="995"/>
                    </a:lnTo>
                    <a:lnTo>
                      <a:pt x="693" y="996"/>
                    </a:lnTo>
                    <a:lnTo>
                      <a:pt x="692" y="998"/>
                    </a:lnTo>
                    <a:lnTo>
                      <a:pt x="691" y="998"/>
                    </a:lnTo>
                    <a:lnTo>
                      <a:pt x="689" y="996"/>
                    </a:lnTo>
                    <a:lnTo>
                      <a:pt x="687" y="997"/>
                    </a:lnTo>
                    <a:lnTo>
                      <a:pt x="686" y="998"/>
                    </a:lnTo>
                    <a:lnTo>
                      <a:pt x="683" y="997"/>
                    </a:lnTo>
                    <a:lnTo>
                      <a:pt x="682" y="994"/>
                    </a:lnTo>
                    <a:lnTo>
                      <a:pt x="686" y="993"/>
                    </a:lnTo>
                    <a:lnTo>
                      <a:pt x="688" y="992"/>
                    </a:lnTo>
                    <a:lnTo>
                      <a:pt x="691" y="992"/>
                    </a:lnTo>
                    <a:lnTo>
                      <a:pt x="694" y="992"/>
                    </a:lnTo>
                    <a:lnTo>
                      <a:pt x="694" y="989"/>
                    </a:lnTo>
                    <a:lnTo>
                      <a:pt x="692" y="988"/>
                    </a:lnTo>
                    <a:lnTo>
                      <a:pt x="687" y="987"/>
                    </a:lnTo>
                    <a:lnTo>
                      <a:pt x="684" y="986"/>
                    </a:lnTo>
                    <a:lnTo>
                      <a:pt x="682" y="987"/>
                    </a:lnTo>
                    <a:lnTo>
                      <a:pt x="680" y="986"/>
                    </a:lnTo>
                    <a:lnTo>
                      <a:pt x="675" y="987"/>
                    </a:lnTo>
                    <a:lnTo>
                      <a:pt x="674" y="989"/>
                    </a:lnTo>
                    <a:lnTo>
                      <a:pt x="673" y="990"/>
                    </a:lnTo>
                    <a:lnTo>
                      <a:pt x="668" y="990"/>
                    </a:lnTo>
                    <a:lnTo>
                      <a:pt x="672" y="988"/>
                    </a:lnTo>
                    <a:lnTo>
                      <a:pt x="673" y="986"/>
                    </a:lnTo>
                    <a:lnTo>
                      <a:pt x="674" y="985"/>
                    </a:lnTo>
                    <a:lnTo>
                      <a:pt x="681" y="983"/>
                    </a:lnTo>
                    <a:lnTo>
                      <a:pt x="682" y="984"/>
                    </a:lnTo>
                    <a:lnTo>
                      <a:pt x="685" y="983"/>
                    </a:lnTo>
                    <a:lnTo>
                      <a:pt x="687" y="983"/>
                    </a:lnTo>
                    <a:lnTo>
                      <a:pt x="688" y="981"/>
                    </a:lnTo>
                    <a:lnTo>
                      <a:pt x="700" y="983"/>
                    </a:lnTo>
                    <a:lnTo>
                      <a:pt x="706" y="979"/>
                    </a:lnTo>
                    <a:lnTo>
                      <a:pt x="712" y="974"/>
                    </a:lnTo>
                    <a:lnTo>
                      <a:pt x="713" y="973"/>
                    </a:lnTo>
                    <a:lnTo>
                      <a:pt x="712" y="973"/>
                    </a:lnTo>
                    <a:lnTo>
                      <a:pt x="708" y="973"/>
                    </a:lnTo>
                    <a:lnTo>
                      <a:pt x="706" y="975"/>
                    </a:lnTo>
                    <a:lnTo>
                      <a:pt x="705" y="973"/>
                    </a:lnTo>
                    <a:lnTo>
                      <a:pt x="701" y="971"/>
                    </a:lnTo>
                    <a:lnTo>
                      <a:pt x="708" y="971"/>
                    </a:lnTo>
                    <a:lnTo>
                      <a:pt x="711" y="971"/>
                    </a:lnTo>
                    <a:lnTo>
                      <a:pt x="712" y="968"/>
                    </a:lnTo>
                    <a:lnTo>
                      <a:pt x="713" y="965"/>
                    </a:lnTo>
                    <a:lnTo>
                      <a:pt x="713" y="961"/>
                    </a:lnTo>
                    <a:lnTo>
                      <a:pt x="712" y="960"/>
                    </a:lnTo>
                    <a:lnTo>
                      <a:pt x="710" y="959"/>
                    </a:lnTo>
                    <a:lnTo>
                      <a:pt x="703" y="962"/>
                    </a:lnTo>
                    <a:lnTo>
                      <a:pt x="700" y="961"/>
                    </a:lnTo>
                    <a:lnTo>
                      <a:pt x="698" y="964"/>
                    </a:lnTo>
                    <a:lnTo>
                      <a:pt x="696" y="962"/>
                    </a:lnTo>
                    <a:lnTo>
                      <a:pt x="694" y="961"/>
                    </a:lnTo>
                    <a:lnTo>
                      <a:pt x="701" y="959"/>
                    </a:lnTo>
                    <a:lnTo>
                      <a:pt x="704" y="959"/>
                    </a:lnTo>
                    <a:lnTo>
                      <a:pt x="706" y="957"/>
                    </a:lnTo>
                    <a:lnTo>
                      <a:pt x="707" y="957"/>
                    </a:lnTo>
                    <a:lnTo>
                      <a:pt x="707" y="955"/>
                    </a:lnTo>
                    <a:lnTo>
                      <a:pt x="712" y="953"/>
                    </a:lnTo>
                    <a:lnTo>
                      <a:pt x="717" y="953"/>
                    </a:lnTo>
                    <a:lnTo>
                      <a:pt x="719" y="957"/>
                    </a:lnTo>
                    <a:lnTo>
                      <a:pt x="726" y="956"/>
                    </a:lnTo>
                    <a:lnTo>
                      <a:pt x="732" y="953"/>
                    </a:lnTo>
                    <a:lnTo>
                      <a:pt x="738" y="948"/>
                    </a:lnTo>
                    <a:lnTo>
                      <a:pt x="740" y="946"/>
                    </a:lnTo>
                    <a:lnTo>
                      <a:pt x="738" y="944"/>
                    </a:lnTo>
                    <a:lnTo>
                      <a:pt x="737" y="947"/>
                    </a:lnTo>
                    <a:lnTo>
                      <a:pt x="736" y="947"/>
                    </a:lnTo>
                    <a:lnTo>
                      <a:pt x="732" y="946"/>
                    </a:lnTo>
                    <a:lnTo>
                      <a:pt x="732" y="945"/>
                    </a:lnTo>
                    <a:lnTo>
                      <a:pt x="732" y="944"/>
                    </a:lnTo>
                    <a:lnTo>
                      <a:pt x="734" y="943"/>
                    </a:lnTo>
                    <a:lnTo>
                      <a:pt x="734" y="942"/>
                    </a:lnTo>
                    <a:lnTo>
                      <a:pt x="737" y="942"/>
                    </a:lnTo>
                    <a:lnTo>
                      <a:pt x="739" y="938"/>
                    </a:lnTo>
                    <a:lnTo>
                      <a:pt x="726" y="938"/>
                    </a:lnTo>
                    <a:lnTo>
                      <a:pt x="725" y="937"/>
                    </a:lnTo>
                    <a:lnTo>
                      <a:pt x="728" y="937"/>
                    </a:lnTo>
                    <a:lnTo>
                      <a:pt x="729" y="936"/>
                    </a:lnTo>
                    <a:lnTo>
                      <a:pt x="732" y="937"/>
                    </a:lnTo>
                    <a:lnTo>
                      <a:pt x="735" y="937"/>
                    </a:lnTo>
                    <a:lnTo>
                      <a:pt x="738" y="937"/>
                    </a:lnTo>
                    <a:lnTo>
                      <a:pt x="738" y="935"/>
                    </a:lnTo>
                    <a:lnTo>
                      <a:pt x="735" y="933"/>
                    </a:lnTo>
                    <a:lnTo>
                      <a:pt x="735" y="932"/>
                    </a:lnTo>
                    <a:lnTo>
                      <a:pt x="738" y="934"/>
                    </a:lnTo>
                    <a:lnTo>
                      <a:pt x="739" y="937"/>
                    </a:lnTo>
                    <a:lnTo>
                      <a:pt x="741" y="938"/>
                    </a:lnTo>
                    <a:lnTo>
                      <a:pt x="742" y="940"/>
                    </a:lnTo>
                    <a:lnTo>
                      <a:pt x="751" y="931"/>
                    </a:lnTo>
                    <a:lnTo>
                      <a:pt x="753" y="926"/>
                    </a:lnTo>
                    <a:lnTo>
                      <a:pt x="754" y="927"/>
                    </a:lnTo>
                    <a:lnTo>
                      <a:pt x="757" y="925"/>
                    </a:lnTo>
                    <a:lnTo>
                      <a:pt x="761" y="925"/>
                    </a:lnTo>
                    <a:lnTo>
                      <a:pt x="762" y="922"/>
                    </a:lnTo>
                    <a:lnTo>
                      <a:pt x="763" y="918"/>
                    </a:lnTo>
                    <a:lnTo>
                      <a:pt x="764" y="915"/>
                    </a:lnTo>
                    <a:lnTo>
                      <a:pt x="765" y="914"/>
                    </a:lnTo>
                    <a:lnTo>
                      <a:pt x="765" y="912"/>
                    </a:lnTo>
                    <a:lnTo>
                      <a:pt x="765" y="908"/>
                    </a:lnTo>
                    <a:lnTo>
                      <a:pt x="766" y="904"/>
                    </a:lnTo>
                    <a:lnTo>
                      <a:pt x="769" y="899"/>
                    </a:lnTo>
                    <a:lnTo>
                      <a:pt x="771" y="894"/>
                    </a:lnTo>
                    <a:lnTo>
                      <a:pt x="773" y="892"/>
                    </a:lnTo>
                    <a:lnTo>
                      <a:pt x="774" y="885"/>
                    </a:lnTo>
                    <a:lnTo>
                      <a:pt x="776" y="882"/>
                    </a:lnTo>
                    <a:lnTo>
                      <a:pt x="774" y="874"/>
                    </a:lnTo>
                    <a:close/>
                    <a:moveTo>
                      <a:pt x="514" y="136"/>
                    </a:moveTo>
                    <a:lnTo>
                      <a:pt x="512" y="137"/>
                    </a:lnTo>
                    <a:lnTo>
                      <a:pt x="512" y="138"/>
                    </a:lnTo>
                    <a:lnTo>
                      <a:pt x="513" y="139"/>
                    </a:lnTo>
                    <a:lnTo>
                      <a:pt x="511" y="141"/>
                    </a:lnTo>
                    <a:lnTo>
                      <a:pt x="509" y="141"/>
                    </a:lnTo>
                    <a:lnTo>
                      <a:pt x="509" y="140"/>
                    </a:lnTo>
                    <a:lnTo>
                      <a:pt x="509" y="139"/>
                    </a:lnTo>
                    <a:lnTo>
                      <a:pt x="511" y="137"/>
                    </a:lnTo>
                    <a:lnTo>
                      <a:pt x="513" y="136"/>
                    </a:lnTo>
                    <a:lnTo>
                      <a:pt x="514" y="136"/>
                    </a:lnTo>
                    <a:close/>
                    <a:moveTo>
                      <a:pt x="149" y="713"/>
                    </a:moveTo>
                    <a:lnTo>
                      <a:pt x="149" y="712"/>
                    </a:lnTo>
                    <a:lnTo>
                      <a:pt x="153" y="712"/>
                    </a:lnTo>
                    <a:lnTo>
                      <a:pt x="155" y="714"/>
                    </a:lnTo>
                    <a:lnTo>
                      <a:pt x="163" y="715"/>
                    </a:lnTo>
                    <a:lnTo>
                      <a:pt x="163" y="716"/>
                    </a:lnTo>
                    <a:lnTo>
                      <a:pt x="161" y="717"/>
                    </a:lnTo>
                    <a:lnTo>
                      <a:pt x="161" y="718"/>
                    </a:lnTo>
                    <a:lnTo>
                      <a:pt x="163" y="719"/>
                    </a:lnTo>
                    <a:lnTo>
                      <a:pt x="166" y="718"/>
                    </a:lnTo>
                    <a:lnTo>
                      <a:pt x="178" y="711"/>
                    </a:lnTo>
                    <a:lnTo>
                      <a:pt x="179" y="705"/>
                    </a:lnTo>
                    <a:lnTo>
                      <a:pt x="180" y="702"/>
                    </a:lnTo>
                    <a:lnTo>
                      <a:pt x="179" y="699"/>
                    </a:lnTo>
                    <a:lnTo>
                      <a:pt x="180" y="698"/>
                    </a:lnTo>
                    <a:lnTo>
                      <a:pt x="183" y="696"/>
                    </a:lnTo>
                    <a:lnTo>
                      <a:pt x="189" y="695"/>
                    </a:lnTo>
                    <a:lnTo>
                      <a:pt x="194" y="696"/>
                    </a:lnTo>
                    <a:lnTo>
                      <a:pt x="196" y="698"/>
                    </a:lnTo>
                    <a:lnTo>
                      <a:pt x="198" y="695"/>
                    </a:lnTo>
                    <a:lnTo>
                      <a:pt x="200" y="695"/>
                    </a:lnTo>
                    <a:lnTo>
                      <a:pt x="203" y="692"/>
                    </a:lnTo>
                    <a:lnTo>
                      <a:pt x="204" y="690"/>
                    </a:lnTo>
                    <a:lnTo>
                      <a:pt x="206" y="689"/>
                    </a:lnTo>
                    <a:lnTo>
                      <a:pt x="205" y="687"/>
                    </a:lnTo>
                    <a:lnTo>
                      <a:pt x="204" y="682"/>
                    </a:lnTo>
                    <a:lnTo>
                      <a:pt x="203" y="683"/>
                    </a:lnTo>
                    <a:lnTo>
                      <a:pt x="202" y="681"/>
                    </a:lnTo>
                    <a:lnTo>
                      <a:pt x="192" y="685"/>
                    </a:lnTo>
                    <a:lnTo>
                      <a:pt x="197" y="680"/>
                    </a:lnTo>
                    <a:lnTo>
                      <a:pt x="198" y="677"/>
                    </a:lnTo>
                    <a:lnTo>
                      <a:pt x="198" y="675"/>
                    </a:lnTo>
                    <a:lnTo>
                      <a:pt x="198" y="674"/>
                    </a:lnTo>
                    <a:lnTo>
                      <a:pt x="199" y="673"/>
                    </a:lnTo>
                    <a:lnTo>
                      <a:pt x="197" y="673"/>
                    </a:lnTo>
                    <a:lnTo>
                      <a:pt x="196" y="672"/>
                    </a:lnTo>
                    <a:lnTo>
                      <a:pt x="197" y="670"/>
                    </a:lnTo>
                    <a:lnTo>
                      <a:pt x="194" y="669"/>
                    </a:lnTo>
                    <a:lnTo>
                      <a:pt x="196" y="667"/>
                    </a:lnTo>
                    <a:lnTo>
                      <a:pt x="192" y="665"/>
                    </a:lnTo>
                    <a:lnTo>
                      <a:pt x="193" y="664"/>
                    </a:lnTo>
                    <a:lnTo>
                      <a:pt x="193" y="661"/>
                    </a:lnTo>
                    <a:lnTo>
                      <a:pt x="197" y="662"/>
                    </a:lnTo>
                    <a:lnTo>
                      <a:pt x="200" y="664"/>
                    </a:lnTo>
                    <a:lnTo>
                      <a:pt x="201" y="666"/>
                    </a:lnTo>
                    <a:lnTo>
                      <a:pt x="203" y="666"/>
                    </a:lnTo>
                    <a:lnTo>
                      <a:pt x="203" y="667"/>
                    </a:lnTo>
                    <a:lnTo>
                      <a:pt x="204" y="669"/>
                    </a:lnTo>
                    <a:lnTo>
                      <a:pt x="205" y="674"/>
                    </a:lnTo>
                    <a:lnTo>
                      <a:pt x="203" y="677"/>
                    </a:lnTo>
                    <a:lnTo>
                      <a:pt x="202" y="680"/>
                    </a:lnTo>
                    <a:lnTo>
                      <a:pt x="205" y="682"/>
                    </a:lnTo>
                    <a:lnTo>
                      <a:pt x="207" y="686"/>
                    </a:lnTo>
                    <a:lnTo>
                      <a:pt x="208" y="686"/>
                    </a:lnTo>
                    <a:lnTo>
                      <a:pt x="209" y="685"/>
                    </a:lnTo>
                    <a:lnTo>
                      <a:pt x="210" y="684"/>
                    </a:lnTo>
                    <a:lnTo>
                      <a:pt x="209" y="683"/>
                    </a:lnTo>
                    <a:lnTo>
                      <a:pt x="211" y="681"/>
                    </a:lnTo>
                    <a:lnTo>
                      <a:pt x="212" y="679"/>
                    </a:lnTo>
                    <a:lnTo>
                      <a:pt x="211" y="676"/>
                    </a:lnTo>
                    <a:lnTo>
                      <a:pt x="213" y="673"/>
                    </a:lnTo>
                    <a:lnTo>
                      <a:pt x="213" y="672"/>
                    </a:lnTo>
                    <a:lnTo>
                      <a:pt x="214" y="670"/>
                    </a:lnTo>
                    <a:lnTo>
                      <a:pt x="211" y="669"/>
                    </a:lnTo>
                    <a:lnTo>
                      <a:pt x="210" y="667"/>
                    </a:lnTo>
                    <a:lnTo>
                      <a:pt x="210" y="662"/>
                    </a:lnTo>
                    <a:lnTo>
                      <a:pt x="207" y="658"/>
                    </a:lnTo>
                    <a:lnTo>
                      <a:pt x="206" y="653"/>
                    </a:lnTo>
                    <a:lnTo>
                      <a:pt x="204" y="652"/>
                    </a:lnTo>
                    <a:lnTo>
                      <a:pt x="203" y="650"/>
                    </a:lnTo>
                    <a:lnTo>
                      <a:pt x="198" y="650"/>
                    </a:lnTo>
                    <a:lnTo>
                      <a:pt x="196" y="651"/>
                    </a:lnTo>
                    <a:lnTo>
                      <a:pt x="193" y="651"/>
                    </a:lnTo>
                    <a:lnTo>
                      <a:pt x="188" y="650"/>
                    </a:lnTo>
                    <a:lnTo>
                      <a:pt x="181" y="654"/>
                    </a:lnTo>
                    <a:lnTo>
                      <a:pt x="178" y="658"/>
                    </a:lnTo>
                    <a:lnTo>
                      <a:pt x="176" y="658"/>
                    </a:lnTo>
                    <a:lnTo>
                      <a:pt x="176" y="656"/>
                    </a:lnTo>
                    <a:lnTo>
                      <a:pt x="175" y="655"/>
                    </a:lnTo>
                    <a:lnTo>
                      <a:pt x="178" y="650"/>
                    </a:lnTo>
                    <a:lnTo>
                      <a:pt x="183" y="647"/>
                    </a:lnTo>
                    <a:lnTo>
                      <a:pt x="186" y="646"/>
                    </a:lnTo>
                    <a:lnTo>
                      <a:pt x="189" y="646"/>
                    </a:lnTo>
                    <a:lnTo>
                      <a:pt x="192" y="643"/>
                    </a:lnTo>
                    <a:lnTo>
                      <a:pt x="194" y="641"/>
                    </a:lnTo>
                    <a:lnTo>
                      <a:pt x="193" y="636"/>
                    </a:lnTo>
                    <a:lnTo>
                      <a:pt x="190" y="632"/>
                    </a:lnTo>
                    <a:lnTo>
                      <a:pt x="187" y="631"/>
                    </a:lnTo>
                    <a:lnTo>
                      <a:pt x="185" y="632"/>
                    </a:lnTo>
                    <a:lnTo>
                      <a:pt x="185" y="633"/>
                    </a:lnTo>
                    <a:lnTo>
                      <a:pt x="189" y="636"/>
                    </a:lnTo>
                    <a:lnTo>
                      <a:pt x="191" y="639"/>
                    </a:lnTo>
                    <a:lnTo>
                      <a:pt x="189" y="636"/>
                    </a:lnTo>
                    <a:lnTo>
                      <a:pt x="184" y="636"/>
                    </a:lnTo>
                    <a:lnTo>
                      <a:pt x="184" y="634"/>
                    </a:lnTo>
                    <a:lnTo>
                      <a:pt x="184" y="632"/>
                    </a:lnTo>
                    <a:lnTo>
                      <a:pt x="184" y="631"/>
                    </a:lnTo>
                    <a:lnTo>
                      <a:pt x="181" y="627"/>
                    </a:lnTo>
                    <a:lnTo>
                      <a:pt x="179" y="626"/>
                    </a:lnTo>
                    <a:lnTo>
                      <a:pt x="178" y="623"/>
                    </a:lnTo>
                    <a:lnTo>
                      <a:pt x="175" y="620"/>
                    </a:lnTo>
                    <a:lnTo>
                      <a:pt x="170" y="618"/>
                    </a:lnTo>
                    <a:lnTo>
                      <a:pt x="171" y="614"/>
                    </a:lnTo>
                    <a:lnTo>
                      <a:pt x="172" y="611"/>
                    </a:lnTo>
                    <a:lnTo>
                      <a:pt x="171" y="610"/>
                    </a:lnTo>
                    <a:lnTo>
                      <a:pt x="170" y="610"/>
                    </a:lnTo>
                    <a:lnTo>
                      <a:pt x="167" y="610"/>
                    </a:lnTo>
                    <a:lnTo>
                      <a:pt x="165" y="611"/>
                    </a:lnTo>
                    <a:lnTo>
                      <a:pt x="165" y="609"/>
                    </a:lnTo>
                    <a:lnTo>
                      <a:pt x="166" y="605"/>
                    </a:lnTo>
                    <a:lnTo>
                      <a:pt x="166" y="602"/>
                    </a:lnTo>
                    <a:lnTo>
                      <a:pt x="167" y="600"/>
                    </a:lnTo>
                    <a:lnTo>
                      <a:pt x="164" y="595"/>
                    </a:lnTo>
                    <a:lnTo>
                      <a:pt x="158" y="593"/>
                    </a:lnTo>
                    <a:lnTo>
                      <a:pt x="150" y="595"/>
                    </a:lnTo>
                    <a:lnTo>
                      <a:pt x="146" y="592"/>
                    </a:lnTo>
                    <a:lnTo>
                      <a:pt x="142" y="591"/>
                    </a:lnTo>
                    <a:lnTo>
                      <a:pt x="136" y="592"/>
                    </a:lnTo>
                    <a:lnTo>
                      <a:pt x="130" y="590"/>
                    </a:lnTo>
                    <a:lnTo>
                      <a:pt x="126" y="593"/>
                    </a:lnTo>
                    <a:lnTo>
                      <a:pt x="118" y="595"/>
                    </a:lnTo>
                    <a:lnTo>
                      <a:pt x="116" y="595"/>
                    </a:lnTo>
                    <a:lnTo>
                      <a:pt x="113" y="596"/>
                    </a:lnTo>
                    <a:lnTo>
                      <a:pt x="110" y="598"/>
                    </a:lnTo>
                    <a:lnTo>
                      <a:pt x="100" y="598"/>
                    </a:lnTo>
                    <a:lnTo>
                      <a:pt x="95" y="596"/>
                    </a:lnTo>
                    <a:lnTo>
                      <a:pt x="94" y="596"/>
                    </a:lnTo>
                    <a:lnTo>
                      <a:pt x="94" y="600"/>
                    </a:lnTo>
                    <a:lnTo>
                      <a:pt x="93" y="602"/>
                    </a:lnTo>
                    <a:lnTo>
                      <a:pt x="91" y="605"/>
                    </a:lnTo>
                    <a:lnTo>
                      <a:pt x="90" y="606"/>
                    </a:lnTo>
                    <a:lnTo>
                      <a:pt x="89" y="608"/>
                    </a:lnTo>
                    <a:lnTo>
                      <a:pt x="90" y="609"/>
                    </a:lnTo>
                    <a:lnTo>
                      <a:pt x="87" y="611"/>
                    </a:lnTo>
                    <a:lnTo>
                      <a:pt x="85" y="612"/>
                    </a:lnTo>
                    <a:lnTo>
                      <a:pt x="82" y="612"/>
                    </a:lnTo>
                    <a:lnTo>
                      <a:pt x="77" y="610"/>
                    </a:lnTo>
                    <a:lnTo>
                      <a:pt x="71" y="611"/>
                    </a:lnTo>
                    <a:lnTo>
                      <a:pt x="68" y="611"/>
                    </a:lnTo>
                    <a:lnTo>
                      <a:pt x="67" y="611"/>
                    </a:lnTo>
                    <a:lnTo>
                      <a:pt x="63" y="611"/>
                    </a:lnTo>
                    <a:lnTo>
                      <a:pt x="58" y="617"/>
                    </a:lnTo>
                    <a:lnTo>
                      <a:pt x="60" y="618"/>
                    </a:lnTo>
                    <a:lnTo>
                      <a:pt x="58" y="620"/>
                    </a:lnTo>
                    <a:lnTo>
                      <a:pt x="59" y="620"/>
                    </a:lnTo>
                    <a:lnTo>
                      <a:pt x="58" y="622"/>
                    </a:lnTo>
                    <a:lnTo>
                      <a:pt x="57" y="624"/>
                    </a:lnTo>
                    <a:lnTo>
                      <a:pt x="56" y="626"/>
                    </a:lnTo>
                    <a:lnTo>
                      <a:pt x="57" y="629"/>
                    </a:lnTo>
                    <a:lnTo>
                      <a:pt x="53" y="634"/>
                    </a:lnTo>
                    <a:lnTo>
                      <a:pt x="51" y="636"/>
                    </a:lnTo>
                    <a:lnTo>
                      <a:pt x="49" y="644"/>
                    </a:lnTo>
                    <a:lnTo>
                      <a:pt x="48" y="644"/>
                    </a:lnTo>
                    <a:lnTo>
                      <a:pt x="41" y="643"/>
                    </a:lnTo>
                    <a:lnTo>
                      <a:pt x="33" y="648"/>
                    </a:lnTo>
                    <a:lnTo>
                      <a:pt x="30" y="647"/>
                    </a:lnTo>
                    <a:lnTo>
                      <a:pt x="25" y="644"/>
                    </a:lnTo>
                    <a:lnTo>
                      <a:pt x="23" y="644"/>
                    </a:lnTo>
                    <a:lnTo>
                      <a:pt x="22" y="648"/>
                    </a:lnTo>
                    <a:lnTo>
                      <a:pt x="20" y="649"/>
                    </a:lnTo>
                    <a:lnTo>
                      <a:pt x="20" y="650"/>
                    </a:lnTo>
                    <a:lnTo>
                      <a:pt x="19" y="651"/>
                    </a:lnTo>
                    <a:lnTo>
                      <a:pt x="22" y="652"/>
                    </a:lnTo>
                    <a:lnTo>
                      <a:pt x="24" y="655"/>
                    </a:lnTo>
                    <a:lnTo>
                      <a:pt x="29" y="655"/>
                    </a:lnTo>
                    <a:lnTo>
                      <a:pt x="33" y="657"/>
                    </a:lnTo>
                    <a:lnTo>
                      <a:pt x="35" y="656"/>
                    </a:lnTo>
                    <a:lnTo>
                      <a:pt x="36" y="657"/>
                    </a:lnTo>
                    <a:lnTo>
                      <a:pt x="30" y="660"/>
                    </a:lnTo>
                    <a:lnTo>
                      <a:pt x="27" y="664"/>
                    </a:lnTo>
                    <a:lnTo>
                      <a:pt x="24" y="665"/>
                    </a:lnTo>
                    <a:lnTo>
                      <a:pt x="15" y="666"/>
                    </a:lnTo>
                    <a:lnTo>
                      <a:pt x="14" y="664"/>
                    </a:lnTo>
                    <a:lnTo>
                      <a:pt x="10" y="668"/>
                    </a:lnTo>
                    <a:lnTo>
                      <a:pt x="9" y="670"/>
                    </a:lnTo>
                    <a:lnTo>
                      <a:pt x="0" y="673"/>
                    </a:lnTo>
                    <a:lnTo>
                      <a:pt x="2" y="675"/>
                    </a:lnTo>
                    <a:lnTo>
                      <a:pt x="1" y="676"/>
                    </a:lnTo>
                    <a:lnTo>
                      <a:pt x="10" y="683"/>
                    </a:lnTo>
                    <a:lnTo>
                      <a:pt x="13" y="685"/>
                    </a:lnTo>
                    <a:lnTo>
                      <a:pt x="15" y="688"/>
                    </a:lnTo>
                    <a:lnTo>
                      <a:pt x="18" y="691"/>
                    </a:lnTo>
                    <a:lnTo>
                      <a:pt x="22" y="692"/>
                    </a:lnTo>
                    <a:lnTo>
                      <a:pt x="23" y="694"/>
                    </a:lnTo>
                    <a:lnTo>
                      <a:pt x="24" y="699"/>
                    </a:lnTo>
                    <a:lnTo>
                      <a:pt x="37" y="701"/>
                    </a:lnTo>
                    <a:lnTo>
                      <a:pt x="38" y="703"/>
                    </a:lnTo>
                    <a:lnTo>
                      <a:pt x="40" y="702"/>
                    </a:lnTo>
                    <a:lnTo>
                      <a:pt x="41" y="703"/>
                    </a:lnTo>
                    <a:lnTo>
                      <a:pt x="43" y="707"/>
                    </a:lnTo>
                    <a:lnTo>
                      <a:pt x="45" y="707"/>
                    </a:lnTo>
                    <a:lnTo>
                      <a:pt x="47" y="709"/>
                    </a:lnTo>
                    <a:lnTo>
                      <a:pt x="49" y="708"/>
                    </a:lnTo>
                    <a:lnTo>
                      <a:pt x="52" y="709"/>
                    </a:lnTo>
                    <a:lnTo>
                      <a:pt x="58" y="705"/>
                    </a:lnTo>
                    <a:lnTo>
                      <a:pt x="59" y="705"/>
                    </a:lnTo>
                    <a:lnTo>
                      <a:pt x="60" y="705"/>
                    </a:lnTo>
                    <a:lnTo>
                      <a:pt x="60" y="706"/>
                    </a:lnTo>
                    <a:lnTo>
                      <a:pt x="58" y="707"/>
                    </a:lnTo>
                    <a:lnTo>
                      <a:pt x="60" y="708"/>
                    </a:lnTo>
                    <a:lnTo>
                      <a:pt x="63" y="707"/>
                    </a:lnTo>
                    <a:lnTo>
                      <a:pt x="65" y="710"/>
                    </a:lnTo>
                    <a:lnTo>
                      <a:pt x="68" y="709"/>
                    </a:lnTo>
                    <a:lnTo>
                      <a:pt x="71" y="705"/>
                    </a:lnTo>
                    <a:lnTo>
                      <a:pt x="71" y="703"/>
                    </a:lnTo>
                    <a:lnTo>
                      <a:pt x="73" y="702"/>
                    </a:lnTo>
                    <a:lnTo>
                      <a:pt x="73" y="700"/>
                    </a:lnTo>
                    <a:lnTo>
                      <a:pt x="78" y="699"/>
                    </a:lnTo>
                    <a:lnTo>
                      <a:pt x="79" y="698"/>
                    </a:lnTo>
                    <a:lnTo>
                      <a:pt x="78" y="697"/>
                    </a:lnTo>
                    <a:lnTo>
                      <a:pt x="79" y="695"/>
                    </a:lnTo>
                    <a:lnTo>
                      <a:pt x="77" y="693"/>
                    </a:lnTo>
                    <a:lnTo>
                      <a:pt x="77" y="692"/>
                    </a:lnTo>
                    <a:lnTo>
                      <a:pt x="75" y="691"/>
                    </a:lnTo>
                    <a:lnTo>
                      <a:pt x="77" y="689"/>
                    </a:lnTo>
                    <a:lnTo>
                      <a:pt x="77" y="687"/>
                    </a:lnTo>
                    <a:lnTo>
                      <a:pt x="81" y="686"/>
                    </a:lnTo>
                    <a:lnTo>
                      <a:pt x="88" y="679"/>
                    </a:lnTo>
                    <a:lnTo>
                      <a:pt x="89" y="678"/>
                    </a:lnTo>
                    <a:lnTo>
                      <a:pt x="94" y="680"/>
                    </a:lnTo>
                    <a:lnTo>
                      <a:pt x="98" y="683"/>
                    </a:lnTo>
                    <a:lnTo>
                      <a:pt x="99" y="685"/>
                    </a:lnTo>
                    <a:lnTo>
                      <a:pt x="101" y="686"/>
                    </a:lnTo>
                    <a:lnTo>
                      <a:pt x="103" y="690"/>
                    </a:lnTo>
                    <a:lnTo>
                      <a:pt x="103" y="692"/>
                    </a:lnTo>
                    <a:lnTo>
                      <a:pt x="104" y="694"/>
                    </a:lnTo>
                    <a:lnTo>
                      <a:pt x="105" y="697"/>
                    </a:lnTo>
                    <a:lnTo>
                      <a:pt x="107" y="699"/>
                    </a:lnTo>
                    <a:lnTo>
                      <a:pt x="112" y="703"/>
                    </a:lnTo>
                    <a:lnTo>
                      <a:pt x="113" y="701"/>
                    </a:lnTo>
                    <a:lnTo>
                      <a:pt x="119" y="703"/>
                    </a:lnTo>
                    <a:lnTo>
                      <a:pt x="120" y="706"/>
                    </a:lnTo>
                    <a:lnTo>
                      <a:pt x="120" y="708"/>
                    </a:lnTo>
                    <a:lnTo>
                      <a:pt x="118" y="710"/>
                    </a:lnTo>
                    <a:lnTo>
                      <a:pt x="118" y="713"/>
                    </a:lnTo>
                    <a:lnTo>
                      <a:pt x="121" y="717"/>
                    </a:lnTo>
                    <a:lnTo>
                      <a:pt x="127" y="716"/>
                    </a:lnTo>
                    <a:lnTo>
                      <a:pt x="129" y="716"/>
                    </a:lnTo>
                    <a:lnTo>
                      <a:pt x="133" y="713"/>
                    </a:lnTo>
                    <a:lnTo>
                      <a:pt x="136" y="715"/>
                    </a:lnTo>
                    <a:lnTo>
                      <a:pt x="137" y="715"/>
                    </a:lnTo>
                    <a:lnTo>
                      <a:pt x="138" y="715"/>
                    </a:lnTo>
                    <a:lnTo>
                      <a:pt x="141" y="714"/>
                    </a:lnTo>
                    <a:lnTo>
                      <a:pt x="142" y="712"/>
                    </a:lnTo>
                    <a:lnTo>
                      <a:pt x="144" y="712"/>
                    </a:lnTo>
                    <a:lnTo>
                      <a:pt x="147" y="711"/>
                    </a:lnTo>
                    <a:lnTo>
                      <a:pt x="149" y="712"/>
                    </a:lnTo>
                    <a:lnTo>
                      <a:pt x="149" y="713"/>
                    </a:lnTo>
                    <a:close/>
                    <a:moveTo>
                      <a:pt x="155" y="586"/>
                    </a:moveTo>
                    <a:lnTo>
                      <a:pt x="155" y="588"/>
                    </a:lnTo>
                    <a:lnTo>
                      <a:pt x="154" y="589"/>
                    </a:lnTo>
                    <a:lnTo>
                      <a:pt x="153" y="588"/>
                    </a:lnTo>
                    <a:lnTo>
                      <a:pt x="153" y="587"/>
                    </a:lnTo>
                    <a:lnTo>
                      <a:pt x="153" y="586"/>
                    </a:lnTo>
                    <a:lnTo>
                      <a:pt x="148" y="586"/>
                    </a:lnTo>
                    <a:lnTo>
                      <a:pt x="147" y="586"/>
                    </a:lnTo>
                    <a:lnTo>
                      <a:pt x="150" y="584"/>
                    </a:lnTo>
                    <a:lnTo>
                      <a:pt x="152" y="585"/>
                    </a:lnTo>
                    <a:lnTo>
                      <a:pt x="153" y="584"/>
                    </a:lnTo>
                    <a:lnTo>
                      <a:pt x="156" y="586"/>
                    </a:lnTo>
                    <a:lnTo>
                      <a:pt x="155" y="586"/>
                    </a:lnTo>
                    <a:close/>
                    <a:moveTo>
                      <a:pt x="385" y="706"/>
                    </a:moveTo>
                    <a:lnTo>
                      <a:pt x="384" y="709"/>
                    </a:lnTo>
                    <a:lnTo>
                      <a:pt x="385" y="711"/>
                    </a:lnTo>
                    <a:lnTo>
                      <a:pt x="387" y="713"/>
                    </a:lnTo>
                    <a:lnTo>
                      <a:pt x="387" y="714"/>
                    </a:lnTo>
                    <a:lnTo>
                      <a:pt x="388" y="715"/>
                    </a:lnTo>
                    <a:lnTo>
                      <a:pt x="390" y="716"/>
                    </a:lnTo>
                    <a:lnTo>
                      <a:pt x="387" y="716"/>
                    </a:lnTo>
                    <a:lnTo>
                      <a:pt x="385" y="714"/>
                    </a:lnTo>
                    <a:lnTo>
                      <a:pt x="383" y="710"/>
                    </a:lnTo>
                    <a:lnTo>
                      <a:pt x="383" y="707"/>
                    </a:lnTo>
                    <a:lnTo>
                      <a:pt x="383" y="706"/>
                    </a:lnTo>
                    <a:lnTo>
                      <a:pt x="385" y="706"/>
                    </a:lnTo>
                    <a:close/>
                    <a:moveTo>
                      <a:pt x="273" y="793"/>
                    </a:moveTo>
                    <a:lnTo>
                      <a:pt x="277" y="793"/>
                    </a:lnTo>
                    <a:lnTo>
                      <a:pt x="276" y="794"/>
                    </a:lnTo>
                    <a:lnTo>
                      <a:pt x="279" y="795"/>
                    </a:lnTo>
                    <a:lnTo>
                      <a:pt x="280" y="798"/>
                    </a:lnTo>
                    <a:lnTo>
                      <a:pt x="281" y="799"/>
                    </a:lnTo>
                    <a:lnTo>
                      <a:pt x="281" y="801"/>
                    </a:lnTo>
                    <a:lnTo>
                      <a:pt x="280" y="801"/>
                    </a:lnTo>
                    <a:lnTo>
                      <a:pt x="278" y="799"/>
                    </a:lnTo>
                    <a:lnTo>
                      <a:pt x="276" y="797"/>
                    </a:lnTo>
                    <a:lnTo>
                      <a:pt x="272" y="797"/>
                    </a:lnTo>
                    <a:lnTo>
                      <a:pt x="272" y="796"/>
                    </a:lnTo>
                    <a:lnTo>
                      <a:pt x="271" y="795"/>
                    </a:lnTo>
                    <a:lnTo>
                      <a:pt x="272" y="794"/>
                    </a:lnTo>
                    <a:lnTo>
                      <a:pt x="273" y="793"/>
                    </a:lnTo>
                    <a:close/>
                    <a:moveTo>
                      <a:pt x="298" y="679"/>
                    </a:moveTo>
                    <a:lnTo>
                      <a:pt x="296" y="684"/>
                    </a:lnTo>
                    <a:lnTo>
                      <a:pt x="297" y="687"/>
                    </a:lnTo>
                    <a:lnTo>
                      <a:pt x="297" y="689"/>
                    </a:lnTo>
                    <a:lnTo>
                      <a:pt x="301" y="691"/>
                    </a:lnTo>
                    <a:lnTo>
                      <a:pt x="300" y="692"/>
                    </a:lnTo>
                    <a:lnTo>
                      <a:pt x="298" y="695"/>
                    </a:lnTo>
                    <a:lnTo>
                      <a:pt x="297" y="698"/>
                    </a:lnTo>
                    <a:lnTo>
                      <a:pt x="295" y="699"/>
                    </a:lnTo>
                    <a:lnTo>
                      <a:pt x="295" y="700"/>
                    </a:lnTo>
                    <a:lnTo>
                      <a:pt x="295" y="702"/>
                    </a:lnTo>
                    <a:lnTo>
                      <a:pt x="289" y="705"/>
                    </a:lnTo>
                    <a:lnTo>
                      <a:pt x="289" y="706"/>
                    </a:lnTo>
                    <a:lnTo>
                      <a:pt x="289" y="707"/>
                    </a:lnTo>
                    <a:lnTo>
                      <a:pt x="287" y="708"/>
                    </a:lnTo>
                    <a:lnTo>
                      <a:pt x="285" y="709"/>
                    </a:lnTo>
                    <a:lnTo>
                      <a:pt x="283" y="711"/>
                    </a:lnTo>
                    <a:lnTo>
                      <a:pt x="280" y="712"/>
                    </a:lnTo>
                    <a:lnTo>
                      <a:pt x="279" y="713"/>
                    </a:lnTo>
                    <a:lnTo>
                      <a:pt x="278" y="715"/>
                    </a:lnTo>
                    <a:lnTo>
                      <a:pt x="276" y="714"/>
                    </a:lnTo>
                    <a:lnTo>
                      <a:pt x="273" y="715"/>
                    </a:lnTo>
                    <a:lnTo>
                      <a:pt x="272" y="714"/>
                    </a:lnTo>
                    <a:lnTo>
                      <a:pt x="270" y="713"/>
                    </a:lnTo>
                    <a:lnTo>
                      <a:pt x="267" y="715"/>
                    </a:lnTo>
                    <a:lnTo>
                      <a:pt x="264" y="715"/>
                    </a:lnTo>
                    <a:lnTo>
                      <a:pt x="265" y="713"/>
                    </a:lnTo>
                    <a:lnTo>
                      <a:pt x="265" y="712"/>
                    </a:lnTo>
                    <a:lnTo>
                      <a:pt x="268" y="707"/>
                    </a:lnTo>
                    <a:lnTo>
                      <a:pt x="268" y="704"/>
                    </a:lnTo>
                    <a:lnTo>
                      <a:pt x="270" y="701"/>
                    </a:lnTo>
                    <a:lnTo>
                      <a:pt x="270" y="699"/>
                    </a:lnTo>
                    <a:lnTo>
                      <a:pt x="277" y="695"/>
                    </a:lnTo>
                    <a:lnTo>
                      <a:pt x="280" y="692"/>
                    </a:lnTo>
                    <a:lnTo>
                      <a:pt x="282" y="686"/>
                    </a:lnTo>
                    <a:lnTo>
                      <a:pt x="282" y="685"/>
                    </a:lnTo>
                    <a:lnTo>
                      <a:pt x="284" y="683"/>
                    </a:lnTo>
                    <a:lnTo>
                      <a:pt x="289" y="680"/>
                    </a:lnTo>
                    <a:lnTo>
                      <a:pt x="295" y="679"/>
                    </a:lnTo>
                    <a:lnTo>
                      <a:pt x="297" y="678"/>
                    </a:lnTo>
                    <a:lnTo>
                      <a:pt x="298" y="679"/>
                    </a:lnTo>
                    <a:close/>
                    <a:moveTo>
                      <a:pt x="293" y="782"/>
                    </a:moveTo>
                    <a:lnTo>
                      <a:pt x="303" y="784"/>
                    </a:lnTo>
                    <a:lnTo>
                      <a:pt x="304" y="787"/>
                    </a:lnTo>
                    <a:lnTo>
                      <a:pt x="305" y="789"/>
                    </a:lnTo>
                    <a:lnTo>
                      <a:pt x="307" y="790"/>
                    </a:lnTo>
                    <a:lnTo>
                      <a:pt x="308" y="792"/>
                    </a:lnTo>
                    <a:lnTo>
                      <a:pt x="309" y="794"/>
                    </a:lnTo>
                    <a:lnTo>
                      <a:pt x="309" y="796"/>
                    </a:lnTo>
                    <a:lnTo>
                      <a:pt x="314" y="795"/>
                    </a:lnTo>
                    <a:lnTo>
                      <a:pt x="316" y="794"/>
                    </a:lnTo>
                    <a:lnTo>
                      <a:pt x="322" y="795"/>
                    </a:lnTo>
                    <a:lnTo>
                      <a:pt x="322" y="797"/>
                    </a:lnTo>
                    <a:lnTo>
                      <a:pt x="319" y="799"/>
                    </a:lnTo>
                    <a:lnTo>
                      <a:pt x="310" y="804"/>
                    </a:lnTo>
                    <a:lnTo>
                      <a:pt x="308" y="806"/>
                    </a:lnTo>
                    <a:lnTo>
                      <a:pt x="308" y="808"/>
                    </a:lnTo>
                    <a:lnTo>
                      <a:pt x="303" y="811"/>
                    </a:lnTo>
                    <a:lnTo>
                      <a:pt x="301" y="812"/>
                    </a:lnTo>
                    <a:lnTo>
                      <a:pt x="299" y="812"/>
                    </a:lnTo>
                    <a:lnTo>
                      <a:pt x="300" y="813"/>
                    </a:lnTo>
                    <a:lnTo>
                      <a:pt x="299" y="814"/>
                    </a:lnTo>
                    <a:lnTo>
                      <a:pt x="295" y="813"/>
                    </a:lnTo>
                    <a:lnTo>
                      <a:pt x="294" y="814"/>
                    </a:lnTo>
                    <a:lnTo>
                      <a:pt x="294" y="812"/>
                    </a:lnTo>
                    <a:lnTo>
                      <a:pt x="292" y="811"/>
                    </a:lnTo>
                    <a:lnTo>
                      <a:pt x="290" y="809"/>
                    </a:lnTo>
                    <a:lnTo>
                      <a:pt x="288" y="809"/>
                    </a:lnTo>
                    <a:lnTo>
                      <a:pt x="287" y="808"/>
                    </a:lnTo>
                    <a:lnTo>
                      <a:pt x="287" y="806"/>
                    </a:lnTo>
                    <a:lnTo>
                      <a:pt x="281" y="798"/>
                    </a:lnTo>
                    <a:lnTo>
                      <a:pt x="281" y="795"/>
                    </a:lnTo>
                    <a:lnTo>
                      <a:pt x="281" y="793"/>
                    </a:lnTo>
                    <a:lnTo>
                      <a:pt x="282" y="789"/>
                    </a:lnTo>
                    <a:lnTo>
                      <a:pt x="281" y="787"/>
                    </a:lnTo>
                    <a:lnTo>
                      <a:pt x="281" y="786"/>
                    </a:lnTo>
                    <a:lnTo>
                      <a:pt x="281" y="785"/>
                    </a:lnTo>
                    <a:lnTo>
                      <a:pt x="284" y="785"/>
                    </a:lnTo>
                    <a:lnTo>
                      <a:pt x="285" y="784"/>
                    </a:lnTo>
                    <a:lnTo>
                      <a:pt x="286" y="785"/>
                    </a:lnTo>
                    <a:lnTo>
                      <a:pt x="289" y="783"/>
                    </a:lnTo>
                    <a:lnTo>
                      <a:pt x="291" y="783"/>
                    </a:lnTo>
                    <a:lnTo>
                      <a:pt x="292" y="782"/>
                    </a:lnTo>
                    <a:lnTo>
                      <a:pt x="293" y="782"/>
                    </a:lnTo>
                    <a:close/>
                    <a:moveTo>
                      <a:pt x="554" y="1072"/>
                    </a:moveTo>
                    <a:lnTo>
                      <a:pt x="549" y="1074"/>
                    </a:lnTo>
                    <a:lnTo>
                      <a:pt x="547" y="1076"/>
                    </a:lnTo>
                    <a:lnTo>
                      <a:pt x="547" y="1080"/>
                    </a:lnTo>
                    <a:lnTo>
                      <a:pt x="538" y="1082"/>
                    </a:lnTo>
                    <a:lnTo>
                      <a:pt x="536" y="1082"/>
                    </a:lnTo>
                    <a:lnTo>
                      <a:pt x="531" y="1078"/>
                    </a:lnTo>
                    <a:lnTo>
                      <a:pt x="521" y="1073"/>
                    </a:lnTo>
                    <a:lnTo>
                      <a:pt x="515" y="1074"/>
                    </a:lnTo>
                    <a:lnTo>
                      <a:pt x="518" y="1072"/>
                    </a:lnTo>
                    <a:lnTo>
                      <a:pt x="519" y="1069"/>
                    </a:lnTo>
                    <a:lnTo>
                      <a:pt x="521" y="1069"/>
                    </a:lnTo>
                    <a:lnTo>
                      <a:pt x="526" y="1067"/>
                    </a:lnTo>
                    <a:lnTo>
                      <a:pt x="527" y="1067"/>
                    </a:lnTo>
                    <a:lnTo>
                      <a:pt x="527" y="1068"/>
                    </a:lnTo>
                    <a:lnTo>
                      <a:pt x="529" y="1068"/>
                    </a:lnTo>
                    <a:lnTo>
                      <a:pt x="529" y="1067"/>
                    </a:lnTo>
                    <a:lnTo>
                      <a:pt x="529" y="1066"/>
                    </a:lnTo>
                    <a:lnTo>
                      <a:pt x="536" y="1062"/>
                    </a:lnTo>
                    <a:lnTo>
                      <a:pt x="546" y="1066"/>
                    </a:lnTo>
                    <a:lnTo>
                      <a:pt x="550" y="1066"/>
                    </a:lnTo>
                    <a:lnTo>
                      <a:pt x="552" y="1067"/>
                    </a:lnTo>
                    <a:lnTo>
                      <a:pt x="552" y="1068"/>
                    </a:lnTo>
                    <a:lnTo>
                      <a:pt x="553" y="1068"/>
                    </a:lnTo>
                    <a:lnTo>
                      <a:pt x="555" y="1070"/>
                    </a:lnTo>
                    <a:lnTo>
                      <a:pt x="554" y="1072"/>
                    </a:lnTo>
                    <a:close/>
                    <a:moveTo>
                      <a:pt x="234" y="519"/>
                    </a:moveTo>
                    <a:lnTo>
                      <a:pt x="237" y="522"/>
                    </a:lnTo>
                    <a:lnTo>
                      <a:pt x="241" y="524"/>
                    </a:lnTo>
                    <a:lnTo>
                      <a:pt x="242" y="527"/>
                    </a:lnTo>
                    <a:lnTo>
                      <a:pt x="245" y="528"/>
                    </a:lnTo>
                    <a:lnTo>
                      <a:pt x="246" y="533"/>
                    </a:lnTo>
                    <a:lnTo>
                      <a:pt x="247" y="534"/>
                    </a:lnTo>
                    <a:lnTo>
                      <a:pt x="247" y="535"/>
                    </a:lnTo>
                    <a:lnTo>
                      <a:pt x="245" y="537"/>
                    </a:lnTo>
                    <a:lnTo>
                      <a:pt x="247" y="539"/>
                    </a:lnTo>
                    <a:lnTo>
                      <a:pt x="246" y="540"/>
                    </a:lnTo>
                    <a:lnTo>
                      <a:pt x="244" y="539"/>
                    </a:lnTo>
                    <a:lnTo>
                      <a:pt x="243" y="537"/>
                    </a:lnTo>
                    <a:lnTo>
                      <a:pt x="238" y="534"/>
                    </a:lnTo>
                    <a:lnTo>
                      <a:pt x="237" y="532"/>
                    </a:lnTo>
                    <a:lnTo>
                      <a:pt x="236" y="529"/>
                    </a:lnTo>
                    <a:lnTo>
                      <a:pt x="237" y="527"/>
                    </a:lnTo>
                    <a:lnTo>
                      <a:pt x="234" y="527"/>
                    </a:lnTo>
                    <a:lnTo>
                      <a:pt x="232" y="524"/>
                    </a:lnTo>
                    <a:lnTo>
                      <a:pt x="231" y="521"/>
                    </a:lnTo>
                    <a:lnTo>
                      <a:pt x="233" y="519"/>
                    </a:lnTo>
                    <a:lnTo>
                      <a:pt x="234" y="519"/>
                    </a:lnTo>
                    <a:close/>
                    <a:moveTo>
                      <a:pt x="255" y="533"/>
                    </a:moveTo>
                    <a:lnTo>
                      <a:pt x="255" y="535"/>
                    </a:lnTo>
                    <a:lnTo>
                      <a:pt x="256" y="536"/>
                    </a:lnTo>
                    <a:lnTo>
                      <a:pt x="255" y="537"/>
                    </a:lnTo>
                    <a:lnTo>
                      <a:pt x="251" y="538"/>
                    </a:lnTo>
                    <a:lnTo>
                      <a:pt x="251" y="537"/>
                    </a:lnTo>
                    <a:lnTo>
                      <a:pt x="252" y="535"/>
                    </a:lnTo>
                    <a:lnTo>
                      <a:pt x="252" y="534"/>
                    </a:lnTo>
                    <a:lnTo>
                      <a:pt x="254" y="533"/>
                    </a:lnTo>
                    <a:lnTo>
                      <a:pt x="255" y="533"/>
                    </a:lnTo>
                    <a:close/>
                    <a:moveTo>
                      <a:pt x="79" y="348"/>
                    </a:moveTo>
                    <a:lnTo>
                      <a:pt x="80" y="349"/>
                    </a:lnTo>
                    <a:lnTo>
                      <a:pt x="77" y="352"/>
                    </a:lnTo>
                    <a:lnTo>
                      <a:pt x="75" y="352"/>
                    </a:lnTo>
                    <a:lnTo>
                      <a:pt x="74" y="350"/>
                    </a:lnTo>
                    <a:lnTo>
                      <a:pt x="75" y="349"/>
                    </a:lnTo>
                    <a:lnTo>
                      <a:pt x="76" y="349"/>
                    </a:lnTo>
                    <a:lnTo>
                      <a:pt x="78" y="348"/>
                    </a:lnTo>
                    <a:lnTo>
                      <a:pt x="79" y="348"/>
                    </a:lnTo>
                    <a:close/>
                    <a:moveTo>
                      <a:pt x="74" y="349"/>
                    </a:moveTo>
                    <a:lnTo>
                      <a:pt x="73" y="350"/>
                    </a:lnTo>
                    <a:lnTo>
                      <a:pt x="73" y="352"/>
                    </a:lnTo>
                    <a:lnTo>
                      <a:pt x="71" y="352"/>
                    </a:lnTo>
                    <a:lnTo>
                      <a:pt x="69" y="352"/>
                    </a:lnTo>
                    <a:lnTo>
                      <a:pt x="71" y="348"/>
                    </a:lnTo>
                    <a:lnTo>
                      <a:pt x="73" y="348"/>
                    </a:lnTo>
                    <a:lnTo>
                      <a:pt x="74" y="349"/>
                    </a:lnTo>
                    <a:close/>
                    <a:moveTo>
                      <a:pt x="52" y="413"/>
                    </a:moveTo>
                    <a:lnTo>
                      <a:pt x="49" y="413"/>
                    </a:lnTo>
                    <a:lnTo>
                      <a:pt x="51" y="413"/>
                    </a:lnTo>
                    <a:lnTo>
                      <a:pt x="50" y="414"/>
                    </a:lnTo>
                    <a:lnTo>
                      <a:pt x="47" y="415"/>
                    </a:lnTo>
                    <a:lnTo>
                      <a:pt x="47" y="414"/>
                    </a:lnTo>
                    <a:lnTo>
                      <a:pt x="47" y="413"/>
                    </a:lnTo>
                    <a:lnTo>
                      <a:pt x="46" y="413"/>
                    </a:lnTo>
                    <a:lnTo>
                      <a:pt x="46" y="412"/>
                    </a:lnTo>
                    <a:lnTo>
                      <a:pt x="46" y="411"/>
                    </a:lnTo>
                    <a:lnTo>
                      <a:pt x="48" y="411"/>
                    </a:lnTo>
                    <a:lnTo>
                      <a:pt x="50" y="412"/>
                    </a:lnTo>
                    <a:lnTo>
                      <a:pt x="52" y="412"/>
                    </a:lnTo>
                    <a:lnTo>
                      <a:pt x="52" y="413"/>
                    </a:lnTo>
                    <a:close/>
                    <a:moveTo>
                      <a:pt x="71" y="370"/>
                    </a:moveTo>
                    <a:lnTo>
                      <a:pt x="68" y="370"/>
                    </a:lnTo>
                    <a:lnTo>
                      <a:pt x="65" y="368"/>
                    </a:lnTo>
                    <a:lnTo>
                      <a:pt x="63" y="368"/>
                    </a:lnTo>
                    <a:lnTo>
                      <a:pt x="62" y="366"/>
                    </a:lnTo>
                    <a:lnTo>
                      <a:pt x="58" y="364"/>
                    </a:lnTo>
                    <a:lnTo>
                      <a:pt x="60" y="365"/>
                    </a:lnTo>
                    <a:lnTo>
                      <a:pt x="63" y="364"/>
                    </a:lnTo>
                    <a:lnTo>
                      <a:pt x="68" y="366"/>
                    </a:lnTo>
                    <a:lnTo>
                      <a:pt x="69" y="367"/>
                    </a:lnTo>
                    <a:lnTo>
                      <a:pt x="68" y="367"/>
                    </a:lnTo>
                    <a:lnTo>
                      <a:pt x="71" y="370"/>
                    </a:lnTo>
                    <a:close/>
                    <a:moveTo>
                      <a:pt x="63" y="350"/>
                    </a:moveTo>
                    <a:lnTo>
                      <a:pt x="63" y="352"/>
                    </a:lnTo>
                    <a:lnTo>
                      <a:pt x="63" y="353"/>
                    </a:lnTo>
                    <a:lnTo>
                      <a:pt x="61" y="353"/>
                    </a:lnTo>
                    <a:lnTo>
                      <a:pt x="58" y="349"/>
                    </a:lnTo>
                    <a:lnTo>
                      <a:pt x="61" y="348"/>
                    </a:lnTo>
                    <a:lnTo>
                      <a:pt x="63" y="350"/>
                    </a:lnTo>
                    <a:close/>
                    <a:moveTo>
                      <a:pt x="78" y="329"/>
                    </a:moveTo>
                    <a:lnTo>
                      <a:pt x="77" y="331"/>
                    </a:lnTo>
                    <a:lnTo>
                      <a:pt x="76" y="331"/>
                    </a:lnTo>
                    <a:lnTo>
                      <a:pt x="72" y="331"/>
                    </a:lnTo>
                    <a:lnTo>
                      <a:pt x="75" y="328"/>
                    </a:lnTo>
                    <a:lnTo>
                      <a:pt x="78" y="328"/>
                    </a:lnTo>
                    <a:lnTo>
                      <a:pt x="78" y="329"/>
                    </a:lnTo>
                    <a:close/>
                    <a:moveTo>
                      <a:pt x="74" y="324"/>
                    </a:moveTo>
                    <a:lnTo>
                      <a:pt x="74" y="325"/>
                    </a:lnTo>
                    <a:lnTo>
                      <a:pt x="71" y="326"/>
                    </a:lnTo>
                    <a:lnTo>
                      <a:pt x="69" y="325"/>
                    </a:lnTo>
                    <a:lnTo>
                      <a:pt x="72" y="323"/>
                    </a:lnTo>
                    <a:lnTo>
                      <a:pt x="74" y="324"/>
                    </a:lnTo>
                    <a:close/>
                    <a:moveTo>
                      <a:pt x="130" y="399"/>
                    </a:moveTo>
                    <a:lnTo>
                      <a:pt x="129" y="400"/>
                    </a:lnTo>
                    <a:lnTo>
                      <a:pt x="126" y="400"/>
                    </a:lnTo>
                    <a:lnTo>
                      <a:pt x="123" y="401"/>
                    </a:lnTo>
                    <a:lnTo>
                      <a:pt x="121" y="400"/>
                    </a:lnTo>
                    <a:lnTo>
                      <a:pt x="127" y="398"/>
                    </a:lnTo>
                    <a:lnTo>
                      <a:pt x="130" y="398"/>
                    </a:lnTo>
                    <a:lnTo>
                      <a:pt x="130" y="399"/>
                    </a:lnTo>
                    <a:close/>
                    <a:moveTo>
                      <a:pt x="138" y="476"/>
                    </a:moveTo>
                    <a:lnTo>
                      <a:pt x="135" y="479"/>
                    </a:lnTo>
                    <a:lnTo>
                      <a:pt x="133" y="478"/>
                    </a:lnTo>
                    <a:lnTo>
                      <a:pt x="135" y="476"/>
                    </a:lnTo>
                    <a:lnTo>
                      <a:pt x="134" y="476"/>
                    </a:lnTo>
                    <a:lnTo>
                      <a:pt x="136" y="475"/>
                    </a:lnTo>
                    <a:lnTo>
                      <a:pt x="138" y="475"/>
                    </a:lnTo>
                    <a:lnTo>
                      <a:pt x="138" y="476"/>
                    </a:lnTo>
                    <a:close/>
                    <a:moveTo>
                      <a:pt x="213" y="454"/>
                    </a:moveTo>
                    <a:lnTo>
                      <a:pt x="204" y="461"/>
                    </a:lnTo>
                    <a:lnTo>
                      <a:pt x="200" y="463"/>
                    </a:lnTo>
                    <a:lnTo>
                      <a:pt x="198" y="462"/>
                    </a:lnTo>
                    <a:lnTo>
                      <a:pt x="201" y="460"/>
                    </a:lnTo>
                    <a:lnTo>
                      <a:pt x="202" y="459"/>
                    </a:lnTo>
                    <a:lnTo>
                      <a:pt x="207" y="456"/>
                    </a:lnTo>
                    <a:lnTo>
                      <a:pt x="211" y="453"/>
                    </a:lnTo>
                    <a:lnTo>
                      <a:pt x="213" y="452"/>
                    </a:lnTo>
                    <a:lnTo>
                      <a:pt x="213" y="453"/>
                    </a:lnTo>
                    <a:lnTo>
                      <a:pt x="213" y="454"/>
                    </a:lnTo>
                    <a:close/>
                    <a:moveTo>
                      <a:pt x="193" y="491"/>
                    </a:moveTo>
                    <a:lnTo>
                      <a:pt x="193" y="494"/>
                    </a:lnTo>
                    <a:lnTo>
                      <a:pt x="191" y="494"/>
                    </a:lnTo>
                    <a:lnTo>
                      <a:pt x="188" y="494"/>
                    </a:lnTo>
                    <a:lnTo>
                      <a:pt x="190" y="491"/>
                    </a:lnTo>
                    <a:lnTo>
                      <a:pt x="193" y="491"/>
                    </a:lnTo>
                    <a:close/>
                    <a:moveTo>
                      <a:pt x="208" y="468"/>
                    </a:moveTo>
                    <a:lnTo>
                      <a:pt x="203" y="472"/>
                    </a:lnTo>
                    <a:lnTo>
                      <a:pt x="201" y="470"/>
                    </a:lnTo>
                    <a:lnTo>
                      <a:pt x="202" y="468"/>
                    </a:lnTo>
                    <a:lnTo>
                      <a:pt x="205" y="468"/>
                    </a:lnTo>
                    <a:lnTo>
                      <a:pt x="207" y="467"/>
                    </a:lnTo>
                    <a:lnTo>
                      <a:pt x="208" y="467"/>
                    </a:lnTo>
                    <a:lnTo>
                      <a:pt x="208" y="468"/>
                    </a:lnTo>
                    <a:close/>
                    <a:moveTo>
                      <a:pt x="201" y="478"/>
                    </a:moveTo>
                    <a:lnTo>
                      <a:pt x="200" y="481"/>
                    </a:lnTo>
                    <a:lnTo>
                      <a:pt x="199" y="482"/>
                    </a:lnTo>
                    <a:lnTo>
                      <a:pt x="198" y="482"/>
                    </a:lnTo>
                    <a:lnTo>
                      <a:pt x="197" y="480"/>
                    </a:lnTo>
                    <a:lnTo>
                      <a:pt x="195" y="480"/>
                    </a:lnTo>
                    <a:lnTo>
                      <a:pt x="197" y="478"/>
                    </a:lnTo>
                    <a:lnTo>
                      <a:pt x="199" y="478"/>
                    </a:lnTo>
                    <a:lnTo>
                      <a:pt x="200" y="477"/>
                    </a:lnTo>
                    <a:lnTo>
                      <a:pt x="201" y="478"/>
                    </a:lnTo>
                    <a:close/>
                    <a:moveTo>
                      <a:pt x="197" y="483"/>
                    </a:moveTo>
                    <a:lnTo>
                      <a:pt x="197" y="484"/>
                    </a:lnTo>
                    <a:lnTo>
                      <a:pt x="198" y="485"/>
                    </a:lnTo>
                    <a:lnTo>
                      <a:pt x="197" y="489"/>
                    </a:lnTo>
                    <a:lnTo>
                      <a:pt x="197" y="491"/>
                    </a:lnTo>
                    <a:lnTo>
                      <a:pt x="196" y="490"/>
                    </a:lnTo>
                    <a:lnTo>
                      <a:pt x="195" y="488"/>
                    </a:lnTo>
                    <a:lnTo>
                      <a:pt x="196" y="485"/>
                    </a:lnTo>
                    <a:lnTo>
                      <a:pt x="195" y="483"/>
                    </a:lnTo>
                    <a:lnTo>
                      <a:pt x="196" y="482"/>
                    </a:lnTo>
                    <a:lnTo>
                      <a:pt x="197" y="483"/>
                    </a:lnTo>
                    <a:close/>
                    <a:moveTo>
                      <a:pt x="190" y="539"/>
                    </a:moveTo>
                    <a:lnTo>
                      <a:pt x="191" y="541"/>
                    </a:lnTo>
                    <a:lnTo>
                      <a:pt x="190" y="542"/>
                    </a:lnTo>
                    <a:lnTo>
                      <a:pt x="191" y="543"/>
                    </a:lnTo>
                    <a:lnTo>
                      <a:pt x="190" y="544"/>
                    </a:lnTo>
                    <a:lnTo>
                      <a:pt x="190" y="547"/>
                    </a:lnTo>
                    <a:lnTo>
                      <a:pt x="189" y="547"/>
                    </a:lnTo>
                    <a:lnTo>
                      <a:pt x="188" y="548"/>
                    </a:lnTo>
                    <a:lnTo>
                      <a:pt x="187" y="548"/>
                    </a:lnTo>
                    <a:lnTo>
                      <a:pt x="187" y="546"/>
                    </a:lnTo>
                    <a:lnTo>
                      <a:pt x="187" y="545"/>
                    </a:lnTo>
                    <a:lnTo>
                      <a:pt x="189" y="541"/>
                    </a:lnTo>
                    <a:lnTo>
                      <a:pt x="188" y="540"/>
                    </a:lnTo>
                    <a:lnTo>
                      <a:pt x="190" y="539"/>
                    </a:lnTo>
                    <a:close/>
                    <a:moveTo>
                      <a:pt x="57" y="401"/>
                    </a:moveTo>
                    <a:lnTo>
                      <a:pt x="57" y="402"/>
                    </a:lnTo>
                    <a:lnTo>
                      <a:pt x="55" y="403"/>
                    </a:lnTo>
                    <a:lnTo>
                      <a:pt x="58" y="405"/>
                    </a:lnTo>
                    <a:lnTo>
                      <a:pt x="57" y="406"/>
                    </a:lnTo>
                    <a:lnTo>
                      <a:pt x="59" y="408"/>
                    </a:lnTo>
                    <a:lnTo>
                      <a:pt x="56" y="409"/>
                    </a:lnTo>
                    <a:lnTo>
                      <a:pt x="57" y="411"/>
                    </a:lnTo>
                    <a:lnTo>
                      <a:pt x="54" y="411"/>
                    </a:lnTo>
                    <a:lnTo>
                      <a:pt x="46" y="410"/>
                    </a:lnTo>
                    <a:lnTo>
                      <a:pt x="47" y="409"/>
                    </a:lnTo>
                    <a:lnTo>
                      <a:pt x="49" y="408"/>
                    </a:lnTo>
                    <a:lnTo>
                      <a:pt x="49" y="407"/>
                    </a:lnTo>
                    <a:lnTo>
                      <a:pt x="51" y="405"/>
                    </a:lnTo>
                    <a:lnTo>
                      <a:pt x="50" y="405"/>
                    </a:lnTo>
                    <a:lnTo>
                      <a:pt x="49" y="404"/>
                    </a:lnTo>
                    <a:lnTo>
                      <a:pt x="54" y="403"/>
                    </a:lnTo>
                    <a:lnTo>
                      <a:pt x="55" y="401"/>
                    </a:lnTo>
                    <a:lnTo>
                      <a:pt x="54" y="399"/>
                    </a:lnTo>
                    <a:lnTo>
                      <a:pt x="55" y="399"/>
                    </a:lnTo>
                    <a:lnTo>
                      <a:pt x="55" y="400"/>
                    </a:lnTo>
                    <a:lnTo>
                      <a:pt x="57" y="401"/>
                    </a:lnTo>
                    <a:close/>
                    <a:moveTo>
                      <a:pt x="73" y="359"/>
                    </a:moveTo>
                    <a:lnTo>
                      <a:pt x="73" y="361"/>
                    </a:lnTo>
                    <a:lnTo>
                      <a:pt x="68" y="364"/>
                    </a:lnTo>
                    <a:lnTo>
                      <a:pt x="67" y="363"/>
                    </a:lnTo>
                    <a:lnTo>
                      <a:pt x="65" y="364"/>
                    </a:lnTo>
                    <a:lnTo>
                      <a:pt x="59" y="361"/>
                    </a:lnTo>
                    <a:lnTo>
                      <a:pt x="57" y="357"/>
                    </a:lnTo>
                    <a:lnTo>
                      <a:pt x="60" y="355"/>
                    </a:lnTo>
                    <a:lnTo>
                      <a:pt x="60" y="354"/>
                    </a:lnTo>
                    <a:lnTo>
                      <a:pt x="63" y="354"/>
                    </a:lnTo>
                    <a:lnTo>
                      <a:pt x="65" y="355"/>
                    </a:lnTo>
                    <a:lnTo>
                      <a:pt x="68" y="355"/>
                    </a:lnTo>
                    <a:lnTo>
                      <a:pt x="68" y="357"/>
                    </a:lnTo>
                    <a:lnTo>
                      <a:pt x="71" y="358"/>
                    </a:lnTo>
                    <a:lnTo>
                      <a:pt x="73" y="359"/>
                    </a:lnTo>
                    <a:close/>
                    <a:moveTo>
                      <a:pt x="171" y="354"/>
                    </a:moveTo>
                    <a:lnTo>
                      <a:pt x="170" y="357"/>
                    </a:lnTo>
                    <a:lnTo>
                      <a:pt x="168" y="359"/>
                    </a:lnTo>
                    <a:lnTo>
                      <a:pt x="167" y="363"/>
                    </a:lnTo>
                    <a:lnTo>
                      <a:pt x="168" y="364"/>
                    </a:lnTo>
                    <a:lnTo>
                      <a:pt x="168" y="366"/>
                    </a:lnTo>
                    <a:lnTo>
                      <a:pt x="170" y="367"/>
                    </a:lnTo>
                    <a:lnTo>
                      <a:pt x="170" y="369"/>
                    </a:lnTo>
                    <a:lnTo>
                      <a:pt x="166" y="371"/>
                    </a:lnTo>
                    <a:lnTo>
                      <a:pt x="164" y="371"/>
                    </a:lnTo>
                    <a:lnTo>
                      <a:pt x="164" y="369"/>
                    </a:lnTo>
                    <a:lnTo>
                      <a:pt x="163" y="368"/>
                    </a:lnTo>
                    <a:lnTo>
                      <a:pt x="164" y="366"/>
                    </a:lnTo>
                    <a:lnTo>
                      <a:pt x="163" y="364"/>
                    </a:lnTo>
                    <a:lnTo>
                      <a:pt x="164" y="359"/>
                    </a:lnTo>
                    <a:lnTo>
                      <a:pt x="165" y="358"/>
                    </a:lnTo>
                    <a:lnTo>
                      <a:pt x="168" y="358"/>
                    </a:lnTo>
                    <a:lnTo>
                      <a:pt x="170" y="353"/>
                    </a:lnTo>
                    <a:lnTo>
                      <a:pt x="171" y="354"/>
                    </a:lnTo>
                    <a:close/>
                    <a:moveTo>
                      <a:pt x="158" y="499"/>
                    </a:moveTo>
                    <a:lnTo>
                      <a:pt x="155" y="503"/>
                    </a:lnTo>
                    <a:lnTo>
                      <a:pt x="154" y="505"/>
                    </a:lnTo>
                    <a:lnTo>
                      <a:pt x="154" y="506"/>
                    </a:lnTo>
                    <a:lnTo>
                      <a:pt x="153" y="508"/>
                    </a:lnTo>
                    <a:lnTo>
                      <a:pt x="151" y="507"/>
                    </a:lnTo>
                    <a:lnTo>
                      <a:pt x="149" y="507"/>
                    </a:lnTo>
                    <a:lnTo>
                      <a:pt x="149" y="506"/>
                    </a:lnTo>
                    <a:lnTo>
                      <a:pt x="147" y="507"/>
                    </a:lnTo>
                    <a:lnTo>
                      <a:pt x="149" y="505"/>
                    </a:lnTo>
                    <a:lnTo>
                      <a:pt x="149" y="502"/>
                    </a:lnTo>
                    <a:lnTo>
                      <a:pt x="152" y="500"/>
                    </a:lnTo>
                    <a:lnTo>
                      <a:pt x="154" y="500"/>
                    </a:lnTo>
                    <a:lnTo>
                      <a:pt x="155" y="499"/>
                    </a:lnTo>
                    <a:lnTo>
                      <a:pt x="157" y="497"/>
                    </a:lnTo>
                    <a:lnTo>
                      <a:pt x="158" y="499"/>
                    </a:lnTo>
                    <a:close/>
                    <a:moveTo>
                      <a:pt x="425" y="172"/>
                    </a:moveTo>
                    <a:lnTo>
                      <a:pt x="422" y="175"/>
                    </a:lnTo>
                    <a:lnTo>
                      <a:pt x="422" y="178"/>
                    </a:lnTo>
                    <a:lnTo>
                      <a:pt x="424" y="178"/>
                    </a:lnTo>
                    <a:lnTo>
                      <a:pt x="424" y="179"/>
                    </a:lnTo>
                    <a:lnTo>
                      <a:pt x="420" y="180"/>
                    </a:lnTo>
                    <a:lnTo>
                      <a:pt x="420" y="178"/>
                    </a:lnTo>
                    <a:lnTo>
                      <a:pt x="417" y="176"/>
                    </a:lnTo>
                    <a:lnTo>
                      <a:pt x="417" y="174"/>
                    </a:lnTo>
                    <a:lnTo>
                      <a:pt x="419" y="175"/>
                    </a:lnTo>
                    <a:lnTo>
                      <a:pt x="420" y="174"/>
                    </a:lnTo>
                    <a:lnTo>
                      <a:pt x="419" y="172"/>
                    </a:lnTo>
                    <a:lnTo>
                      <a:pt x="420" y="169"/>
                    </a:lnTo>
                    <a:lnTo>
                      <a:pt x="422" y="168"/>
                    </a:lnTo>
                    <a:lnTo>
                      <a:pt x="422" y="169"/>
                    </a:lnTo>
                    <a:lnTo>
                      <a:pt x="424" y="170"/>
                    </a:lnTo>
                    <a:lnTo>
                      <a:pt x="425" y="172"/>
                    </a:lnTo>
                    <a:close/>
                    <a:moveTo>
                      <a:pt x="407" y="158"/>
                    </a:moveTo>
                    <a:lnTo>
                      <a:pt x="406" y="159"/>
                    </a:lnTo>
                    <a:lnTo>
                      <a:pt x="406" y="160"/>
                    </a:lnTo>
                    <a:lnTo>
                      <a:pt x="404" y="161"/>
                    </a:lnTo>
                    <a:lnTo>
                      <a:pt x="407" y="161"/>
                    </a:lnTo>
                    <a:lnTo>
                      <a:pt x="409" y="163"/>
                    </a:lnTo>
                    <a:lnTo>
                      <a:pt x="411" y="163"/>
                    </a:lnTo>
                    <a:lnTo>
                      <a:pt x="412" y="164"/>
                    </a:lnTo>
                    <a:lnTo>
                      <a:pt x="413" y="165"/>
                    </a:lnTo>
                    <a:lnTo>
                      <a:pt x="413" y="166"/>
                    </a:lnTo>
                    <a:lnTo>
                      <a:pt x="416" y="167"/>
                    </a:lnTo>
                    <a:lnTo>
                      <a:pt x="416" y="168"/>
                    </a:lnTo>
                    <a:lnTo>
                      <a:pt x="414" y="168"/>
                    </a:lnTo>
                    <a:lnTo>
                      <a:pt x="412" y="170"/>
                    </a:lnTo>
                    <a:lnTo>
                      <a:pt x="412" y="169"/>
                    </a:lnTo>
                    <a:lnTo>
                      <a:pt x="413" y="167"/>
                    </a:lnTo>
                    <a:lnTo>
                      <a:pt x="408" y="165"/>
                    </a:lnTo>
                    <a:lnTo>
                      <a:pt x="405" y="164"/>
                    </a:lnTo>
                    <a:lnTo>
                      <a:pt x="405" y="165"/>
                    </a:lnTo>
                    <a:lnTo>
                      <a:pt x="407" y="166"/>
                    </a:lnTo>
                    <a:lnTo>
                      <a:pt x="406" y="166"/>
                    </a:lnTo>
                    <a:lnTo>
                      <a:pt x="405" y="166"/>
                    </a:lnTo>
                    <a:lnTo>
                      <a:pt x="404" y="167"/>
                    </a:lnTo>
                    <a:lnTo>
                      <a:pt x="401" y="166"/>
                    </a:lnTo>
                    <a:lnTo>
                      <a:pt x="401" y="162"/>
                    </a:lnTo>
                    <a:lnTo>
                      <a:pt x="398" y="161"/>
                    </a:lnTo>
                    <a:lnTo>
                      <a:pt x="397" y="159"/>
                    </a:lnTo>
                    <a:lnTo>
                      <a:pt x="401" y="160"/>
                    </a:lnTo>
                    <a:lnTo>
                      <a:pt x="404" y="159"/>
                    </a:lnTo>
                    <a:lnTo>
                      <a:pt x="404" y="157"/>
                    </a:lnTo>
                    <a:lnTo>
                      <a:pt x="405" y="157"/>
                    </a:lnTo>
                    <a:lnTo>
                      <a:pt x="407" y="157"/>
                    </a:lnTo>
                    <a:lnTo>
                      <a:pt x="408" y="157"/>
                    </a:lnTo>
                    <a:lnTo>
                      <a:pt x="407" y="158"/>
                    </a:lnTo>
                    <a:close/>
                    <a:moveTo>
                      <a:pt x="406" y="177"/>
                    </a:moveTo>
                    <a:lnTo>
                      <a:pt x="405" y="178"/>
                    </a:lnTo>
                    <a:lnTo>
                      <a:pt x="406" y="180"/>
                    </a:lnTo>
                    <a:lnTo>
                      <a:pt x="402" y="181"/>
                    </a:lnTo>
                    <a:lnTo>
                      <a:pt x="397" y="180"/>
                    </a:lnTo>
                    <a:lnTo>
                      <a:pt x="394" y="178"/>
                    </a:lnTo>
                    <a:lnTo>
                      <a:pt x="394" y="176"/>
                    </a:lnTo>
                    <a:lnTo>
                      <a:pt x="397" y="173"/>
                    </a:lnTo>
                    <a:lnTo>
                      <a:pt x="399" y="173"/>
                    </a:lnTo>
                    <a:lnTo>
                      <a:pt x="400" y="175"/>
                    </a:lnTo>
                    <a:lnTo>
                      <a:pt x="401" y="175"/>
                    </a:lnTo>
                    <a:lnTo>
                      <a:pt x="405" y="175"/>
                    </a:lnTo>
                    <a:lnTo>
                      <a:pt x="407" y="175"/>
                    </a:lnTo>
                    <a:lnTo>
                      <a:pt x="406" y="177"/>
                    </a:lnTo>
                    <a:close/>
                    <a:moveTo>
                      <a:pt x="412" y="214"/>
                    </a:moveTo>
                    <a:lnTo>
                      <a:pt x="411" y="214"/>
                    </a:lnTo>
                    <a:lnTo>
                      <a:pt x="410" y="216"/>
                    </a:lnTo>
                    <a:lnTo>
                      <a:pt x="410" y="217"/>
                    </a:lnTo>
                    <a:lnTo>
                      <a:pt x="409" y="218"/>
                    </a:lnTo>
                    <a:lnTo>
                      <a:pt x="410" y="220"/>
                    </a:lnTo>
                    <a:lnTo>
                      <a:pt x="410" y="222"/>
                    </a:lnTo>
                    <a:lnTo>
                      <a:pt x="407" y="223"/>
                    </a:lnTo>
                    <a:lnTo>
                      <a:pt x="406" y="222"/>
                    </a:lnTo>
                    <a:lnTo>
                      <a:pt x="404" y="220"/>
                    </a:lnTo>
                    <a:lnTo>
                      <a:pt x="405" y="219"/>
                    </a:lnTo>
                    <a:lnTo>
                      <a:pt x="405" y="217"/>
                    </a:lnTo>
                    <a:lnTo>
                      <a:pt x="402" y="215"/>
                    </a:lnTo>
                    <a:lnTo>
                      <a:pt x="405" y="215"/>
                    </a:lnTo>
                    <a:lnTo>
                      <a:pt x="406" y="214"/>
                    </a:lnTo>
                    <a:lnTo>
                      <a:pt x="405" y="214"/>
                    </a:lnTo>
                    <a:lnTo>
                      <a:pt x="400" y="214"/>
                    </a:lnTo>
                    <a:lnTo>
                      <a:pt x="403" y="212"/>
                    </a:lnTo>
                    <a:lnTo>
                      <a:pt x="411" y="211"/>
                    </a:lnTo>
                    <a:lnTo>
                      <a:pt x="413" y="214"/>
                    </a:lnTo>
                    <a:lnTo>
                      <a:pt x="412" y="214"/>
                    </a:lnTo>
                    <a:close/>
                    <a:moveTo>
                      <a:pt x="439" y="182"/>
                    </a:moveTo>
                    <a:lnTo>
                      <a:pt x="439" y="183"/>
                    </a:lnTo>
                    <a:lnTo>
                      <a:pt x="439" y="184"/>
                    </a:lnTo>
                    <a:lnTo>
                      <a:pt x="442" y="185"/>
                    </a:lnTo>
                    <a:lnTo>
                      <a:pt x="440" y="186"/>
                    </a:lnTo>
                    <a:lnTo>
                      <a:pt x="438" y="185"/>
                    </a:lnTo>
                    <a:lnTo>
                      <a:pt x="435" y="187"/>
                    </a:lnTo>
                    <a:lnTo>
                      <a:pt x="435" y="185"/>
                    </a:lnTo>
                    <a:lnTo>
                      <a:pt x="434" y="184"/>
                    </a:lnTo>
                    <a:lnTo>
                      <a:pt x="432" y="184"/>
                    </a:lnTo>
                    <a:lnTo>
                      <a:pt x="431" y="184"/>
                    </a:lnTo>
                    <a:lnTo>
                      <a:pt x="431" y="186"/>
                    </a:lnTo>
                    <a:lnTo>
                      <a:pt x="428" y="186"/>
                    </a:lnTo>
                    <a:lnTo>
                      <a:pt x="430" y="183"/>
                    </a:lnTo>
                    <a:lnTo>
                      <a:pt x="434" y="182"/>
                    </a:lnTo>
                    <a:lnTo>
                      <a:pt x="433" y="181"/>
                    </a:lnTo>
                    <a:lnTo>
                      <a:pt x="432" y="180"/>
                    </a:lnTo>
                    <a:lnTo>
                      <a:pt x="431" y="179"/>
                    </a:lnTo>
                    <a:lnTo>
                      <a:pt x="430" y="179"/>
                    </a:lnTo>
                    <a:lnTo>
                      <a:pt x="430" y="178"/>
                    </a:lnTo>
                    <a:lnTo>
                      <a:pt x="433" y="178"/>
                    </a:lnTo>
                    <a:lnTo>
                      <a:pt x="434" y="179"/>
                    </a:lnTo>
                    <a:lnTo>
                      <a:pt x="437" y="179"/>
                    </a:lnTo>
                    <a:lnTo>
                      <a:pt x="435" y="180"/>
                    </a:lnTo>
                    <a:lnTo>
                      <a:pt x="435" y="181"/>
                    </a:lnTo>
                    <a:lnTo>
                      <a:pt x="437" y="182"/>
                    </a:lnTo>
                    <a:lnTo>
                      <a:pt x="439" y="181"/>
                    </a:lnTo>
                    <a:lnTo>
                      <a:pt x="440" y="181"/>
                    </a:lnTo>
                    <a:lnTo>
                      <a:pt x="439" y="182"/>
                    </a:lnTo>
                    <a:close/>
                    <a:moveTo>
                      <a:pt x="450" y="165"/>
                    </a:moveTo>
                    <a:lnTo>
                      <a:pt x="445" y="166"/>
                    </a:lnTo>
                    <a:lnTo>
                      <a:pt x="442" y="170"/>
                    </a:lnTo>
                    <a:lnTo>
                      <a:pt x="441" y="170"/>
                    </a:lnTo>
                    <a:lnTo>
                      <a:pt x="442" y="167"/>
                    </a:lnTo>
                    <a:lnTo>
                      <a:pt x="441" y="167"/>
                    </a:lnTo>
                    <a:lnTo>
                      <a:pt x="440" y="169"/>
                    </a:lnTo>
                    <a:lnTo>
                      <a:pt x="438" y="169"/>
                    </a:lnTo>
                    <a:lnTo>
                      <a:pt x="437" y="171"/>
                    </a:lnTo>
                    <a:lnTo>
                      <a:pt x="437" y="169"/>
                    </a:lnTo>
                    <a:lnTo>
                      <a:pt x="435" y="170"/>
                    </a:lnTo>
                    <a:lnTo>
                      <a:pt x="433" y="169"/>
                    </a:lnTo>
                    <a:lnTo>
                      <a:pt x="430" y="173"/>
                    </a:lnTo>
                    <a:lnTo>
                      <a:pt x="429" y="173"/>
                    </a:lnTo>
                    <a:lnTo>
                      <a:pt x="428" y="175"/>
                    </a:lnTo>
                    <a:lnTo>
                      <a:pt x="428" y="174"/>
                    </a:lnTo>
                    <a:lnTo>
                      <a:pt x="428" y="172"/>
                    </a:lnTo>
                    <a:lnTo>
                      <a:pt x="428" y="171"/>
                    </a:lnTo>
                    <a:lnTo>
                      <a:pt x="431" y="170"/>
                    </a:lnTo>
                    <a:lnTo>
                      <a:pt x="433" y="168"/>
                    </a:lnTo>
                    <a:lnTo>
                      <a:pt x="435" y="167"/>
                    </a:lnTo>
                    <a:lnTo>
                      <a:pt x="434" y="166"/>
                    </a:lnTo>
                    <a:lnTo>
                      <a:pt x="435" y="166"/>
                    </a:lnTo>
                    <a:lnTo>
                      <a:pt x="434" y="164"/>
                    </a:lnTo>
                    <a:lnTo>
                      <a:pt x="434" y="163"/>
                    </a:lnTo>
                    <a:lnTo>
                      <a:pt x="437" y="163"/>
                    </a:lnTo>
                    <a:lnTo>
                      <a:pt x="438" y="163"/>
                    </a:lnTo>
                    <a:lnTo>
                      <a:pt x="441" y="163"/>
                    </a:lnTo>
                    <a:lnTo>
                      <a:pt x="437" y="166"/>
                    </a:lnTo>
                    <a:lnTo>
                      <a:pt x="440" y="167"/>
                    </a:lnTo>
                    <a:lnTo>
                      <a:pt x="445" y="164"/>
                    </a:lnTo>
                    <a:lnTo>
                      <a:pt x="448" y="163"/>
                    </a:lnTo>
                    <a:lnTo>
                      <a:pt x="448" y="162"/>
                    </a:lnTo>
                    <a:lnTo>
                      <a:pt x="450" y="161"/>
                    </a:lnTo>
                    <a:lnTo>
                      <a:pt x="450" y="163"/>
                    </a:lnTo>
                    <a:lnTo>
                      <a:pt x="451" y="165"/>
                    </a:lnTo>
                    <a:lnTo>
                      <a:pt x="450" y="165"/>
                    </a:lnTo>
                    <a:close/>
                    <a:moveTo>
                      <a:pt x="150" y="406"/>
                    </a:moveTo>
                    <a:lnTo>
                      <a:pt x="149" y="409"/>
                    </a:lnTo>
                    <a:lnTo>
                      <a:pt x="144" y="412"/>
                    </a:lnTo>
                    <a:lnTo>
                      <a:pt x="141" y="411"/>
                    </a:lnTo>
                    <a:lnTo>
                      <a:pt x="139" y="411"/>
                    </a:lnTo>
                    <a:lnTo>
                      <a:pt x="139" y="408"/>
                    </a:lnTo>
                    <a:lnTo>
                      <a:pt x="137" y="408"/>
                    </a:lnTo>
                    <a:lnTo>
                      <a:pt x="136" y="406"/>
                    </a:lnTo>
                    <a:lnTo>
                      <a:pt x="132" y="404"/>
                    </a:lnTo>
                    <a:lnTo>
                      <a:pt x="134" y="404"/>
                    </a:lnTo>
                    <a:lnTo>
                      <a:pt x="139" y="400"/>
                    </a:lnTo>
                    <a:lnTo>
                      <a:pt x="143" y="399"/>
                    </a:lnTo>
                    <a:lnTo>
                      <a:pt x="150" y="403"/>
                    </a:lnTo>
                    <a:lnTo>
                      <a:pt x="149" y="405"/>
                    </a:lnTo>
                    <a:lnTo>
                      <a:pt x="150" y="405"/>
                    </a:lnTo>
                    <a:lnTo>
                      <a:pt x="150" y="406"/>
                    </a:lnTo>
                    <a:close/>
                    <a:moveTo>
                      <a:pt x="133" y="440"/>
                    </a:moveTo>
                    <a:lnTo>
                      <a:pt x="132" y="441"/>
                    </a:lnTo>
                    <a:lnTo>
                      <a:pt x="131" y="444"/>
                    </a:lnTo>
                    <a:lnTo>
                      <a:pt x="126" y="448"/>
                    </a:lnTo>
                    <a:lnTo>
                      <a:pt x="121" y="450"/>
                    </a:lnTo>
                    <a:lnTo>
                      <a:pt x="118" y="450"/>
                    </a:lnTo>
                    <a:lnTo>
                      <a:pt x="116" y="450"/>
                    </a:lnTo>
                    <a:lnTo>
                      <a:pt x="115" y="450"/>
                    </a:lnTo>
                    <a:lnTo>
                      <a:pt x="115" y="452"/>
                    </a:lnTo>
                    <a:lnTo>
                      <a:pt x="113" y="450"/>
                    </a:lnTo>
                    <a:lnTo>
                      <a:pt x="115" y="449"/>
                    </a:lnTo>
                    <a:lnTo>
                      <a:pt x="116" y="449"/>
                    </a:lnTo>
                    <a:lnTo>
                      <a:pt x="118" y="446"/>
                    </a:lnTo>
                    <a:lnTo>
                      <a:pt x="120" y="446"/>
                    </a:lnTo>
                    <a:lnTo>
                      <a:pt x="121" y="444"/>
                    </a:lnTo>
                    <a:lnTo>
                      <a:pt x="124" y="443"/>
                    </a:lnTo>
                    <a:lnTo>
                      <a:pt x="127" y="440"/>
                    </a:lnTo>
                    <a:lnTo>
                      <a:pt x="133" y="438"/>
                    </a:lnTo>
                    <a:lnTo>
                      <a:pt x="134" y="439"/>
                    </a:lnTo>
                    <a:lnTo>
                      <a:pt x="133" y="440"/>
                    </a:lnTo>
                    <a:close/>
                    <a:moveTo>
                      <a:pt x="112" y="455"/>
                    </a:moveTo>
                    <a:lnTo>
                      <a:pt x="112" y="456"/>
                    </a:lnTo>
                    <a:lnTo>
                      <a:pt x="106" y="456"/>
                    </a:lnTo>
                    <a:lnTo>
                      <a:pt x="106" y="458"/>
                    </a:lnTo>
                    <a:lnTo>
                      <a:pt x="106" y="459"/>
                    </a:lnTo>
                    <a:lnTo>
                      <a:pt x="105" y="460"/>
                    </a:lnTo>
                    <a:lnTo>
                      <a:pt x="100" y="460"/>
                    </a:lnTo>
                    <a:lnTo>
                      <a:pt x="99" y="460"/>
                    </a:lnTo>
                    <a:lnTo>
                      <a:pt x="98" y="463"/>
                    </a:lnTo>
                    <a:lnTo>
                      <a:pt x="98" y="464"/>
                    </a:lnTo>
                    <a:lnTo>
                      <a:pt x="94" y="463"/>
                    </a:lnTo>
                    <a:lnTo>
                      <a:pt x="91" y="463"/>
                    </a:lnTo>
                    <a:lnTo>
                      <a:pt x="92" y="462"/>
                    </a:lnTo>
                    <a:lnTo>
                      <a:pt x="91" y="460"/>
                    </a:lnTo>
                    <a:lnTo>
                      <a:pt x="92" y="460"/>
                    </a:lnTo>
                    <a:lnTo>
                      <a:pt x="91" y="458"/>
                    </a:lnTo>
                    <a:lnTo>
                      <a:pt x="95" y="456"/>
                    </a:lnTo>
                    <a:lnTo>
                      <a:pt x="100" y="456"/>
                    </a:lnTo>
                    <a:lnTo>
                      <a:pt x="104" y="454"/>
                    </a:lnTo>
                    <a:lnTo>
                      <a:pt x="108" y="454"/>
                    </a:lnTo>
                    <a:lnTo>
                      <a:pt x="110" y="453"/>
                    </a:lnTo>
                    <a:lnTo>
                      <a:pt x="112" y="455"/>
                    </a:lnTo>
                    <a:close/>
                    <a:moveTo>
                      <a:pt x="74" y="375"/>
                    </a:moveTo>
                    <a:lnTo>
                      <a:pt x="73" y="376"/>
                    </a:lnTo>
                    <a:lnTo>
                      <a:pt x="71" y="377"/>
                    </a:lnTo>
                    <a:lnTo>
                      <a:pt x="69" y="382"/>
                    </a:lnTo>
                    <a:lnTo>
                      <a:pt x="67" y="382"/>
                    </a:lnTo>
                    <a:lnTo>
                      <a:pt x="63" y="381"/>
                    </a:lnTo>
                    <a:lnTo>
                      <a:pt x="62" y="382"/>
                    </a:lnTo>
                    <a:lnTo>
                      <a:pt x="63" y="382"/>
                    </a:lnTo>
                    <a:lnTo>
                      <a:pt x="65" y="382"/>
                    </a:lnTo>
                    <a:lnTo>
                      <a:pt x="66" y="383"/>
                    </a:lnTo>
                    <a:lnTo>
                      <a:pt x="68" y="383"/>
                    </a:lnTo>
                    <a:lnTo>
                      <a:pt x="71" y="388"/>
                    </a:lnTo>
                    <a:lnTo>
                      <a:pt x="68" y="390"/>
                    </a:lnTo>
                    <a:lnTo>
                      <a:pt x="67" y="389"/>
                    </a:lnTo>
                    <a:lnTo>
                      <a:pt x="65" y="390"/>
                    </a:lnTo>
                    <a:lnTo>
                      <a:pt x="63" y="389"/>
                    </a:lnTo>
                    <a:lnTo>
                      <a:pt x="65" y="391"/>
                    </a:lnTo>
                    <a:lnTo>
                      <a:pt x="71" y="391"/>
                    </a:lnTo>
                    <a:lnTo>
                      <a:pt x="71" y="393"/>
                    </a:lnTo>
                    <a:lnTo>
                      <a:pt x="72" y="393"/>
                    </a:lnTo>
                    <a:lnTo>
                      <a:pt x="72" y="395"/>
                    </a:lnTo>
                    <a:lnTo>
                      <a:pt x="67" y="394"/>
                    </a:lnTo>
                    <a:lnTo>
                      <a:pt x="65" y="395"/>
                    </a:lnTo>
                    <a:lnTo>
                      <a:pt x="62" y="395"/>
                    </a:lnTo>
                    <a:lnTo>
                      <a:pt x="59" y="393"/>
                    </a:lnTo>
                    <a:lnTo>
                      <a:pt x="59" y="392"/>
                    </a:lnTo>
                    <a:lnTo>
                      <a:pt x="57" y="390"/>
                    </a:lnTo>
                    <a:lnTo>
                      <a:pt x="58" y="388"/>
                    </a:lnTo>
                    <a:lnTo>
                      <a:pt x="57" y="387"/>
                    </a:lnTo>
                    <a:lnTo>
                      <a:pt x="56" y="381"/>
                    </a:lnTo>
                    <a:lnTo>
                      <a:pt x="55" y="381"/>
                    </a:lnTo>
                    <a:lnTo>
                      <a:pt x="56" y="379"/>
                    </a:lnTo>
                    <a:lnTo>
                      <a:pt x="56" y="377"/>
                    </a:lnTo>
                    <a:lnTo>
                      <a:pt x="57" y="377"/>
                    </a:lnTo>
                    <a:lnTo>
                      <a:pt x="57" y="376"/>
                    </a:lnTo>
                    <a:lnTo>
                      <a:pt x="58" y="375"/>
                    </a:lnTo>
                    <a:lnTo>
                      <a:pt x="58" y="373"/>
                    </a:lnTo>
                    <a:lnTo>
                      <a:pt x="58" y="370"/>
                    </a:lnTo>
                    <a:lnTo>
                      <a:pt x="58" y="367"/>
                    </a:lnTo>
                    <a:lnTo>
                      <a:pt x="57" y="366"/>
                    </a:lnTo>
                    <a:lnTo>
                      <a:pt x="59" y="366"/>
                    </a:lnTo>
                    <a:lnTo>
                      <a:pt x="60" y="369"/>
                    </a:lnTo>
                    <a:lnTo>
                      <a:pt x="65" y="370"/>
                    </a:lnTo>
                    <a:lnTo>
                      <a:pt x="70" y="372"/>
                    </a:lnTo>
                    <a:lnTo>
                      <a:pt x="72" y="372"/>
                    </a:lnTo>
                    <a:lnTo>
                      <a:pt x="72" y="374"/>
                    </a:lnTo>
                    <a:lnTo>
                      <a:pt x="74" y="374"/>
                    </a:lnTo>
                    <a:lnTo>
                      <a:pt x="74" y="375"/>
                    </a:lnTo>
                    <a:close/>
                    <a:moveTo>
                      <a:pt x="85" y="340"/>
                    </a:moveTo>
                    <a:lnTo>
                      <a:pt x="82" y="341"/>
                    </a:lnTo>
                    <a:lnTo>
                      <a:pt x="81" y="340"/>
                    </a:lnTo>
                    <a:lnTo>
                      <a:pt x="75" y="340"/>
                    </a:lnTo>
                    <a:lnTo>
                      <a:pt x="75" y="341"/>
                    </a:lnTo>
                    <a:lnTo>
                      <a:pt x="78" y="341"/>
                    </a:lnTo>
                    <a:lnTo>
                      <a:pt x="77" y="343"/>
                    </a:lnTo>
                    <a:lnTo>
                      <a:pt x="82" y="343"/>
                    </a:lnTo>
                    <a:lnTo>
                      <a:pt x="81" y="346"/>
                    </a:lnTo>
                    <a:lnTo>
                      <a:pt x="77" y="347"/>
                    </a:lnTo>
                    <a:lnTo>
                      <a:pt x="71" y="347"/>
                    </a:lnTo>
                    <a:lnTo>
                      <a:pt x="71" y="346"/>
                    </a:lnTo>
                    <a:lnTo>
                      <a:pt x="69" y="346"/>
                    </a:lnTo>
                    <a:lnTo>
                      <a:pt x="67" y="347"/>
                    </a:lnTo>
                    <a:lnTo>
                      <a:pt x="69" y="349"/>
                    </a:lnTo>
                    <a:lnTo>
                      <a:pt x="68" y="349"/>
                    </a:lnTo>
                    <a:lnTo>
                      <a:pt x="68" y="352"/>
                    </a:lnTo>
                    <a:lnTo>
                      <a:pt x="67" y="352"/>
                    </a:lnTo>
                    <a:lnTo>
                      <a:pt x="65" y="352"/>
                    </a:lnTo>
                    <a:lnTo>
                      <a:pt x="65" y="349"/>
                    </a:lnTo>
                    <a:lnTo>
                      <a:pt x="57" y="345"/>
                    </a:lnTo>
                    <a:lnTo>
                      <a:pt x="54" y="346"/>
                    </a:lnTo>
                    <a:lnTo>
                      <a:pt x="49" y="344"/>
                    </a:lnTo>
                    <a:lnTo>
                      <a:pt x="47" y="343"/>
                    </a:lnTo>
                    <a:lnTo>
                      <a:pt x="49" y="341"/>
                    </a:lnTo>
                    <a:lnTo>
                      <a:pt x="51" y="340"/>
                    </a:lnTo>
                    <a:lnTo>
                      <a:pt x="52" y="338"/>
                    </a:lnTo>
                    <a:lnTo>
                      <a:pt x="52" y="337"/>
                    </a:lnTo>
                    <a:lnTo>
                      <a:pt x="54" y="337"/>
                    </a:lnTo>
                    <a:lnTo>
                      <a:pt x="55" y="336"/>
                    </a:lnTo>
                    <a:lnTo>
                      <a:pt x="60" y="336"/>
                    </a:lnTo>
                    <a:lnTo>
                      <a:pt x="60" y="337"/>
                    </a:lnTo>
                    <a:lnTo>
                      <a:pt x="57" y="337"/>
                    </a:lnTo>
                    <a:lnTo>
                      <a:pt x="60" y="340"/>
                    </a:lnTo>
                    <a:lnTo>
                      <a:pt x="60" y="339"/>
                    </a:lnTo>
                    <a:lnTo>
                      <a:pt x="61" y="336"/>
                    </a:lnTo>
                    <a:lnTo>
                      <a:pt x="63" y="335"/>
                    </a:lnTo>
                    <a:lnTo>
                      <a:pt x="64" y="333"/>
                    </a:lnTo>
                    <a:lnTo>
                      <a:pt x="65" y="333"/>
                    </a:lnTo>
                    <a:lnTo>
                      <a:pt x="65" y="335"/>
                    </a:lnTo>
                    <a:lnTo>
                      <a:pt x="65" y="337"/>
                    </a:lnTo>
                    <a:lnTo>
                      <a:pt x="67" y="338"/>
                    </a:lnTo>
                    <a:lnTo>
                      <a:pt x="68" y="340"/>
                    </a:lnTo>
                    <a:lnTo>
                      <a:pt x="68" y="339"/>
                    </a:lnTo>
                    <a:lnTo>
                      <a:pt x="68" y="337"/>
                    </a:lnTo>
                    <a:lnTo>
                      <a:pt x="69" y="337"/>
                    </a:lnTo>
                    <a:lnTo>
                      <a:pt x="69" y="336"/>
                    </a:lnTo>
                    <a:lnTo>
                      <a:pt x="71" y="335"/>
                    </a:lnTo>
                    <a:lnTo>
                      <a:pt x="71" y="334"/>
                    </a:lnTo>
                    <a:lnTo>
                      <a:pt x="74" y="333"/>
                    </a:lnTo>
                    <a:lnTo>
                      <a:pt x="76" y="335"/>
                    </a:lnTo>
                    <a:lnTo>
                      <a:pt x="77" y="335"/>
                    </a:lnTo>
                    <a:lnTo>
                      <a:pt x="75" y="337"/>
                    </a:lnTo>
                    <a:lnTo>
                      <a:pt x="80" y="338"/>
                    </a:lnTo>
                    <a:lnTo>
                      <a:pt x="83" y="337"/>
                    </a:lnTo>
                    <a:lnTo>
                      <a:pt x="85" y="338"/>
                    </a:lnTo>
                    <a:lnTo>
                      <a:pt x="85" y="340"/>
                    </a:lnTo>
                    <a:close/>
                    <a:moveTo>
                      <a:pt x="388" y="210"/>
                    </a:moveTo>
                    <a:lnTo>
                      <a:pt x="388" y="211"/>
                    </a:lnTo>
                    <a:lnTo>
                      <a:pt x="389" y="212"/>
                    </a:lnTo>
                    <a:lnTo>
                      <a:pt x="388" y="213"/>
                    </a:lnTo>
                    <a:lnTo>
                      <a:pt x="390" y="214"/>
                    </a:lnTo>
                    <a:lnTo>
                      <a:pt x="387" y="215"/>
                    </a:lnTo>
                    <a:lnTo>
                      <a:pt x="385" y="215"/>
                    </a:lnTo>
                    <a:lnTo>
                      <a:pt x="384" y="217"/>
                    </a:lnTo>
                    <a:lnTo>
                      <a:pt x="392" y="215"/>
                    </a:lnTo>
                    <a:lnTo>
                      <a:pt x="393" y="216"/>
                    </a:lnTo>
                    <a:lnTo>
                      <a:pt x="392" y="217"/>
                    </a:lnTo>
                    <a:lnTo>
                      <a:pt x="381" y="218"/>
                    </a:lnTo>
                    <a:lnTo>
                      <a:pt x="380" y="217"/>
                    </a:lnTo>
                    <a:lnTo>
                      <a:pt x="377" y="213"/>
                    </a:lnTo>
                    <a:lnTo>
                      <a:pt x="376" y="212"/>
                    </a:lnTo>
                    <a:lnTo>
                      <a:pt x="374" y="210"/>
                    </a:lnTo>
                    <a:lnTo>
                      <a:pt x="374" y="208"/>
                    </a:lnTo>
                    <a:lnTo>
                      <a:pt x="370" y="208"/>
                    </a:lnTo>
                    <a:lnTo>
                      <a:pt x="370" y="207"/>
                    </a:lnTo>
                    <a:lnTo>
                      <a:pt x="371" y="204"/>
                    </a:lnTo>
                    <a:lnTo>
                      <a:pt x="372" y="204"/>
                    </a:lnTo>
                    <a:lnTo>
                      <a:pt x="377" y="202"/>
                    </a:lnTo>
                    <a:lnTo>
                      <a:pt x="379" y="204"/>
                    </a:lnTo>
                    <a:lnTo>
                      <a:pt x="385" y="206"/>
                    </a:lnTo>
                    <a:lnTo>
                      <a:pt x="388" y="210"/>
                    </a:lnTo>
                    <a:close/>
                    <a:moveTo>
                      <a:pt x="428" y="199"/>
                    </a:moveTo>
                    <a:lnTo>
                      <a:pt x="426" y="201"/>
                    </a:lnTo>
                    <a:lnTo>
                      <a:pt x="427" y="203"/>
                    </a:lnTo>
                    <a:lnTo>
                      <a:pt x="424" y="203"/>
                    </a:lnTo>
                    <a:lnTo>
                      <a:pt x="421" y="204"/>
                    </a:lnTo>
                    <a:lnTo>
                      <a:pt x="419" y="205"/>
                    </a:lnTo>
                    <a:lnTo>
                      <a:pt x="418" y="206"/>
                    </a:lnTo>
                    <a:lnTo>
                      <a:pt x="418" y="208"/>
                    </a:lnTo>
                    <a:lnTo>
                      <a:pt x="417" y="208"/>
                    </a:lnTo>
                    <a:lnTo>
                      <a:pt x="414" y="205"/>
                    </a:lnTo>
                    <a:lnTo>
                      <a:pt x="410" y="205"/>
                    </a:lnTo>
                    <a:lnTo>
                      <a:pt x="407" y="202"/>
                    </a:lnTo>
                    <a:lnTo>
                      <a:pt x="407" y="200"/>
                    </a:lnTo>
                    <a:lnTo>
                      <a:pt x="407" y="199"/>
                    </a:lnTo>
                    <a:lnTo>
                      <a:pt x="403" y="201"/>
                    </a:lnTo>
                    <a:lnTo>
                      <a:pt x="397" y="201"/>
                    </a:lnTo>
                    <a:lnTo>
                      <a:pt x="397" y="202"/>
                    </a:lnTo>
                    <a:lnTo>
                      <a:pt x="395" y="202"/>
                    </a:lnTo>
                    <a:lnTo>
                      <a:pt x="394" y="202"/>
                    </a:lnTo>
                    <a:lnTo>
                      <a:pt x="394" y="204"/>
                    </a:lnTo>
                    <a:lnTo>
                      <a:pt x="392" y="203"/>
                    </a:lnTo>
                    <a:lnTo>
                      <a:pt x="388" y="204"/>
                    </a:lnTo>
                    <a:lnTo>
                      <a:pt x="386" y="202"/>
                    </a:lnTo>
                    <a:lnTo>
                      <a:pt x="385" y="198"/>
                    </a:lnTo>
                    <a:lnTo>
                      <a:pt x="388" y="193"/>
                    </a:lnTo>
                    <a:lnTo>
                      <a:pt x="386" y="193"/>
                    </a:lnTo>
                    <a:lnTo>
                      <a:pt x="386" y="191"/>
                    </a:lnTo>
                    <a:lnTo>
                      <a:pt x="384" y="192"/>
                    </a:lnTo>
                    <a:lnTo>
                      <a:pt x="385" y="193"/>
                    </a:lnTo>
                    <a:lnTo>
                      <a:pt x="382" y="193"/>
                    </a:lnTo>
                    <a:lnTo>
                      <a:pt x="383" y="194"/>
                    </a:lnTo>
                    <a:lnTo>
                      <a:pt x="382" y="196"/>
                    </a:lnTo>
                    <a:lnTo>
                      <a:pt x="384" y="197"/>
                    </a:lnTo>
                    <a:lnTo>
                      <a:pt x="382" y="199"/>
                    </a:lnTo>
                    <a:lnTo>
                      <a:pt x="381" y="199"/>
                    </a:lnTo>
                    <a:lnTo>
                      <a:pt x="381" y="200"/>
                    </a:lnTo>
                    <a:lnTo>
                      <a:pt x="380" y="200"/>
                    </a:lnTo>
                    <a:lnTo>
                      <a:pt x="377" y="198"/>
                    </a:lnTo>
                    <a:lnTo>
                      <a:pt x="375" y="193"/>
                    </a:lnTo>
                    <a:lnTo>
                      <a:pt x="375" y="191"/>
                    </a:lnTo>
                    <a:lnTo>
                      <a:pt x="376" y="191"/>
                    </a:lnTo>
                    <a:lnTo>
                      <a:pt x="376" y="190"/>
                    </a:lnTo>
                    <a:lnTo>
                      <a:pt x="377" y="189"/>
                    </a:lnTo>
                    <a:lnTo>
                      <a:pt x="376" y="187"/>
                    </a:lnTo>
                    <a:lnTo>
                      <a:pt x="376" y="183"/>
                    </a:lnTo>
                    <a:lnTo>
                      <a:pt x="378" y="182"/>
                    </a:lnTo>
                    <a:lnTo>
                      <a:pt x="379" y="181"/>
                    </a:lnTo>
                    <a:lnTo>
                      <a:pt x="388" y="179"/>
                    </a:lnTo>
                    <a:lnTo>
                      <a:pt x="395" y="182"/>
                    </a:lnTo>
                    <a:lnTo>
                      <a:pt x="397" y="181"/>
                    </a:lnTo>
                    <a:lnTo>
                      <a:pt x="399" y="184"/>
                    </a:lnTo>
                    <a:lnTo>
                      <a:pt x="398" y="184"/>
                    </a:lnTo>
                    <a:lnTo>
                      <a:pt x="399" y="185"/>
                    </a:lnTo>
                    <a:lnTo>
                      <a:pt x="402" y="186"/>
                    </a:lnTo>
                    <a:lnTo>
                      <a:pt x="404" y="187"/>
                    </a:lnTo>
                    <a:lnTo>
                      <a:pt x="403" y="187"/>
                    </a:lnTo>
                    <a:lnTo>
                      <a:pt x="404" y="189"/>
                    </a:lnTo>
                    <a:lnTo>
                      <a:pt x="402" y="189"/>
                    </a:lnTo>
                    <a:lnTo>
                      <a:pt x="401" y="190"/>
                    </a:lnTo>
                    <a:lnTo>
                      <a:pt x="398" y="190"/>
                    </a:lnTo>
                    <a:lnTo>
                      <a:pt x="398" y="192"/>
                    </a:lnTo>
                    <a:lnTo>
                      <a:pt x="396" y="192"/>
                    </a:lnTo>
                    <a:lnTo>
                      <a:pt x="395" y="194"/>
                    </a:lnTo>
                    <a:lnTo>
                      <a:pt x="393" y="194"/>
                    </a:lnTo>
                    <a:lnTo>
                      <a:pt x="393" y="195"/>
                    </a:lnTo>
                    <a:lnTo>
                      <a:pt x="399" y="196"/>
                    </a:lnTo>
                    <a:lnTo>
                      <a:pt x="400" y="196"/>
                    </a:lnTo>
                    <a:lnTo>
                      <a:pt x="400" y="193"/>
                    </a:lnTo>
                    <a:lnTo>
                      <a:pt x="401" y="193"/>
                    </a:lnTo>
                    <a:lnTo>
                      <a:pt x="403" y="193"/>
                    </a:lnTo>
                    <a:lnTo>
                      <a:pt x="405" y="195"/>
                    </a:lnTo>
                    <a:lnTo>
                      <a:pt x="407" y="195"/>
                    </a:lnTo>
                    <a:lnTo>
                      <a:pt x="408" y="193"/>
                    </a:lnTo>
                    <a:lnTo>
                      <a:pt x="410" y="193"/>
                    </a:lnTo>
                    <a:lnTo>
                      <a:pt x="411" y="196"/>
                    </a:lnTo>
                    <a:lnTo>
                      <a:pt x="413" y="196"/>
                    </a:lnTo>
                    <a:lnTo>
                      <a:pt x="412" y="197"/>
                    </a:lnTo>
                    <a:lnTo>
                      <a:pt x="414" y="198"/>
                    </a:lnTo>
                    <a:lnTo>
                      <a:pt x="415" y="196"/>
                    </a:lnTo>
                    <a:lnTo>
                      <a:pt x="417" y="197"/>
                    </a:lnTo>
                    <a:lnTo>
                      <a:pt x="420" y="196"/>
                    </a:lnTo>
                    <a:lnTo>
                      <a:pt x="420" y="198"/>
                    </a:lnTo>
                    <a:lnTo>
                      <a:pt x="416" y="199"/>
                    </a:lnTo>
                    <a:lnTo>
                      <a:pt x="418" y="201"/>
                    </a:lnTo>
                    <a:lnTo>
                      <a:pt x="423" y="199"/>
                    </a:lnTo>
                    <a:lnTo>
                      <a:pt x="424" y="198"/>
                    </a:lnTo>
                    <a:lnTo>
                      <a:pt x="427" y="198"/>
                    </a:lnTo>
                    <a:lnTo>
                      <a:pt x="428" y="199"/>
                    </a:lnTo>
                    <a:close/>
                    <a:moveTo>
                      <a:pt x="92" y="311"/>
                    </a:moveTo>
                    <a:lnTo>
                      <a:pt x="91" y="313"/>
                    </a:lnTo>
                    <a:lnTo>
                      <a:pt x="88" y="312"/>
                    </a:lnTo>
                    <a:lnTo>
                      <a:pt x="85" y="313"/>
                    </a:lnTo>
                    <a:lnTo>
                      <a:pt x="91" y="309"/>
                    </a:lnTo>
                    <a:lnTo>
                      <a:pt x="92" y="309"/>
                    </a:lnTo>
                    <a:lnTo>
                      <a:pt x="92" y="311"/>
                    </a:lnTo>
                    <a:close/>
                    <a:moveTo>
                      <a:pt x="81" y="299"/>
                    </a:moveTo>
                    <a:lnTo>
                      <a:pt x="77" y="299"/>
                    </a:lnTo>
                    <a:lnTo>
                      <a:pt x="76" y="298"/>
                    </a:lnTo>
                    <a:lnTo>
                      <a:pt x="79" y="296"/>
                    </a:lnTo>
                    <a:lnTo>
                      <a:pt x="81" y="297"/>
                    </a:lnTo>
                    <a:lnTo>
                      <a:pt x="81" y="298"/>
                    </a:lnTo>
                    <a:lnTo>
                      <a:pt x="82" y="298"/>
                    </a:lnTo>
                    <a:lnTo>
                      <a:pt x="81" y="299"/>
                    </a:lnTo>
                    <a:close/>
                    <a:moveTo>
                      <a:pt x="103" y="279"/>
                    </a:moveTo>
                    <a:lnTo>
                      <a:pt x="101" y="279"/>
                    </a:lnTo>
                    <a:lnTo>
                      <a:pt x="103" y="279"/>
                    </a:lnTo>
                    <a:close/>
                    <a:moveTo>
                      <a:pt x="108" y="278"/>
                    </a:moveTo>
                    <a:lnTo>
                      <a:pt x="108" y="280"/>
                    </a:lnTo>
                    <a:lnTo>
                      <a:pt x="106" y="279"/>
                    </a:lnTo>
                    <a:lnTo>
                      <a:pt x="104" y="279"/>
                    </a:lnTo>
                    <a:lnTo>
                      <a:pt x="104" y="278"/>
                    </a:lnTo>
                    <a:lnTo>
                      <a:pt x="100" y="275"/>
                    </a:lnTo>
                    <a:lnTo>
                      <a:pt x="100" y="274"/>
                    </a:lnTo>
                    <a:lnTo>
                      <a:pt x="103" y="274"/>
                    </a:lnTo>
                    <a:lnTo>
                      <a:pt x="105" y="277"/>
                    </a:lnTo>
                    <a:lnTo>
                      <a:pt x="106" y="277"/>
                    </a:lnTo>
                    <a:lnTo>
                      <a:pt x="108" y="278"/>
                    </a:lnTo>
                    <a:close/>
                    <a:moveTo>
                      <a:pt x="173" y="345"/>
                    </a:moveTo>
                    <a:lnTo>
                      <a:pt x="171" y="351"/>
                    </a:lnTo>
                    <a:lnTo>
                      <a:pt x="170" y="352"/>
                    </a:lnTo>
                    <a:lnTo>
                      <a:pt x="171" y="352"/>
                    </a:lnTo>
                    <a:lnTo>
                      <a:pt x="170" y="351"/>
                    </a:lnTo>
                    <a:lnTo>
                      <a:pt x="168" y="349"/>
                    </a:lnTo>
                    <a:lnTo>
                      <a:pt x="169" y="348"/>
                    </a:lnTo>
                    <a:lnTo>
                      <a:pt x="170" y="347"/>
                    </a:lnTo>
                    <a:lnTo>
                      <a:pt x="169" y="346"/>
                    </a:lnTo>
                    <a:lnTo>
                      <a:pt x="171" y="346"/>
                    </a:lnTo>
                    <a:lnTo>
                      <a:pt x="173" y="344"/>
                    </a:lnTo>
                    <a:lnTo>
                      <a:pt x="173" y="345"/>
                    </a:lnTo>
                    <a:close/>
                    <a:moveTo>
                      <a:pt x="176" y="374"/>
                    </a:moveTo>
                    <a:lnTo>
                      <a:pt x="175" y="376"/>
                    </a:lnTo>
                    <a:lnTo>
                      <a:pt x="173" y="377"/>
                    </a:lnTo>
                    <a:lnTo>
                      <a:pt x="171" y="377"/>
                    </a:lnTo>
                    <a:lnTo>
                      <a:pt x="178" y="380"/>
                    </a:lnTo>
                    <a:lnTo>
                      <a:pt x="185" y="379"/>
                    </a:lnTo>
                    <a:lnTo>
                      <a:pt x="187" y="377"/>
                    </a:lnTo>
                    <a:lnTo>
                      <a:pt x="189" y="377"/>
                    </a:lnTo>
                    <a:lnTo>
                      <a:pt x="191" y="377"/>
                    </a:lnTo>
                    <a:lnTo>
                      <a:pt x="190" y="378"/>
                    </a:lnTo>
                    <a:lnTo>
                      <a:pt x="191" y="378"/>
                    </a:lnTo>
                    <a:lnTo>
                      <a:pt x="196" y="378"/>
                    </a:lnTo>
                    <a:lnTo>
                      <a:pt x="195" y="380"/>
                    </a:lnTo>
                    <a:lnTo>
                      <a:pt x="196" y="383"/>
                    </a:lnTo>
                    <a:lnTo>
                      <a:pt x="195" y="384"/>
                    </a:lnTo>
                    <a:lnTo>
                      <a:pt x="189" y="387"/>
                    </a:lnTo>
                    <a:lnTo>
                      <a:pt x="185" y="387"/>
                    </a:lnTo>
                    <a:lnTo>
                      <a:pt x="185" y="389"/>
                    </a:lnTo>
                    <a:lnTo>
                      <a:pt x="186" y="391"/>
                    </a:lnTo>
                    <a:lnTo>
                      <a:pt x="184" y="391"/>
                    </a:lnTo>
                    <a:lnTo>
                      <a:pt x="184" y="393"/>
                    </a:lnTo>
                    <a:lnTo>
                      <a:pt x="183" y="394"/>
                    </a:lnTo>
                    <a:lnTo>
                      <a:pt x="181" y="394"/>
                    </a:lnTo>
                    <a:lnTo>
                      <a:pt x="180" y="395"/>
                    </a:lnTo>
                    <a:lnTo>
                      <a:pt x="178" y="397"/>
                    </a:lnTo>
                    <a:lnTo>
                      <a:pt x="178" y="399"/>
                    </a:lnTo>
                    <a:lnTo>
                      <a:pt x="176" y="399"/>
                    </a:lnTo>
                    <a:lnTo>
                      <a:pt x="175" y="401"/>
                    </a:lnTo>
                    <a:lnTo>
                      <a:pt x="171" y="402"/>
                    </a:lnTo>
                    <a:lnTo>
                      <a:pt x="168" y="404"/>
                    </a:lnTo>
                    <a:lnTo>
                      <a:pt x="167" y="403"/>
                    </a:lnTo>
                    <a:lnTo>
                      <a:pt x="166" y="400"/>
                    </a:lnTo>
                    <a:lnTo>
                      <a:pt x="168" y="397"/>
                    </a:lnTo>
                    <a:lnTo>
                      <a:pt x="168" y="393"/>
                    </a:lnTo>
                    <a:lnTo>
                      <a:pt x="174" y="389"/>
                    </a:lnTo>
                    <a:lnTo>
                      <a:pt x="181" y="387"/>
                    </a:lnTo>
                    <a:lnTo>
                      <a:pt x="182" y="386"/>
                    </a:lnTo>
                    <a:lnTo>
                      <a:pt x="176" y="387"/>
                    </a:lnTo>
                    <a:lnTo>
                      <a:pt x="173" y="387"/>
                    </a:lnTo>
                    <a:lnTo>
                      <a:pt x="171" y="387"/>
                    </a:lnTo>
                    <a:lnTo>
                      <a:pt x="167" y="383"/>
                    </a:lnTo>
                    <a:lnTo>
                      <a:pt x="167" y="387"/>
                    </a:lnTo>
                    <a:lnTo>
                      <a:pt x="165" y="387"/>
                    </a:lnTo>
                    <a:lnTo>
                      <a:pt x="165" y="389"/>
                    </a:lnTo>
                    <a:lnTo>
                      <a:pt x="163" y="392"/>
                    </a:lnTo>
                    <a:lnTo>
                      <a:pt x="161" y="391"/>
                    </a:lnTo>
                    <a:lnTo>
                      <a:pt x="161" y="389"/>
                    </a:lnTo>
                    <a:lnTo>
                      <a:pt x="161" y="388"/>
                    </a:lnTo>
                    <a:lnTo>
                      <a:pt x="160" y="386"/>
                    </a:lnTo>
                    <a:lnTo>
                      <a:pt x="157" y="385"/>
                    </a:lnTo>
                    <a:lnTo>
                      <a:pt x="156" y="387"/>
                    </a:lnTo>
                    <a:lnTo>
                      <a:pt x="151" y="387"/>
                    </a:lnTo>
                    <a:lnTo>
                      <a:pt x="144" y="389"/>
                    </a:lnTo>
                    <a:lnTo>
                      <a:pt x="144" y="388"/>
                    </a:lnTo>
                    <a:lnTo>
                      <a:pt x="147" y="386"/>
                    </a:lnTo>
                    <a:lnTo>
                      <a:pt x="147" y="385"/>
                    </a:lnTo>
                    <a:lnTo>
                      <a:pt x="141" y="385"/>
                    </a:lnTo>
                    <a:lnTo>
                      <a:pt x="138" y="383"/>
                    </a:lnTo>
                    <a:lnTo>
                      <a:pt x="141" y="382"/>
                    </a:lnTo>
                    <a:lnTo>
                      <a:pt x="141" y="381"/>
                    </a:lnTo>
                    <a:lnTo>
                      <a:pt x="136" y="381"/>
                    </a:lnTo>
                    <a:lnTo>
                      <a:pt x="133" y="377"/>
                    </a:lnTo>
                    <a:lnTo>
                      <a:pt x="133" y="376"/>
                    </a:lnTo>
                    <a:lnTo>
                      <a:pt x="131" y="375"/>
                    </a:lnTo>
                    <a:lnTo>
                      <a:pt x="131" y="373"/>
                    </a:lnTo>
                    <a:lnTo>
                      <a:pt x="135" y="372"/>
                    </a:lnTo>
                    <a:lnTo>
                      <a:pt x="135" y="371"/>
                    </a:lnTo>
                    <a:lnTo>
                      <a:pt x="135" y="370"/>
                    </a:lnTo>
                    <a:lnTo>
                      <a:pt x="138" y="372"/>
                    </a:lnTo>
                    <a:lnTo>
                      <a:pt x="141" y="374"/>
                    </a:lnTo>
                    <a:lnTo>
                      <a:pt x="144" y="374"/>
                    </a:lnTo>
                    <a:lnTo>
                      <a:pt x="142" y="373"/>
                    </a:lnTo>
                    <a:lnTo>
                      <a:pt x="137" y="370"/>
                    </a:lnTo>
                    <a:lnTo>
                      <a:pt x="138" y="368"/>
                    </a:lnTo>
                    <a:lnTo>
                      <a:pt x="137" y="367"/>
                    </a:lnTo>
                    <a:lnTo>
                      <a:pt x="136" y="369"/>
                    </a:lnTo>
                    <a:lnTo>
                      <a:pt x="133" y="369"/>
                    </a:lnTo>
                    <a:lnTo>
                      <a:pt x="133" y="367"/>
                    </a:lnTo>
                    <a:lnTo>
                      <a:pt x="131" y="367"/>
                    </a:lnTo>
                    <a:lnTo>
                      <a:pt x="132" y="366"/>
                    </a:lnTo>
                    <a:lnTo>
                      <a:pt x="130" y="364"/>
                    </a:lnTo>
                    <a:lnTo>
                      <a:pt x="129" y="366"/>
                    </a:lnTo>
                    <a:lnTo>
                      <a:pt x="128" y="366"/>
                    </a:lnTo>
                    <a:lnTo>
                      <a:pt x="128" y="363"/>
                    </a:lnTo>
                    <a:lnTo>
                      <a:pt x="126" y="363"/>
                    </a:lnTo>
                    <a:lnTo>
                      <a:pt x="127" y="364"/>
                    </a:lnTo>
                    <a:lnTo>
                      <a:pt x="126" y="365"/>
                    </a:lnTo>
                    <a:lnTo>
                      <a:pt x="124" y="365"/>
                    </a:lnTo>
                    <a:lnTo>
                      <a:pt x="124" y="366"/>
                    </a:lnTo>
                    <a:lnTo>
                      <a:pt x="125" y="367"/>
                    </a:lnTo>
                    <a:lnTo>
                      <a:pt x="124" y="368"/>
                    </a:lnTo>
                    <a:lnTo>
                      <a:pt x="125" y="370"/>
                    </a:lnTo>
                    <a:lnTo>
                      <a:pt x="123" y="371"/>
                    </a:lnTo>
                    <a:lnTo>
                      <a:pt x="121" y="369"/>
                    </a:lnTo>
                    <a:lnTo>
                      <a:pt x="113" y="367"/>
                    </a:lnTo>
                    <a:lnTo>
                      <a:pt x="111" y="366"/>
                    </a:lnTo>
                    <a:lnTo>
                      <a:pt x="112" y="364"/>
                    </a:lnTo>
                    <a:lnTo>
                      <a:pt x="110" y="362"/>
                    </a:lnTo>
                    <a:lnTo>
                      <a:pt x="107" y="361"/>
                    </a:lnTo>
                    <a:lnTo>
                      <a:pt x="107" y="359"/>
                    </a:lnTo>
                    <a:lnTo>
                      <a:pt x="108" y="359"/>
                    </a:lnTo>
                    <a:lnTo>
                      <a:pt x="107" y="358"/>
                    </a:lnTo>
                    <a:lnTo>
                      <a:pt x="112" y="359"/>
                    </a:lnTo>
                    <a:lnTo>
                      <a:pt x="112" y="358"/>
                    </a:lnTo>
                    <a:lnTo>
                      <a:pt x="110" y="358"/>
                    </a:lnTo>
                    <a:lnTo>
                      <a:pt x="110" y="355"/>
                    </a:lnTo>
                    <a:lnTo>
                      <a:pt x="110" y="353"/>
                    </a:lnTo>
                    <a:lnTo>
                      <a:pt x="113" y="353"/>
                    </a:lnTo>
                    <a:lnTo>
                      <a:pt x="120" y="359"/>
                    </a:lnTo>
                    <a:lnTo>
                      <a:pt x="121" y="359"/>
                    </a:lnTo>
                    <a:lnTo>
                      <a:pt x="123" y="360"/>
                    </a:lnTo>
                    <a:lnTo>
                      <a:pt x="123" y="359"/>
                    </a:lnTo>
                    <a:lnTo>
                      <a:pt x="121" y="358"/>
                    </a:lnTo>
                    <a:lnTo>
                      <a:pt x="121" y="357"/>
                    </a:lnTo>
                    <a:lnTo>
                      <a:pt x="121" y="355"/>
                    </a:lnTo>
                    <a:lnTo>
                      <a:pt x="120" y="353"/>
                    </a:lnTo>
                    <a:lnTo>
                      <a:pt x="123" y="352"/>
                    </a:lnTo>
                    <a:lnTo>
                      <a:pt x="124" y="353"/>
                    </a:lnTo>
                    <a:lnTo>
                      <a:pt x="124" y="352"/>
                    </a:lnTo>
                    <a:lnTo>
                      <a:pt x="119" y="348"/>
                    </a:lnTo>
                    <a:lnTo>
                      <a:pt x="120" y="346"/>
                    </a:lnTo>
                    <a:lnTo>
                      <a:pt x="118" y="343"/>
                    </a:lnTo>
                    <a:lnTo>
                      <a:pt x="120" y="342"/>
                    </a:lnTo>
                    <a:lnTo>
                      <a:pt x="123" y="343"/>
                    </a:lnTo>
                    <a:lnTo>
                      <a:pt x="124" y="347"/>
                    </a:lnTo>
                    <a:lnTo>
                      <a:pt x="126" y="348"/>
                    </a:lnTo>
                    <a:lnTo>
                      <a:pt x="132" y="353"/>
                    </a:lnTo>
                    <a:lnTo>
                      <a:pt x="134" y="351"/>
                    </a:lnTo>
                    <a:lnTo>
                      <a:pt x="135" y="352"/>
                    </a:lnTo>
                    <a:lnTo>
                      <a:pt x="134" y="354"/>
                    </a:lnTo>
                    <a:lnTo>
                      <a:pt x="134" y="355"/>
                    </a:lnTo>
                    <a:lnTo>
                      <a:pt x="135" y="355"/>
                    </a:lnTo>
                    <a:lnTo>
                      <a:pt x="137" y="352"/>
                    </a:lnTo>
                    <a:lnTo>
                      <a:pt x="137" y="350"/>
                    </a:lnTo>
                    <a:lnTo>
                      <a:pt x="138" y="352"/>
                    </a:lnTo>
                    <a:lnTo>
                      <a:pt x="139" y="353"/>
                    </a:lnTo>
                    <a:lnTo>
                      <a:pt x="144" y="355"/>
                    </a:lnTo>
                    <a:lnTo>
                      <a:pt x="144" y="354"/>
                    </a:lnTo>
                    <a:lnTo>
                      <a:pt x="139" y="350"/>
                    </a:lnTo>
                    <a:lnTo>
                      <a:pt x="137" y="347"/>
                    </a:lnTo>
                    <a:lnTo>
                      <a:pt x="139" y="346"/>
                    </a:lnTo>
                    <a:lnTo>
                      <a:pt x="140" y="344"/>
                    </a:lnTo>
                    <a:lnTo>
                      <a:pt x="138" y="344"/>
                    </a:lnTo>
                    <a:lnTo>
                      <a:pt x="137" y="340"/>
                    </a:lnTo>
                    <a:lnTo>
                      <a:pt x="136" y="339"/>
                    </a:lnTo>
                    <a:lnTo>
                      <a:pt x="141" y="335"/>
                    </a:lnTo>
                    <a:lnTo>
                      <a:pt x="142" y="333"/>
                    </a:lnTo>
                    <a:lnTo>
                      <a:pt x="140" y="332"/>
                    </a:lnTo>
                    <a:lnTo>
                      <a:pt x="141" y="331"/>
                    </a:lnTo>
                    <a:lnTo>
                      <a:pt x="145" y="332"/>
                    </a:lnTo>
                    <a:lnTo>
                      <a:pt x="145" y="333"/>
                    </a:lnTo>
                    <a:lnTo>
                      <a:pt x="150" y="335"/>
                    </a:lnTo>
                    <a:lnTo>
                      <a:pt x="151" y="337"/>
                    </a:lnTo>
                    <a:lnTo>
                      <a:pt x="151" y="339"/>
                    </a:lnTo>
                    <a:lnTo>
                      <a:pt x="155" y="341"/>
                    </a:lnTo>
                    <a:lnTo>
                      <a:pt x="157" y="343"/>
                    </a:lnTo>
                    <a:lnTo>
                      <a:pt x="158" y="345"/>
                    </a:lnTo>
                    <a:lnTo>
                      <a:pt x="158" y="346"/>
                    </a:lnTo>
                    <a:lnTo>
                      <a:pt x="158" y="353"/>
                    </a:lnTo>
                    <a:lnTo>
                      <a:pt x="159" y="354"/>
                    </a:lnTo>
                    <a:lnTo>
                      <a:pt x="159" y="356"/>
                    </a:lnTo>
                    <a:lnTo>
                      <a:pt x="158" y="361"/>
                    </a:lnTo>
                    <a:lnTo>
                      <a:pt x="154" y="364"/>
                    </a:lnTo>
                    <a:lnTo>
                      <a:pt x="157" y="364"/>
                    </a:lnTo>
                    <a:lnTo>
                      <a:pt x="159" y="364"/>
                    </a:lnTo>
                    <a:lnTo>
                      <a:pt x="159" y="366"/>
                    </a:lnTo>
                    <a:lnTo>
                      <a:pt x="158" y="367"/>
                    </a:lnTo>
                    <a:lnTo>
                      <a:pt x="159" y="368"/>
                    </a:lnTo>
                    <a:lnTo>
                      <a:pt x="159" y="370"/>
                    </a:lnTo>
                    <a:lnTo>
                      <a:pt x="161" y="370"/>
                    </a:lnTo>
                    <a:lnTo>
                      <a:pt x="162" y="372"/>
                    </a:lnTo>
                    <a:lnTo>
                      <a:pt x="163" y="373"/>
                    </a:lnTo>
                    <a:lnTo>
                      <a:pt x="165" y="373"/>
                    </a:lnTo>
                    <a:lnTo>
                      <a:pt x="166" y="376"/>
                    </a:lnTo>
                    <a:lnTo>
                      <a:pt x="164" y="377"/>
                    </a:lnTo>
                    <a:lnTo>
                      <a:pt x="168" y="376"/>
                    </a:lnTo>
                    <a:lnTo>
                      <a:pt x="171" y="377"/>
                    </a:lnTo>
                    <a:lnTo>
                      <a:pt x="168" y="375"/>
                    </a:lnTo>
                    <a:lnTo>
                      <a:pt x="168" y="373"/>
                    </a:lnTo>
                    <a:lnTo>
                      <a:pt x="168" y="372"/>
                    </a:lnTo>
                    <a:lnTo>
                      <a:pt x="170" y="372"/>
                    </a:lnTo>
                    <a:lnTo>
                      <a:pt x="175" y="373"/>
                    </a:lnTo>
                    <a:lnTo>
                      <a:pt x="176" y="374"/>
                    </a:lnTo>
                    <a:close/>
                    <a:moveTo>
                      <a:pt x="161" y="413"/>
                    </a:moveTo>
                    <a:lnTo>
                      <a:pt x="160" y="418"/>
                    </a:lnTo>
                    <a:lnTo>
                      <a:pt x="158" y="419"/>
                    </a:lnTo>
                    <a:lnTo>
                      <a:pt x="155" y="419"/>
                    </a:lnTo>
                    <a:lnTo>
                      <a:pt x="153" y="417"/>
                    </a:lnTo>
                    <a:lnTo>
                      <a:pt x="152" y="415"/>
                    </a:lnTo>
                    <a:lnTo>
                      <a:pt x="153" y="414"/>
                    </a:lnTo>
                    <a:lnTo>
                      <a:pt x="156" y="414"/>
                    </a:lnTo>
                    <a:lnTo>
                      <a:pt x="156" y="412"/>
                    </a:lnTo>
                    <a:lnTo>
                      <a:pt x="158" y="411"/>
                    </a:lnTo>
                    <a:lnTo>
                      <a:pt x="160" y="412"/>
                    </a:lnTo>
                    <a:lnTo>
                      <a:pt x="161" y="413"/>
                    </a:lnTo>
                    <a:close/>
                    <a:moveTo>
                      <a:pt x="157" y="462"/>
                    </a:moveTo>
                    <a:lnTo>
                      <a:pt x="155" y="463"/>
                    </a:lnTo>
                    <a:lnTo>
                      <a:pt x="152" y="462"/>
                    </a:lnTo>
                    <a:lnTo>
                      <a:pt x="148" y="461"/>
                    </a:lnTo>
                    <a:lnTo>
                      <a:pt x="149" y="460"/>
                    </a:lnTo>
                    <a:lnTo>
                      <a:pt x="151" y="459"/>
                    </a:lnTo>
                    <a:lnTo>
                      <a:pt x="157" y="462"/>
                    </a:lnTo>
                    <a:close/>
                    <a:moveTo>
                      <a:pt x="414" y="155"/>
                    </a:moveTo>
                    <a:lnTo>
                      <a:pt x="412" y="157"/>
                    </a:lnTo>
                    <a:lnTo>
                      <a:pt x="413" y="160"/>
                    </a:lnTo>
                    <a:lnTo>
                      <a:pt x="411" y="161"/>
                    </a:lnTo>
                    <a:lnTo>
                      <a:pt x="411" y="160"/>
                    </a:lnTo>
                    <a:lnTo>
                      <a:pt x="411" y="159"/>
                    </a:lnTo>
                    <a:lnTo>
                      <a:pt x="410" y="158"/>
                    </a:lnTo>
                    <a:lnTo>
                      <a:pt x="412" y="156"/>
                    </a:lnTo>
                    <a:lnTo>
                      <a:pt x="411" y="155"/>
                    </a:lnTo>
                    <a:lnTo>
                      <a:pt x="413" y="154"/>
                    </a:lnTo>
                    <a:lnTo>
                      <a:pt x="414" y="155"/>
                    </a:lnTo>
                    <a:close/>
                    <a:moveTo>
                      <a:pt x="410" y="178"/>
                    </a:moveTo>
                    <a:lnTo>
                      <a:pt x="409" y="181"/>
                    </a:lnTo>
                    <a:lnTo>
                      <a:pt x="408" y="181"/>
                    </a:lnTo>
                    <a:lnTo>
                      <a:pt x="407" y="178"/>
                    </a:lnTo>
                    <a:lnTo>
                      <a:pt x="410" y="177"/>
                    </a:lnTo>
                    <a:lnTo>
                      <a:pt x="410" y="178"/>
                    </a:lnTo>
                    <a:close/>
                    <a:moveTo>
                      <a:pt x="397" y="213"/>
                    </a:moveTo>
                    <a:lnTo>
                      <a:pt x="397" y="214"/>
                    </a:lnTo>
                    <a:lnTo>
                      <a:pt x="395" y="214"/>
                    </a:lnTo>
                    <a:lnTo>
                      <a:pt x="392" y="214"/>
                    </a:lnTo>
                    <a:lnTo>
                      <a:pt x="392" y="213"/>
                    </a:lnTo>
                    <a:lnTo>
                      <a:pt x="393" y="211"/>
                    </a:lnTo>
                    <a:lnTo>
                      <a:pt x="398" y="210"/>
                    </a:lnTo>
                    <a:lnTo>
                      <a:pt x="398" y="211"/>
                    </a:lnTo>
                    <a:lnTo>
                      <a:pt x="395" y="212"/>
                    </a:lnTo>
                    <a:lnTo>
                      <a:pt x="397" y="213"/>
                    </a:lnTo>
                    <a:close/>
                    <a:moveTo>
                      <a:pt x="419" y="186"/>
                    </a:moveTo>
                    <a:lnTo>
                      <a:pt x="417" y="189"/>
                    </a:lnTo>
                    <a:lnTo>
                      <a:pt x="418" y="190"/>
                    </a:lnTo>
                    <a:lnTo>
                      <a:pt x="418" y="192"/>
                    </a:lnTo>
                    <a:lnTo>
                      <a:pt x="409" y="191"/>
                    </a:lnTo>
                    <a:lnTo>
                      <a:pt x="410" y="188"/>
                    </a:lnTo>
                    <a:lnTo>
                      <a:pt x="411" y="187"/>
                    </a:lnTo>
                    <a:lnTo>
                      <a:pt x="412" y="188"/>
                    </a:lnTo>
                    <a:lnTo>
                      <a:pt x="415" y="188"/>
                    </a:lnTo>
                    <a:lnTo>
                      <a:pt x="416" y="187"/>
                    </a:lnTo>
                    <a:lnTo>
                      <a:pt x="416" y="186"/>
                    </a:lnTo>
                    <a:lnTo>
                      <a:pt x="418" y="185"/>
                    </a:lnTo>
                    <a:lnTo>
                      <a:pt x="419" y="186"/>
                    </a:lnTo>
                    <a:close/>
                    <a:moveTo>
                      <a:pt x="453" y="154"/>
                    </a:moveTo>
                    <a:lnTo>
                      <a:pt x="451" y="155"/>
                    </a:lnTo>
                    <a:lnTo>
                      <a:pt x="450" y="156"/>
                    </a:lnTo>
                    <a:lnTo>
                      <a:pt x="451" y="157"/>
                    </a:lnTo>
                    <a:lnTo>
                      <a:pt x="449" y="157"/>
                    </a:lnTo>
                    <a:lnTo>
                      <a:pt x="447" y="157"/>
                    </a:lnTo>
                    <a:lnTo>
                      <a:pt x="448" y="154"/>
                    </a:lnTo>
                    <a:lnTo>
                      <a:pt x="452" y="153"/>
                    </a:lnTo>
                    <a:lnTo>
                      <a:pt x="453" y="153"/>
                    </a:lnTo>
                    <a:lnTo>
                      <a:pt x="453" y="154"/>
                    </a:lnTo>
                    <a:close/>
                    <a:moveTo>
                      <a:pt x="157" y="257"/>
                    </a:moveTo>
                    <a:lnTo>
                      <a:pt x="154" y="260"/>
                    </a:lnTo>
                    <a:lnTo>
                      <a:pt x="153" y="262"/>
                    </a:lnTo>
                    <a:lnTo>
                      <a:pt x="154" y="264"/>
                    </a:lnTo>
                    <a:lnTo>
                      <a:pt x="157" y="265"/>
                    </a:lnTo>
                    <a:lnTo>
                      <a:pt x="154" y="266"/>
                    </a:lnTo>
                    <a:lnTo>
                      <a:pt x="151" y="268"/>
                    </a:lnTo>
                    <a:lnTo>
                      <a:pt x="151" y="269"/>
                    </a:lnTo>
                    <a:lnTo>
                      <a:pt x="148" y="271"/>
                    </a:lnTo>
                    <a:lnTo>
                      <a:pt x="147" y="272"/>
                    </a:lnTo>
                    <a:lnTo>
                      <a:pt x="145" y="273"/>
                    </a:lnTo>
                    <a:lnTo>
                      <a:pt x="145" y="275"/>
                    </a:lnTo>
                    <a:lnTo>
                      <a:pt x="142" y="276"/>
                    </a:lnTo>
                    <a:lnTo>
                      <a:pt x="141" y="277"/>
                    </a:lnTo>
                    <a:lnTo>
                      <a:pt x="148" y="279"/>
                    </a:lnTo>
                    <a:lnTo>
                      <a:pt x="152" y="277"/>
                    </a:lnTo>
                    <a:lnTo>
                      <a:pt x="154" y="274"/>
                    </a:lnTo>
                    <a:lnTo>
                      <a:pt x="156" y="274"/>
                    </a:lnTo>
                    <a:lnTo>
                      <a:pt x="157" y="273"/>
                    </a:lnTo>
                    <a:lnTo>
                      <a:pt x="158" y="273"/>
                    </a:lnTo>
                    <a:lnTo>
                      <a:pt x="159" y="274"/>
                    </a:lnTo>
                    <a:lnTo>
                      <a:pt x="159" y="275"/>
                    </a:lnTo>
                    <a:lnTo>
                      <a:pt x="159" y="276"/>
                    </a:lnTo>
                    <a:lnTo>
                      <a:pt x="158" y="277"/>
                    </a:lnTo>
                    <a:lnTo>
                      <a:pt x="159" y="278"/>
                    </a:lnTo>
                    <a:lnTo>
                      <a:pt x="154" y="280"/>
                    </a:lnTo>
                    <a:lnTo>
                      <a:pt x="154" y="281"/>
                    </a:lnTo>
                    <a:lnTo>
                      <a:pt x="151" y="282"/>
                    </a:lnTo>
                    <a:lnTo>
                      <a:pt x="148" y="280"/>
                    </a:lnTo>
                    <a:lnTo>
                      <a:pt x="145" y="280"/>
                    </a:lnTo>
                    <a:lnTo>
                      <a:pt x="143" y="281"/>
                    </a:lnTo>
                    <a:lnTo>
                      <a:pt x="141" y="279"/>
                    </a:lnTo>
                    <a:lnTo>
                      <a:pt x="139" y="279"/>
                    </a:lnTo>
                    <a:lnTo>
                      <a:pt x="139" y="280"/>
                    </a:lnTo>
                    <a:lnTo>
                      <a:pt x="140" y="281"/>
                    </a:lnTo>
                    <a:lnTo>
                      <a:pt x="140" y="282"/>
                    </a:lnTo>
                    <a:lnTo>
                      <a:pt x="141" y="284"/>
                    </a:lnTo>
                    <a:lnTo>
                      <a:pt x="141" y="286"/>
                    </a:lnTo>
                    <a:lnTo>
                      <a:pt x="142" y="286"/>
                    </a:lnTo>
                    <a:lnTo>
                      <a:pt x="141" y="286"/>
                    </a:lnTo>
                    <a:lnTo>
                      <a:pt x="140" y="287"/>
                    </a:lnTo>
                    <a:lnTo>
                      <a:pt x="138" y="287"/>
                    </a:lnTo>
                    <a:lnTo>
                      <a:pt x="135" y="289"/>
                    </a:lnTo>
                    <a:lnTo>
                      <a:pt x="134" y="290"/>
                    </a:lnTo>
                    <a:lnTo>
                      <a:pt x="127" y="292"/>
                    </a:lnTo>
                    <a:lnTo>
                      <a:pt x="131" y="291"/>
                    </a:lnTo>
                    <a:lnTo>
                      <a:pt x="135" y="291"/>
                    </a:lnTo>
                    <a:lnTo>
                      <a:pt x="136" y="290"/>
                    </a:lnTo>
                    <a:lnTo>
                      <a:pt x="139" y="289"/>
                    </a:lnTo>
                    <a:lnTo>
                      <a:pt x="139" y="291"/>
                    </a:lnTo>
                    <a:lnTo>
                      <a:pt x="141" y="294"/>
                    </a:lnTo>
                    <a:lnTo>
                      <a:pt x="140" y="295"/>
                    </a:lnTo>
                    <a:lnTo>
                      <a:pt x="140" y="297"/>
                    </a:lnTo>
                    <a:lnTo>
                      <a:pt x="139" y="299"/>
                    </a:lnTo>
                    <a:lnTo>
                      <a:pt x="137" y="300"/>
                    </a:lnTo>
                    <a:lnTo>
                      <a:pt x="126" y="298"/>
                    </a:lnTo>
                    <a:lnTo>
                      <a:pt x="133" y="302"/>
                    </a:lnTo>
                    <a:lnTo>
                      <a:pt x="133" y="304"/>
                    </a:lnTo>
                    <a:lnTo>
                      <a:pt x="132" y="304"/>
                    </a:lnTo>
                    <a:lnTo>
                      <a:pt x="132" y="306"/>
                    </a:lnTo>
                    <a:lnTo>
                      <a:pt x="129" y="307"/>
                    </a:lnTo>
                    <a:lnTo>
                      <a:pt x="126" y="307"/>
                    </a:lnTo>
                    <a:lnTo>
                      <a:pt x="126" y="309"/>
                    </a:lnTo>
                    <a:lnTo>
                      <a:pt x="125" y="309"/>
                    </a:lnTo>
                    <a:lnTo>
                      <a:pt x="124" y="309"/>
                    </a:lnTo>
                    <a:lnTo>
                      <a:pt x="120" y="306"/>
                    </a:lnTo>
                    <a:lnTo>
                      <a:pt x="121" y="309"/>
                    </a:lnTo>
                    <a:lnTo>
                      <a:pt x="120" y="308"/>
                    </a:lnTo>
                    <a:lnTo>
                      <a:pt x="118" y="309"/>
                    </a:lnTo>
                    <a:lnTo>
                      <a:pt x="113" y="304"/>
                    </a:lnTo>
                    <a:lnTo>
                      <a:pt x="113" y="302"/>
                    </a:lnTo>
                    <a:lnTo>
                      <a:pt x="113" y="301"/>
                    </a:lnTo>
                    <a:lnTo>
                      <a:pt x="113" y="299"/>
                    </a:lnTo>
                    <a:lnTo>
                      <a:pt x="115" y="297"/>
                    </a:lnTo>
                    <a:lnTo>
                      <a:pt x="113" y="297"/>
                    </a:lnTo>
                    <a:lnTo>
                      <a:pt x="110" y="299"/>
                    </a:lnTo>
                    <a:lnTo>
                      <a:pt x="112" y="303"/>
                    </a:lnTo>
                    <a:lnTo>
                      <a:pt x="111" y="305"/>
                    </a:lnTo>
                    <a:lnTo>
                      <a:pt x="113" y="307"/>
                    </a:lnTo>
                    <a:lnTo>
                      <a:pt x="114" y="309"/>
                    </a:lnTo>
                    <a:lnTo>
                      <a:pt x="113" y="309"/>
                    </a:lnTo>
                    <a:lnTo>
                      <a:pt x="113" y="310"/>
                    </a:lnTo>
                    <a:lnTo>
                      <a:pt x="115" y="311"/>
                    </a:lnTo>
                    <a:lnTo>
                      <a:pt x="115" y="313"/>
                    </a:lnTo>
                    <a:lnTo>
                      <a:pt x="112" y="313"/>
                    </a:lnTo>
                    <a:lnTo>
                      <a:pt x="108" y="311"/>
                    </a:lnTo>
                    <a:lnTo>
                      <a:pt x="105" y="313"/>
                    </a:lnTo>
                    <a:lnTo>
                      <a:pt x="105" y="314"/>
                    </a:lnTo>
                    <a:lnTo>
                      <a:pt x="107" y="315"/>
                    </a:lnTo>
                    <a:lnTo>
                      <a:pt x="110" y="318"/>
                    </a:lnTo>
                    <a:lnTo>
                      <a:pt x="106" y="319"/>
                    </a:lnTo>
                    <a:lnTo>
                      <a:pt x="107" y="320"/>
                    </a:lnTo>
                    <a:lnTo>
                      <a:pt x="106" y="321"/>
                    </a:lnTo>
                    <a:lnTo>
                      <a:pt x="102" y="319"/>
                    </a:lnTo>
                    <a:lnTo>
                      <a:pt x="102" y="321"/>
                    </a:lnTo>
                    <a:lnTo>
                      <a:pt x="99" y="323"/>
                    </a:lnTo>
                    <a:lnTo>
                      <a:pt x="99" y="324"/>
                    </a:lnTo>
                    <a:lnTo>
                      <a:pt x="97" y="325"/>
                    </a:lnTo>
                    <a:lnTo>
                      <a:pt x="95" y="327"/>
                    </a:lnTo>
                    <a:lnTo>
                      <a:pt x="93" y="329"/>
                    </a:lnTo>
                    <a:lnTo>
                      <a:pt x="92" y="329"/>
                    </a:lnTo>
                    <a:lnTo>
                      <a:pt x="90" y="327"/>
                    </a:lnTo>
                    <a:lnTo>
                      <a:pt x="88" y="326"/>
                    </a:lnTo>
                    <a:lnTo>
                      <a:pt x="84" y="322"/>
                    </a:lnTo>
                    <a:lnTo>
                      <a:pt x="83" y="321"/>
                    </a:lnTo>
                    <a:lnTo>
                      <a:pt x="80" y="319"/>
                    </a:lnTo>
                    <a:lnTo>
                      <a:pt x="80" y="318"/>
                    </a:lnTo>
                    <a:lnTo>
                      <a:pt x="78" y="318"/>
                    </a:lnTo>
                    <a:lnTo>
                      <a:pt x="80" y="317"/>
                    </a:lnTo>
                    <a:lnTo>
                      <a:pt x="83" y="318"/>
                    </a:lnTo>
                    <a:lnTo>
                      <a:pt x="84" y="321"/>
                    </a:lnTo>
                    <a:lnTo>
                      <a:pt x="85" y="321"/>
                    </a:lnTo>
                    <a:lnTo>
                      <a:pt x="85" y="319"/>
                    </a:lnTo>
                    <a:lnTo>
                      <a:pt x="89" y="317"/>
                    </a:lnTo>
                    <a:lnTo>
                      <a:pt x="91" y="315"/>
                    </a:lnTo>
                    <a:lnTo>
                      <a:pt x="97" y="314"/>
                    </a:lnTo>
                    <a:lnTo>
                      <a:pt x="96" y="313"/>
                    </a:lnTo>
                    <a:lnTo>
                      <a:pt x="94" y="313"/>
                    </a:lnTo>
                    <a:lnTo>
                      <a:pt x="93" y="312"/>
                    </a:lnTo>
                    <a:lnTo>
                      <a:pt x="94" y="311"/>
                    </a:lnTo>
                    <a:lnTo>
                      <a:pt x="96" y="310"/>
                    </a:lnTo>
                    <a:lnTo>
                      <a:pt x="97" y="310"/>
                    </a:lnTo>
                    <a:lnTo>
                      <a:pt x="98" y="311"/>
                    </a:lnTo>
                    <a:lnTo>
                      <a:pt x="104" y="311"/>
                    </a:lnTo>
                    <a:lnTo>
                      <a:pt x="102" y="309"/>
                    </a:lnTo>
                    <a:lnTo>
                      <a:pt x="102" y="308"/>
                    </a:lnTo>
                    <a:lnTo>
                      <a:pt x="100" y="308"/>
                    </a:lnTo>
                    <a:lnTo>
                      <a:pt x="98" y="306"/>
                    </a:lnTo>
                    <a:lnTo>
                      <a:pt x="91" y="304"/>
                    </a:lnTo>
                    <a:lnTo>
                      <a:pt x="90" y="306"/>
                    </a:lnTo>
                    <a:lnTo>
                      <a:pt x="87" y="305"/>
                    </a:lnTo>
                    <a:lnTo>
                      <a:pt x="84" y="304"/>
                    </a:lnTo>
                    <a:lnTo>
                      <a:pt x="83" y="301"/>
                    </a:lnTo>
                    <a:lnTo>
                      <a:pt x="81" y="301"/>
                    </a:lnTo>
                    <a:lnTo>
                      <a:pt x="83" y="300"/>
                    </a:lnTo>
                    <a:lnTo>
                      <a:pt x="83" y="298"/>
                    </a:lnTo>
                    <a:lnTo>
                      <a:pt x="85" y="299"/>
                    </a:lnTo>
                    <a:lnTo>
                      <a:pt x="87" y="297"/>
                    </a:lnTo>
                    <a:lnTo>
                      <a:pt x="90" y="297"/>
                    </a:lnTo>
                    <a:lnTo>
                      <a:pt x="86" y="296"/>
                    </a:lnTo>
                    <a:lnTo>
                      <a:pt x="88" y="295"/>
                    </a:lnTo>
                    <a:lnTo>
                      <a:pt x="84" y="293"/>
                    </a:lnTo>
                    <a:lnTo>
                      <a:pt x="83" y="291"/>
                    </a:lnTo>
                    <a:lnTo>
                      <a:pt x="81" y="289"/>
                    </a:lnTo>
                    <a:lnTo>
                      <a:pt x="81" y="286"/>
                    </a:lnTo>
                    <a:lnTo>
                      <a:pt x="83" y="284"/>
                    </a:lnTo>
                    <a:lnTo>
                      <a:pt x="84" y="283"/>
                    </a:lnTo>
                    <a:lnTo>
                      <a:pt x="83" y="283"/>
                    </a:lnTo>
                    <a:lnTo>
                      <a:pt x="83" y="282"/>
                    </a:lnTo>
                    <a:lnTo>
                      <a:pt x="86" y="281"/>
                    </a:lnTo>
                    <a:lnTo>
                      <a:pt x="88" y="282"/>
                    </a:lnTo>
                    <a:lnTo>
                      <a:pt x="90" y="281"/>
                    </a:lnTo>
                    <a:lnTo>
                      <a:pt x="89" y="280"/>
                    </a:lnTo>
                    <a:lnTo>
                      <a:pt x="87" y="280"/>
                    </a:lnTo>
                    <a:lnTo>
                      <a:pt x="86" y="279"/>
                    </a:lnTo>
                    <a:lnTo>
                      <a:pt x="89" y="275"/>
                    </a:lnTo>
                    <a:lnTo>
                      <a:pt x="94" y="278"/>
                    </a:lnTo>
                    <a:lnTo>
                      <a:pt x="95" y="277"/>
                    </a:lnTo>
                    <a:lnTo>
                      <a:pt x="94" y="277"/>
                    </a:lnTo>
                    <a:lnTo>
                      <a:pt x="95" y="276"/>
                    </a:lnTo>
                    <a:lnTo>
                      <a:pt x="98" y="278"/>
                    </a:lnTo>
                    <a:lnTo>
                      <a:pt x="98" y="279"/>
                    </a:lnTo>
                    <a:lnTo>
                      <a:pt x="95" y="280"/>
                    </a:lnTo>
                    <a:lnTo>
                      <a:pt x="97" y="281"/>
                    </a:lnTo>
                    <a:lnTo>
                      <a:pt x="102" y="283"/>
                    </a:lnTo>
                    <a:lnTo>
                      <a:pt x="101" y="281"/>
                    </a:lnTo>
                    <a:lnTo>
                      <a:pt x="106" y="280"/>
                    </a:lnTo>
                    <a:lnTo>
                      <a:pt x="110" y="281"/>
                    </a:lnTo>
                    <a:lnTo>
                      <a:pt x="112" y="283"/>
                    </a:lnTo>
                    <a:lnTo>
                      <a:pt x="113" y="283"/>
                    </a:lnTo>
                    <a:lnTo>
                      <a:pt x="115" y="281"/>
                    </a:lnTo>
                    <a:lnTo>
                      <a:pt x="111" y="280"/>
                    </a:lnTo>
                    <a:lnTo>
                      <a:pt x="110" y="279"/>
                    </a:lnTo>
                    <a:lnTo>
                      <a:pt x="111" y="279"/>
                    </a:lnTo>
                    <a:lnTo>
                      <a:pt x="108" y="276"/>
                    </a:lnTo>
                    <a:lnTo>
                      <a:pt x="108" y="275"/>
                    </a:lnTo>
                    <a:lnTo>
                      <a:pt x="106" y="274"/>
                    </a:lnTo>
                    <a:lnTo>
                      <a:pt x="106" y="272"/>
                    </a:lnTo>
                    <a:lnTo>
                      <a:pt x="107" y="272"/>
                    </a:lnTo>
                    <a:lnTo>
                      <a:pt x="105" y="271"/>
                    </a:lnTo>
                    <a:lnTo>
                      <a:pt x="107" y="270"/>
                    </a:lnTo>
                    <a:lnTo>
                      <a:pt x="107" y="268"/>
                    </a:lnTo>
                    <a:lnTo>
                      <a:pt x="110" y="268"/>
                    </a:lnTo>
                    <a:lnTo>
                      <a:pt x="112" y="268"/>
                    </a:lnTo>
                    <a:lnTo>
                      <a:pt x="112" y="267"/>
                    </a:lnTo>
                    <a:lnTo>
                      <a:pt x="114" y="265"/>
                    </a:lnTo>
                    <a:lnTo>
                      <a:pt x="115" y="266"/>
                    </a:lnTo>
                    <a:lnTo>
                      <a:pt x="118" y="264"/>
                    </a:lnTo>
                    <a:lnTo>
                      <a:pt x="120" y="265"/>
                    </a:lnTo>
                    <a:lnTo>
                      <a:pt x="126" y="262"/>
                    </a:lnTo>
                    <a:lnTo>
                      <a:pt x="127" y="263"/>
                    </a:lnTo>
                    <a:lnTo>
                      <a:pt x="127" y="261"/>
                    </a:lnTo>
                    <a:lnTo>
                      <a:pt x="129" y="259"/>
                    </a:lnTo>
                    <a:lnTo>
                      <a:pt x="131" y="259"/>
                    </a:lnTo>
                    <a:lnTo>
                      <a:pt x="135" y="255"/>
                    </a:lnTo>
                    <a:lnTo>
                      <a:pt x="142" y="253"/>
                    </a:lnTo>
                    <a:lnTo>
                      <a:pt x="143" y="250"/>
                    </a:lnTo>
                    <a:lnTo>
                      <a:pt x="146" y="250"/>
                    </a:lnTo>
                    <a:lnTo>
                      <a:pt x="148" y="248"/>
                    </a:lnTo>
                    <a:lnTo>
                      <a:pt x="147" y="247"/>
                    </a:lnTo>
                    <a:lnTo>
                      <a:pt x="148" y="246"/>
                    </a:lnTo>
                    <a:lnTo>
                      <a:pt x="152" y="248"/>
                    </a:lnTo>
                    <a:lnTo>
                      <a:pt x="152" y="250"/>
                    </a:lnTo>
                    <a:lnTo>
                      <a:pt x="156" y="251"/>
                    </a:lnTo>
                    <a:lnTo>
                      <a:pt x="155" y="253"/>
                    </a:lnTo>
                    <a:lnTo>
                      <a:pt x="155" y="254"/>
                    </a:lnTo>
                    <a:lnTo>
                      <a:pt x="157" y="256"/>
                    </a:lnTo>
                    <a:lnTo>
                      <a:pt x="157" y="257"/>
                    </a:lnTo>
                    <a:close/>
                    <a:moveTo>
                      <a:pt x="196" y="464"/>
                    </a:moveTo>
                    <a:lnTo>
                      <a:pt x="196" y="466"/>
                    </a:lnTo>
                    <a:lnTo>
                      <a:pt x="194" y="466"/>
                    </a:lnTo>
                    <a:lnTo>
                      <a:pt x="195" y="468"/>
                    </a:lnTo>
                    <a:lnTo>
                      <a:pt x="194" y="470"/>
                    </a:lnTo>
                    <a:lnTo>
                      <a:pt x="191" y="470"/>
                    </a:lnTo>
                    <a:lnTo>
                      <a:pt x="191" y="468"/>
                    </a:lnTo>
                    <a:lnTo>
                      <a:pt x="190" y="468"/>
                    </a:lnTo>
                    <a:lnTo>
                      <a:pt x="187" y="472"/>
                    </a:lnTo>
                    <a:lnTo>
                      <a:pt x="188" y="472"/>
                    </a:lnTo>
                    <a:lnTo>
                      <a:pt x="189" y="471"/>
                    </a:lnTo>
                    <a:lnTo>
                      <a:pt x="192" y="471"/>
                    </a:lnTo>
                    <a:lnTo>
                      <a:pt x="193" y="471"/>
                    </a:lnTo>
                    <a:lnTo>
                      <a:pt x="192" y="473"/>
                    </a:lnTo>
                    <a:lnTo>
                      <a:pt x="188" y="475"/>
                    </a:lnTo>
                    <a:lnTo>
                      <a:pt x="181" y="478"/>
                    </a:lnTo>
                    <a:lnTo>
                      <a:pt x="178" y="478"/>
                    </a:lnTo>
                    <a:lnTo>
                      <a:pt x="178" y="477"/>
                    </a:lnTo>
                    <a:lnTo>
                      <a:pt x="181" y="475"/>
                    </a:lnTo>
                    <a:lnTo>
                      <a:pt x="181" y="474"/>
                    </a:lnTo>
                    <a:lnTo>
                      <a:pt x="178" y="474"/>
                    </a:lnTo>
                    <a:lnTo>
                      <a:pt x="176" y="475"/>
                    </a:lnTo>
                    <a:lnTo>
                      <a:pt x="173" y="478"/>
                    </a:lnTo>
                    <a:lnTo>
                      <a:pt x="171" y="477"/>
                    </a:lnTo>
                    <a:lnTo>
                      <a:pt x="165" y="480"/>
                    </a:lnTo>
                    <a:lnTo>
                      <a:pt x="162" y="480"/>
                    </a:lnTo>
                    <a:lnTo>
                      <a:pt x="157" y="481"/>
                    </a:lnTo>
                    <a:lnTo>
                      <a:pt x="150" y="481"/>
                    </a:lnTo>
                    <a:lnTo>
                      <a:pt x="149" y="482"/>
                    </a:lnTo>
                    <a:lnTo>
                      <a:pt x="147" y="484"/>
                    </a:lnTo>
                    <a:lnTo>
                      <a:pt x="147" y="482"/>
                    </a:lnTo>
                    <a:lnTo>
                      <a:pt x="143" y="483"/>
                    </a:lnTo>
                    <a:lnTo>
                      <a:pt x="142" y="479"/>
                    </a:lnTo>
                    <a:lnTo>
                      <a:pt x="140" y="478"/>
                    </a:lnTo>
                    <a:lnTo>
                      <a:pt x="142" y="475"/>
                    </a:lnTo>
                    <a:lnTo>
                      <a:pt x="146" y="476"/>
                    </a:lnTo>
                    <a:lnTo>
                      <a:pt x="147" y="478"/>
                    </a:lnTo>
                    <a:lnTo>
                      <a:pt x="150" y="478"/>
                    </a:lnTo>
                    <a:lnTo>
                      <a:pt x="150" y="477"/>
                    </a:lnTo>
                    <a:lnTo>
                      <a:pt x="149" y="476"/>
                    </a:lnTo>
                    <a:lnTo>
                      <a:pt x="149" y="475"/>
                    </a:lnTo>
                    <a:lnTo>
                      <a:pt x="153" y="476"/>
                    </a:lnTo>
                    <a:lnTo>
                      <a:pt x="156" y="476"/>
                    </a:lnTo>
                    <a:lnTo>
                      <a:pt x="167" y="472"/>
                    </a:lnTo>
                    <a:lnTo>
                      <a:pt x="168" y="472"/>
                    </a:lnTo>
                    <a:lnTo>
                      <a:pt x="168" y="470"/>
                    </a:lnTo>
                    <a:lnTo>
                      <a:pt x="166" y="470"/>
                    </a:lnTo>
                    <a:lnTo>
                      <a:pt x="164" y="472"/>
                    </a:lnTo>
                    <a:lnTo>
                      <a:pt x="155" y="474"/>
                    </a:lnTo>
                    <a:lnTo>
                      <a:pt x="153" y="474"/>
                    </a:lnTo>
                    <a:lnTo>
                      <a:pt x="152" y="472"/>
                    </a:lnTo>
                    <a:lnTo>
                      <a:pt x="152" y="471"/>
                    </a:lnTo>
                    <a:lnTo>
                      <a:pt x="156" y="468"/>
                    </a:lnTo>
                    <a:lnTo>
                      <a:pt x="159" y="464"/>
                    </a:lnTo>
                    <a:lnTo>
                      <a:pt x="162" y="464"/>
                    </a:lnTo>
                    <a:lnTo>
                      <a:pt x="167" y="462"/>
                    </a:lnTo>
                    <a:lnTo>
                      <a:pt x="169" y="460"/>
                    </a:lnTo>
                    <a:lnTo>
                      <a:pt x="168" y="459"/>
                    </a:lnTo>
                    <a:lnTo>
                      <a:pt x="159" y="462"/>
                    </a:lnTo>
                    <a:lnTo>
                      <a:pt x="157" y="460"/>
                    </a:lnTo>
                    <a:lnTo>
                      <a:pt x="157" y="459"/>
                    </a:lnTo>
                    <a:lnTo>
                      <a:pt x="151" y="456"/>
                    </a:lnTo>
                    <a:lnTo>
                      <a:pt x="147" y="456"/>
                    </a:lnTo>
                    <a:lnTo>
                      <a:pt x="142" y="454"/>
                    </a:lnTo>
                    <a:lnTo>
                      <a:pt x="142" y="453"/>
                    </a:lnTo>
                    <a:lnTo>
                      <a:pt x="146" y="450"/>
                    </a:lnTo>
                    <a:lnTo>
                      <a:pt x="144" y="450"/>
                    </a:lnTo>
                    <a:lnTo>
                      <a:pt x="143" y="448"/>
                    </a:lnTo>
                    <a:lnTo>
                      <a:pt x="147" y="448"/>
                    </a:lnTo>
                    <a:lnTo>
                      <a:pt x="149" y="446"/>
                    </a:lnTo>
                    <a:lnTo>
                      <a:pt x="152" y="449"/>
                    </a:lnTo>
                    <a:lnTo>
                      <a:pt x="152" y="448"/>
                    </a:lnTo>
                    <a:lnTo>
                      <a:pt x="151" y="445"/>
                    </a:lnTo>
                    <a:lnTo>
                      <a:pt x="153" y="445"/>
                    </a:lnTo>
                    <a:lnTo>
                      <a:pt x="153" y="444"/>
                    </a:lnTo>
                    <a:lnTo>
                      <a:pt x="156" y="442"/>
                    </a:lnTo>
                    <a:lnTo>
                      <a:pt x="158" y="443"/>
                    </a:lnTo>
                    <a:lnTo>
                      <a:pt x="158" y="442"/>
                    </a:lnTo>
                    <a:lnTo>
                      <a:pt x="161" y="444"/>
                    </a:lnTo>
                    <a:lnTo>
                      <a:pt x="163" y="444"/>
                    </a:lnTo>
                    <a:lnTo>
                      <a:pt x="164" y="446"/>
                    </a:lnTo>
                    <a:lnTo>
                      <a:pt x="166" y="447"/>
                    </a:lnTo>
                    <a:lnTo>
                      <a:pt x="169" y="451"/>
                    </a:lnTo>
                    <a:lnTo>
                      <a:pt x="170" y="452"/>
                    </a:lnTo>
                    <a:lnTo>
                      <a:pt x="171" y="453"/>
                    </a:lnTo>
                    <a:lnTo>
                      <a:pt x="173" y="456"/>
                    </a:lnTo>
                    <a:lnTo>
                      <a:pt x="174" y="457"/>
                    </a:lnTo>
                    <a:lnTo>
                      <a:pt x="178" y="456"/>
                    </a:lnTo>
                    <a:lnTo>
                      <a:pt x="181" y="456"/>
                    </a:lnTo>
                    <a:lnTo>
                      <a:pt x="181" y="458"/>
                    </a:lnTo>
                    <a:lnTo>
                      <a:pt x="183" y="457"/>
                    </a:lnTo>
                    <a:lnTo>
                      <a:pt x="184" y="457"/>
                    </a:lnTo>
                    <a:lnTo>
                      <a:pt x="185" y="458"/>
                    </a:lnTo>
                    <a:lnTo>
                      <a:pt x="187" y="460"/>
                    </a:lnTo>
                    <a:lnTo>
                      <a:pt x="190" y="460"/>
                    </a:lnTo>
                    <a:lnTo>
                      <a:pt x="194" y="462"/>
                    </a:lnTo>
                    <a:lnTo>
                      <a:pt x="194" y="464"/>
                    </a:lnTo>
                    <a:lnTo>
                      <a:pt x="195" y="463"/>
                    </a:lnTo>
                    <a:lnTo>
                      <a:pt x="196" y="464"/>
                    </a:lnTo>
                    <a:close/>
                    <a:moveTo>
                      <a:pt x="192" y="496"/>
                    </a:moveTo>
                    <a:lnTo>
                      <a:pt x="193" y="500"/>
                    </a:lnTo>
                    <a:lnTo>
                      <a:pt x="189" y="504"/>
                    </a:lnTo>
                    <a:lnTo>
                      <a:pt x="187" y="508"/>
                    </a:lnTo>
                    <a:lnTo>
                      <a:pt x="184" y="511"/>
                    </a:lnTo>
                    <a:lnTo>
                      <a:pt x="184" y="514"/>
                    </a:lnTo>
                    <a:lnTo>
                      <a:pt x="182" y="515"/>
                    </a:lnTo>
                    <a:lnTo>
                      <a:pt x="179" y="513"/>
                    </a:lnTo>
                    <a:lnTo>
                      <a:pt x="173" y="515"/>
                    </a:lnTo>
                    <a:lnTo>
                      <a:pt x="168" y="513"/>
                    </a:lnTo>
                    <a:lnTo>
                      <a:pt x="171" y="511"/>
                    </a:lnTo>
                    <a:lnTo>
                      <a:pt x="171" y="508"/>
                    </a:lnTo>
                    <a:lnTo>
                      <a:pt x="176" y="506"/>
                    </a:lnTo>
                    <a:lnTo>
                      <a:pt x="177" y="504"/>
                    </a:lnTo>
                    <a:lnTo>
                      <a:pt x="182" y="502"/>
                    </a:lnTo>
                    <a:lnTo>
                      <a:pt x="184" y="500"/>
                    </a:lnTo>
                    <a:lnTo>
                      <a:pt x="185" y="500"/>
                    </a:lnTo>
                    <a:lnTo>
                      <a:pt x="188" y="498"/>
                    </a:lnTo>
                    <a:lnTo>
                      <a:pt x="188" y="496"/>
                    </a:lnTo>
                    <a:lnTo>
                      <a:pt x="190" y="497"/>
                    </a:lnTo>
                    <a:lnTo>
                      <a:pt x="191" y="496"/>
                    </a:lnTo>
                    <a:lnTo>
                      <a:pt x="192" y="496"/>
                    </a:lnTo>
                    <a:close/>
                    <a:moveTo>
                      <a:pt x="181" y="515"/>
                    </a:moveTo>
                    <a:lnTo>
                      <a:pt x="181" y="517"/>
                    </a:lnTo>
                    <a:lnTo>
                      <a:pt x="179" y="518"/>
                    </a:lnTo>
                    <a:lnTo>
                      <a:pt x="179" y="523"/>
                    </a:lnTo>
                    <a:lnTo>
                      <a:pt x="178" y="523"/>
                    </a:lnTo>
                    <a:lnTo>
                      <a:pt x="176" y="524"/>
                    </a:lnTo>
                    <a:lnTo>
                      <a:pt x="174" y="524"/>
                    </a:lnTo>
                    <a:lnTo>
                      <a:pt x="173" y="528"/>
                    </a:lnTo>
                    <a:lnTo>
                      <a:pt x="173" y="529"/>
                    </a:lnTo>
                    <a:lnTo>
                      <a:pt x="171" y="533"/>
                    </a:lnTo>
                    <a:lnTo>
                      <a:pt x="170" y="533"/>
                    </a:lnTo>
                    <a:lnTo>
                      <a:pt x="167" y="533"/>
                    </a:lnTo>
                    <a:lnTo>
                      <a:pt x="163" y="531"/>
                    </a:lnTo>
                    <a:lnTo>
                      <a:pt x="161" y="527"/>
                    </a:lnTo>
                    <a:lnTo>
                      <a:pt x="161" y="524"/>
                    </a:lnTo>
                    <a:lnTo>
                      <a:pt x="161" y="523"/>
                    </a:lnTo>
                    <a:lnTo>
                      <a:pt x="165" y="517"/>
                    </a:lnTo>
                    <a:lnTo>
                      <a:pt x="174" y="517"/>
                    </a:lnTo>
                    <a:lnTo>
                      <a:pt x="181" y="515"/>
                    </a:lnTo>
                    <a:close/>
                    <a:moveTo>
                      <a:pt x="159" y="519"/>
                    </a:moveTo>
                    <a:lnTo>
                      <a:pt x="158" y="522"/>
                    </a:lnTo>
                    <a:lnTo>
                      <a:pt x="159" y="524"/>
                    </a:lnTo>
                    <a:lnTo>
                      <a:pt x="159" y="526"/>
                    </a:lnTo>
                    <a:lnTo>
                      <a:pt x="160" y="527"/>
                    </a:lnTo>
                    <a:lnTo>
                      <a:pt x="161" y="533"/>
                    </a:lnTo>
                    <a:lnTo>
                      <a:pt x="164" y="535"/>
                    </a:lnTo>
                    <a:lnTo>
                      <a:pt x="165" y="537"/>
                    </a:lnTo>
                    <a:lnTo>
                      <a:pt x="165" y="538"/>
                    </a:lnTo>
                    <a:lnTo>
                      <a:pt x="166" y="539"/>
                    </a:lnTo>
                    <a:lnTo>
                      <a:pt x="167" y="541"/>
                    </a:lnTo>
                    <a:lnTo>
                      <a:pt x="166" y="542"/>
                    </a:lnTo>
                    <a:lnTo>
                      <a:pt x="167" y="545"/>
                    </a:lnTo>
                    <a:lnTo>
                      <a:pt x="164" y="547"/>
                    </a:lnTo>
                    <a:lnTo>
                      <a:pt x="163" y="547"/>
                    </a:lnTo>
                    <a:lnTo>
                      <a:pt x="163" y="549"/>
                    </a:lnTo>
                    <a:lnTo>
                      <a:pt x="157" y="550"/>
                    </a:lnTo>
                    <a:lnTo>
                      <a:pt x="152" y="550"/>
                    </a:lnTo>
                    <a:lnTo>
                      <a:pt x="151" y="551"/>
                    </a:lnTo>
                    <a:lnTo>
                      <a:pt x="152" y="551"/>
                    </a:lnTo>
                    <a:lnTo>
                      <a:pt x="150" y="553"/>
                    </a:lnTo>
                    <a:lnTo>
                      <a:pt x="150" y="554"/>
                    </a:lnTo>
                    <a:lnTo>
                      <a:pt x="147" y="555"/>
                    </a:lnTo>
                    <a:lnTo>
                      <a:pt x="146" y="555"/>
                    </a:lnTo>
                    <a:lnTo>
                      <a:pt x="142" y="554"/>
                    </a:lnTo>
                    <a:lnTo>
                      <a:pt x="142" y="551"/>
                    </a:lnTo>
                    <a:lnTo>
                      <a:pt x="144" y="549"/>
                    </a:lnTo>
                    <a:lnTo>
                      <a:pt x="147" y="547"/>
                    </a:lnTo>
                    <a:lnTo>
                      <a:pt x="148" y="547"/>
                    </a:lnTo>
                    <a:lnTo>
                      <a:pt x="146" y="543"/>
                    </a:lnTo>
                    <a:lnTo>
                      <a:pt x="142" y="540"/>
                    </a:lnTo>
                    <a:lnTo>
                      <a:pt x="145" y="537"/>
                    </a:lnTo>
                    <a:lnTo>
                      <a:pt x="148" y="536"/>
                    </a:lnTo>
                    <a:lnTo>
                      <a:pt x="148" y="535"/>
                    </a:lnTo>
                    <a:lnTo>
                      <a:pt x="141" y="535"/>
                    </a:lnTo>
                    <a:lnTo>
                      <a:pt x="138" y="541"/>
                    </a:lnTo>
                    <a:lnTo>
                      <a:pt x="136" y="543"/>
                    </a:lnTo>
                    <a:lnTo>
                      <a:pt x="131" y="546"/>
                    </a:lnTo>
                    <a:lnTo>
                      <a:pt x="128" y="546"/>
                    </a:lnTo>
                    <a:lnTo>
                      <a:pt x="129" y="545"/>
                    </a:lnTo>
                    <a:lnTo>
                      <a:pt x="127" y="543"/>
                    </a:lnTo>
                    <a:lnTo>
                      <a:pt x="129" y="541"/>
                    </a:lnTo>
                    <a:lnTo>
                      <a:pt x="129" y="539"/>
                    </a:lnTo>
                    <a:lnTo>
                      <a:pt x="132" y="538"/>
                    </a:lnTo>
                    <a:lnTo>
                      <a:pt x="132" y="537"/>
                    </a:lnTo>
                    <a:lnTo>
                      <a:pt x="133" y="536"/>
                    </a:lnTo>
                    <a:lnTo>
                      <a:pt x="133" y="535"/>
                    </a:lnTo>
                    <a:lnTo>
                      <a:pt x="131" y="533"/>
                    </a:lnTo>
                    <a:lnTo>
                      <a:pt x="133" y="531"/>
                    </a:lnTo>
                    <a:lnTo>
                      <a:pt x="132" y="529"/>
                    </a:lnTo>
                    <a:lnTo>
                      <a:pt x="133" y="527"/>
                    </a:lnTo>
                    <a:lnTo>
                      <a:pt x="135" y="526"/>
                    </a:lnTo>
                    <a:lnTo>
                      <a:pt x="137" y="526"/>
                    </a:lnTo>
                    <a:lnTo>
                      <a:pt x="142" y="523"/>
                    </a:lnTo>
                    <a:lnTo>
                      <a:pt x="143" y="523"/>
                    </a:lnTo>
                    <a:lnTo>
                      <a:pt x="142" y="529"/>
                    </a:lnTo>
                    <a:lnTo>
                      <a:pt x="143" y="530"/>
                    </a:lnTo>
                    <a:lnTo>
                      <a:pt x="144" y="529"/>
                    </a:lnTo>
                    <a:lnTo>
                      <a:pt x="143" y="527"/>
                    </a:lnTo>
                    <a:lnTo>
                      <a:pt x="144" y="524"/>
                    </a:lnTo>
                    <a:lnTo>
                      <a:pt x="147" y="523"/>
                    </a:lnTo>
                    <a:lnTo>
                      <a:pt x="150" y="521"/>
                    </a:lnTo>
                    <a:lnTo>
                      <a:pt x="153" y="519"/>
                    </a:lnTo>
                    <a:lnTo>
                      <a:pt x="157" y="518"/>
                    </a:lnTo>
                    <a:lnTo>
                      <a:pt x="159" y="518"/>
                    </a:lnTo>
                    <a:lnTo>
                      <a:pt x="159" y="519"/>
                    </a:lnTo>
                    <a:close/>
                    <a:moveTo>
                      <a:pt x="226" y="541"/>
                    </a:moveTo>
                    <a:lnTo>
                      <a:pt x="232" y="543"/>
                    </a:lnTo>
                    <a:lnTo>
                      <a:pt x="235" y="545"/>
                    </a:lnTo>
                    <a:lnTo>
                      <a:pt x="236" y="546"/>
                    </a:lnTo>
                    <a:lnTo>
                      <a:pt x="236" y="547"/>
                    </a:lnTo>
                    <a:lnTo>
                      <a:pt x="237" y="550"/>
                    </a:lnTo>
                    <a:lnTo>
                      <a:pt x="237" y="552"/>
                    </a:lnTo>
                    <a:lnTo>
                      <a:pt x="236" y="553"/>
                    </a:lnTo>
                    <a:lnTo>
                      <a:pt x="237" y="555"/>
                    </a:lnTo>
                    <a:lnTo>
                      <a:pt x="239" y="555"/>
                    </a:lnTo>
                    <a:lnTo>
                      <a:pt x="241" y="558"/>
                    </a:lnTo>
                    <a:lnTo>
                      <a:pt x="240" y="559"/>
                    </a:lnTo>
                    <a:lnTo>
                      <a:pt x="239" y="559"/>
                    </a:lnTo>
                    <a:lnTo>
                      <a:pt x="237" y="560"/>
                    </a:lnTo>
                    <a:lnTo>
                      <a:pt x="239" y="561"/>
                    </a:lnTo>
                    <a:lnTo>
                      <a:pt x="242" y="562"/>
                    </a:lnTo>
                    <a:lnTo>
                      <a:pt x="242" y="563"/>
                    </a:lnTo>
                    <a:lnTo>
                      <a:pt x="240" y="564"/>
                    </a:lnTo>
                    <a:lnTo>
                      <a:pt x="240" y="565"/>
                    </a:lnTo>
                    <a:lnTo>
                      <a:pt x="242" y="567"/>
                    </a:lnTo>
                    <a:lnTo>
                      <a:pt x="240" y="569"/>
                    </a:lnTo>
                    <a:lnTo>
                      <a:pt x="234" y="571"/>
                    </a:lnTo>
                    <a:lnTo>
                      <a:pt x="230" y="571"/>
                    </a:lnTo>
                    <a:lnTo>
                      <a:pt x="225" y="569"/>
                    </a:lnTo>
                    <a:lnTo>
                      <a:pt x="221" y="566"/>
                    </a:lnTo>
                    <a:lnTo>
                      <a:pt x="221" y="564"/>
                    </a:lnTo>
                    <a:lnTo>
                      <a:pt x="219" y="563"/>
                    </a:lnTo>
                    <a:lnTo>
                      <a:pt x="220" y="560"/>
                    </a:lnTo>
                    <a:lnTo>
                      <a:pt x="220" y="559"/>
                    </a:lnTo>
                    <a:lnTo>
                      <a:pt x="216" y="553"/>
                    </a:lnTo>
                    <a:lnTo>
                      <a:pt x="216" y="550"/>
                    </a:lnTo>
                    <a:lnTo>
                      <a:pt x="218" y="545"/>
                    </a:lnTo>
                    <a:lnTo>
                      <a:pt x="220" y="544"/>
                    </a:lnTo>
                    <a:lnTo>
                      <a:pt x="222" y="542"/>
                    </a:lnTo>
                    <a:lnTo>
                      <a:pt x="224" y="542"/>
                    </a:lnTo>
                    <a:lnTo>
                      <a:pt x="224" y="541"/>
                    </a:lnTo>
                    <a:lnTo>
                      <a:pt x="226" y="541"/>
                    </a:lnTo>
                    <a:close/>
                    <a:moveTo>
                      <a:pt x="480" y="75"/>
                    </a:moveTo>
                    <a:lnTo>
                      <a:pt x="479" y="72"/>
                    </a:lnTo>
                    <a:lnTo>
                      <a:pt x="477" y="72"/>
                    </a:lnTo>
                    <a:lnTo>
                      <a:pt x="475" y="73"/>
                    </a:lnTo>
                    <a:lnTo>
                      <a:pt x="474" y="75"/>
                    </a:lnTo>
                    <a:lnTo>
                      <a:pt x="479" y="77"/>
                    </a:lnTo>
                    <a:lnTo>
                      <a:pt x="480" y="75"/>
                    </a:lnTo>
                    <a:close/>
                    <a:moveTo>
                      <a:pt x="557" y="75"/>
                    </a:moveTo>
                    <a:lnTo>
                      <a:pt x="557" y="72"/>
                    </a:lnTo>
                    <a:lnTo>
                      <a:pt x="555" y="72"/>
                    </a:lnTo>
                    <a:lnTo>
                      <a:pt x="555" y="70"/>
                    </a:lnTo>
                    <a:lnTo>
                      <a:pt x="553" y="70"/>
                    </a:lnTo>
                    <a:lnTo>
                      <a:pt x="550" y="70"/>
                    </a:lnTo>
                    <a:lnTo>
                      <a:pt x="550" y="71"/>
                    </a:lnTo>
                    <a:lnTo>
                      <a:pt x="552" y="72"/>
                    </a:lnTo>
                    <a:lnTo>
                      <a:pt x="551" y="75"/>
                    </a:lnTo>
                    <a:lnTo>
                      <a:pt x="552" y="76"/>
                    </a:lnTo>
                    <a:lnTo>
                      <a:pt x="555" y="79"/>
                    </a:lnTo>
                    <a:lnTo>
                      <a:pt x="556" y="77"/>
                    </a:lnTo>
                    <a:lnTo>
                      <a:pt x="556" y="76"/>
                    </a:lnTo>
                    <a:lnTo>
                      <a:pt x="557" y="75"/>
                    </a:lnTo>
                    <a:close/>
                    <a:moveTo>
                      <a:pt x="567" y="50"/>
                    </a:moveTo>
                    <a:lnTo>
                      <a:pt x="568" y="50"/>
                    </a:lnTo>
                    <a:lnTo>
                      <a:pt x="568" y="48"/>
                    </a:lnTo>
                    <a:lnTo>
                      <a:pt x="564" y="49"/>
                    </a:lnTo>
                    <a:lnTo>
                      <a:pt x="560" y="51"/>
                    </a:lnTo>
                    <a:lnTo>
                      <a:pt x="559" y="53"/>
                    </a:lnTo>
                    <a:lnTo>
                      <a:pt x="558" y="54"/>
                    </a:lnTo>
                    <a:lnTo>
                      <a:pt x="561" y="54"/>
                    </a:lnTo>
                    <a:lnTo>
                      <a:pt x="567" y="50"/>
                    </a:lnTo>
                    <a:close/>
                    <a:moveTo>
                      <a:pt x="578" y="27"/>
                    </a:moveTo>
                    <a:lnTo>
                      <a:pt x="579" y="26"/>
                    </a:lnTo>
                    <a:lnTo>
                      <a:pt x="578" y="25"/>
                    </a:lnTo>
                    <a:lnTo>
                      <a:pt x="577" y="24"/>
                    </a:lnTo>
                    <a:lnTo>
                      <a:pt x="575" y="25"/>
                    </a:lnTo>
                    <a:lnTo>
                      <a:pt x="574" y="24"/>
                    </a:lnTo>
                    <a:lnTo>
                      <a:pt x="564" y="24"/>
                    </a:lnTo>
                    <a:lnTo>
                      <a:pt x="569" y="29"/>
                    </a:lnTo>
                    <a:lnTo>
                      <a:pt x="569" y="30"/>
                    </a:lnTo>
                    <a:lnTo>
                      <a:pt x="571" y="30"/>
                    </a:lnTo>
                    <a:lnTo>
                      <a:pt x="570" y="28"/>
                    </a:lnTo>
                    <a:lnTo>
                      <a:pt x="570" y="27"/>
                    </a:lnTo>
                    <a:lnTo>
                      <a:pt x="576" y="29"/>
                    </a:lnTo>
                    <a:lnTo>
                      <a:pt x="578" y="27"/>
                    </a:lnTo>
                    <a:close/>
                    <a:moveTo>
                      <a:pt x="576" y="1"/>
                    </a:moveTo>
                    <a:lnTo>
                      <a:pt x="572" y="1"/>
                    </a:lnTo>
                    <a:lnTo>
                      <a:pt x="572" y="4"/>
                    </a:lnTo>
                    <a:lnTo>
                      <a:pt x="570" y="5"/>
                    </a:lnTo>
                    <a:lnTo>
                      <a:pt x="569" y="6"/>
                    </a:lnTo>
                    <a:lnTo>
                      <a:pt x="569" y="7"/>
                    </a:lnTo>
                    <a:lnTo>
                      <a:pt x="569" y="5"/>
                    </a:lnTo>
                    <a:lnTo>
                      <a:pt x="570" y="4"/>
                    </a:lnTo>
                    <a:lnTo>
                      <a:pt x="571" y="2"/>
                    </a:lnTo>
                    <a:lnTo>
                      <a:pt x="570" y="1"/>
                    </a:lnTo>
                    <a:lnTo>
                      <a:pt x="569" y="0"/>
                    </a:lnTo>
                    <a:lnTo>
                      <a:pt x="569" y="1"/>
                    </a:lnTo>
                    <a:lnTo>
                      <a:pt x="569" y="3"/>
                    </a:lnTo>
                    <a:lnTo>
                      <a:pt x="566" y="4"/>
                    </a:lnTo>
                    <a:lnTo>
                      <a:pt x="564" y="5"/>
                    </a:lnTo>
                    <a:lnTo>
                      <a:pt x="566" y="6"/>
                    </a:lnTo>
                    <a:lnTo>
                      <a:pt x="564" y="10"/>
                    </a:lnTo>
                    <a:lnTo>
                      <a:pt x="564" y="11"/>
                    </a:lnTo>
                    <a:lnTo>
                      <a:pt x="564" y="13"/>
                    </a:lnTo>
                    <a:lnTo>
                      <a:pt x="562" y="13"/>
                    </a:lnTo>
                    <a:lnTo>
                      <a:pt x="563" y="15"/>
                    </a:lnTo>
                    <a:lnTo>
                      <a:pt x="563" y="16"/>
                    </a:lnTo>
                    <a:lnTo>
                      <a:pt x="566" y="18"/>
                    </a:lnTo>
                    <a:lnTo>
                      <a:pt x="569" y="17"/>
                    </a:lnTo>
                    <a:lnTo>
                      <a:pt x="573" y="18"/>
                    </a:lnTo>
                    <a:lnTo>
                      <a:pt x="574" y="16"/>
                    </a:lnTo>
                    <a:lnTo>
                      <a:pt x="572" y="15"/>
                    </a:lnTo>
                    <a:lnTo>
                      <a:pt x="572" y="14"/>
                    </a:lnTo>
                    <a:lnTo>
                      <a:pt x="575" y="10"/>
                    </a:lnTo>
                    <a:lnTo>
                      <a:pt x="573" y="10"/>
                    </a:lnTo>
                    <a:lnTo>
                      <a:pt x="575" y="9"/>
                    </a:lnTo>
                    <a:lnTo>
                      <a:pt x="574" y="6"/>
                    </a:lnTo>
                    <a:lnTo>
                      <a:pt x="577" y="6"/>
                    </a:lnTo>
                    <a:lnTo>
                      <a:pt x="578" y="5"/>
                    </a:lnTo>
                    <a:lnTo>
                      <a:pt x="576" y="4"/>
                    </a:lnTo>
                    <a:lnTo>
                      <a:pt x="579" y="4"/>
                    </a:lnTo>
                    <a:lnTo>
                      <a:pt x="578" y="2"/>
                    </a:lnTo>
                    <a:lnTo>
                      <a:pt x="578" y="1"/>
                    </a:lnTo>
                    <a:lnTo>
                      <a:pt x="576" y="1"/>
                    </a:lnTo>
                    <a:close/>
                    <a:moveTo>
                      <a:pt x="560" y="13"/>
                    </a:moveTo>
                    <a:lnTo>
                      <a:pt x="555" y="12"/>
                    </a:lnTo>
                    <a:lnTo>
                      <a:pt x="555" y="13"/>
                    </a:lnTo>
                    <a:lnTo>
                      <a:pt x="553" y="11"/>
                    </a:lnTo>
                    <a:lnTo>
                      <a:pt x="550" y="13"/>
                    </a:lnTo>
                    <a:lnTo>
                      <a:pt x="551" y="14"/>
                    </a:lnTo>
                    <a:lnTo>
                      <a:pt x="550" y="16"/>
                    </a:lnTo>
                    <a:lnTo>
                      <a:pt x="551" y="17"/>
                    </a:lnTo>
                    <a:lnTo>
                      <a:pt x="550" y="22"/>
                    </a:lnTo>
                    <a:lnTo>
                      <a:pt x="552" y="24"/>
                    </a:lnTo>
                    <a:lnTo>
                      <a:pt x="551" y="25"/>
                    </a:lnTo>
                    <a:lnTo>
                      <a:pt x="549" y="23"/>
                    </a:lnTo>
                    <a:lnTo>
                      <a:pt x="549" y="21"/>
                    </a:lnTo>
                    <a:lnTo>
                      <a:pt x="548" y="21"/>
                    </a:lnTo>
                    <a:lnTo>
                      <a:pt x="546" y="22"/>
                    </a:lnTo>
                    <a:lnTo>
                      <a:pt x="545" y="25"/>
                    </a:lnTo>
                    <a:lnTo>
                      <a:pt x="546" y="30"/>
                    </a:lnTo>
                    <a:lnTo>
                      <a:pt x="546" y="34"/>
                    </a:lnTo>
                    <a:lnTo>
                      <a:pt x="549" y="37"/>
                    </a:lnTo>
                    <a:lnTo>
                      <a:pt x="552" y="37"/>
                    </a:lnTo>
                    <a:lnTo>
                      <a:pt x="551" y="36"/>
                    </a:lnTo>
                    <a:lnTo>
                      <a:pt x="552" y="35"/>
                    </a:lnTo>
                    <a:lnTo>
                      <a:pt x="554" y="36"/>
                    </a:lnTo>
                    <a:lnTo>
                      <a:pt x="558" y="37"/>
                    </a:lnTo>
                    <a:lnTo>
                      <a:pt x="558" y="36"/>
                    </a:lnTo>
                    <a:lnTo>
                      <a:pt x="558" y="34"/>
                    </a:lnTo>
                    <a:lnTo>
                      <a:pt x="557" y="31"/>
                    </a:lnTo>
                    <a:lnTo>
                      <a:pt x="558" y="31"/>
                    </a:lnTo>
                    <a:lnTo>
                      <a:pt x="560" y="28"/>
                    </a:lnTo>
                    <a:lnTo>
                      <a:pt x="554" y="25"/>
                    </a:lnTo>
                    <a:lnTo>
                      <a:pt x="555" y="25"/>
                    </a:lnTo>
                    <a:lnTo>
                      <a:pt x="557" y="25"/>
                    </a:lnTo>
                    <a:lnTo>
                      <a:pt x="558" y="24"/>
                    </a:lnTo>
                    <a:lnTo>
                      <a:pt x="557" y="22"/>
                    </a:lnTo>
                    <a:lnTo>
                      <a:pt x="555" y="19"/>
                    </a:lnTo>
                    <a:lnTo>
                      <a:pt x="556" y="19"/>
                    </a:lnTo>
                    <a:lnTo>
                      <a:pt x="559" y="22"/>
                    </a:lnTo>
                    <a:lnTo>
                      <a:pt x="561" y="22"/>
                    </a:lnTo>
                    <a:lnTo>
                      <a:pt x="561" y="19"/>
                    </a:lnTo>
                    <a:lnTo>
                      <a:pt x="560" y="17"/>
                    </a:lnTo>
                    <a:lnTo>
                      <a:pt x="561" y="16"/>
                    </a:lnTo>
                    <a:lnTo>
                      <a:pt x="560" y="15"/>
                    </a:lnTo>
                    <a:lnTo>
                      <a:pt x="561" y="13"/>
                    </a:lnTo>
                    <a:lnTo>
                      <a:pt x="560" y="13"/>
                    </a:lnTo>
                    <a:close/>
                    <a:moveTo>
                      <a:pt x="530" y="50"/>
                    </a:moveTo>
                    <a:lnTo>
                      <a:pt x="526" y="48"/>
                    </a:lnTo>
                    <a:lnTo>
                      <a:pt x="524" y="50"/>
                    </a:lnTo>
                    <a:lnTo>
                      <a:pt x="525" y="52"/>
                    </a:lnTo>
                    <a:lnTo>
                      <a:pt x="526" y="52"/>
                    </a:lnTo>
                    <a:lnTo>
                      <a:pt x="530" y="52"/>
                    </a:lnTo>
                    <a:lnTo>
                      <a:pt x="531" y="50"/>
                    </a:lnTo>
                    <a:lnTo>
                      <a:pt x="530" y="50"/>
                    </a:lnTo>
                    <a:close/>
                    <a:moveTo>
                      <a:pt x="505" y="53"/>
                    </a:moveTo>
                    <a:lnTo>
                      <a:pt x="503" y="53"/>
                    </a:lnTo>
                    <a:lnTo>
                      <a:pt x="505" y="54"/>
                    </a:lnTo>
                    <a:lnTo>
                      <a:pt x="506" y="54"/>
                    </a:lnTo>
                    <a:lnTo>
                      <a:pt x="506" y="55"/>
                    </a:lnTo>
                    <a:lnTo>
                      <a:pt x="509" y="55"/>
                    </a:lnTo>
                    <a:lnTo>
                      <a:pt x="509" y="53"/>
                    </a:lnTo>
                    <a:lnTo>
                      <a:pt x="505" y="53"/>
                    </a:lnTo>
                    <a:close/>
                    <a:moveTo>
                      <a:pt x="545" y="40"/>
                    </a:moveTo>
                    <a:lnTo>
                      <a:pt x="545" y="38"/>
                    </a:lnTo>
                    <a:lnTo>
                      <a:pt x="543" y="37"/>
                    </a:lnTo>
                    <a:lnTo>
                      <a:pt x="542" y="37"/>
                    </a:lnTo>
                    <a:lnTo>
                      <a:pt x="540" y="40"/>
                    </a:lnTo>
                    <a:lnTo>
                      <a:pt x="539" y="40"/>
                    </a:lnTo>
                    <a:lnTo>
                      <a:pt x="539" y="38"/>
                    </a:lnTo>
                    <a:lnTo>
                      <a:pt x="538" y="38"/>
                    </a:lnTo>
                    <a:lnTo>
                      <a:pt x="537" y="40"/>
                    </a:lnTo>
                    <a:lnTo>
                      <a:pt x="541" y="43"/>
                    </a:lnTo>
                    <a:lnTo>
                      <a:pt x="536" y="43"/>
                    </a:lnTo>
                    <a:lnTo>
                      <a:pt x="534" y="44"/>
                    </a:lnTo>
                    <a:lnTo>
                      <a:pt x="535" y="46"/>
                    </a:lnTo>
                    <a:lnTo>
                      <a:pt x="534" y="46"/>
                    </a:lnTo>
                    <a:lnTo>
                      <a:pt x="531" y="47"/>
                    </a:lnTo>
                    <a:lnTo>
                      <a:pt x="532" y="46"/>
                    </a:lnTo>
                    <a:lnTo>
                      <a:pt x="533" y="43"/>
                    </a:lnTo>
                    <a:lnTo>
                      <a:pt x="534" y="43"/>
                    </a:lnTo>
                    <a:lnTo>
                      <a:pt x="534" y="42"/>
                    </a:lnTo>
                    <a:lnTo>
                      <a:pt x="535" y="42"/>
                    </a:lnTo>
                    <a:lnTo>
                      <a:pt x="535" y="40"/>
                    </a:lnTo>
                    <a:lnTo>
                      <a:pt x="537" y="37"/>
                    </a:lnTo>
                    <a:lnTo>
                      <a:pt x="536" y="37"/>
                    </a:lnTo>
                    <a:lnTo>
                      <a:pt x="534" y="38"/>
                    </a:lnTo>
                    <a:lnTo>
                      <a:pt x="533" y="38"/>
                    </a:lnTo>
                    <a:lnTo>
                      <a:pt x="535" y="36"/>
                    </a:lnTo>
                    <a:lnTo>
                      <a:pt x="535" y="34"/>
                    </a:lnTo>
                    <a:lnTo>
                      <a:pt x="533" y="34"/>
                    </a:lnTo>
                    <a:lnTo>
                      <a:pt x="535" y="34"/>
                    </a:lnTo>
                    <a:lnTo>
                      <a:pt x="533" y="32"/>
                    </a:lnTo>
                    <a:lnTo>
                      <a:pt x="535" y="31"/>
                    </a:lnTo>
                    <a:lnTo>
                      <a:pt x="536" y="31"/>
                    </a:lnTo>
                    <a:lnTo>
                      <a:pt x="536" y="30"/>
                    </a:lnTo>
                    <a:lnTo>
                      <a:pt x="535" y="28"/>
                    </a:lnTo>
                    <a:lnTo>
                      <a:pt x="537" y="27"/>
                    </a:lnTo>
                    <a:lnTo>
                      <a:pt x="537" y="24"/>
                    </a:lnTo>
                    <a:lnTo>
                      <a:pt x="537" y="22"/>
                    </a:lnTo>
                    <a:lnTo>
                      <a:pt x="536" y="22"/>
                    </a:lnTo>
                    <a:lnTo>
                      <a:pt x="536" y="23"/>
                    </a:lnTo>
                    <a:lnTo>
                      <a:pt x="534" y="24"/>
                    </a:lnTo>
                    <a:lnTo>
                      <a:pt x="535" y="25"/>
                    </a:lnTo>
                    <a:lnTo>
                      <a:pt x="535" y="26"/>
                    </a:lnTo>
                    <a:lnTo>
                      <a:pt x="529" y="25"/>
                    </a:lnTo>
                    <a:lnTo>
                      <a:pt x="527" y="25"/>
                    </a:lnTo>
                    <a:lnTo>
                      <a:pt x="528" y="25"/>
                    </a:lnTo>
                    <a:lnTo>
                      <a:pt x="527" y="27"/>
                    </a:lnTo>
                    <a:lnTo>
                      <a:pt x="527" y="28"/>
                    </a:lnTo>
                    <a:lnTo>
                      <a:pt x="524" y="30"/>
                    </a:lnTo>
                    <a:lnTo>
                      <a:pt x="524" y="31"/>
                    </a:lnTo>
                    <a:lnTo>
                      <a:pt x="522" y="32"/>
                    </a:lnTo>
                    <a:lnTo>
                      <a:pt x="524" y="33"/>
                    </a:lnTo>
                    <a:lnTo>
                      <a:pt x="527" y="35"/>
                    </a:lnTo>
                    <a:lnTo>
                      <a:pt x="529" y="35"/>
                    </a:lnTo>
                    <a:lnTo>
                      <a:pt x="529" y="36"/>
                    </a:lnTo>
                    <a:lnTo>
                      <a:pt x="524" y="36"/>
                    </a:lnTo>
                    <a:lnTo>
                      <a:pt x="520" y="33"/>
                    </a:lnTo>
                    <a:lnTo>
                      <a:pt x="520" y="31"/>
                    </a:lnTo>
                    <a:lnTo>
                      <a:pt x="518" y="31"/>
                    </a:lnTo>
                    <a:lnTo>
                      <a:pt x="517" y="31"/>
                    </a:lnTo>
                    <a:lnTo>
                      <a:pt x="516" y="35"/>
                    </a:lnTo>
                    <a:lnTo>
                      <a:pt x="514" y="36"/>
                    </a:lnTo>
                    <a:lnTo>
                      <a:pt x="512" y="39"/>
                    </a:lnTo>
                    <a:lnTo>
                      <a:pt x="516" y="39"/>
                    </a:lnTo>
                    <a:lnTo>
                      <a:pt x="517" y="37"/>
                    </a:lnTo>
                    <a:lnTo>
                      <a:pt x="518" y="39"/>
                    </a:lnTo>
                    <a:lnTo>
                      <a:pt x="522" y="38"/>
                    </a:lnTo>
                    <a:lnTo>
                      <a:pt x="520" y="40"/>
                    </a:lnTo>
                    <a:lnTo>
                      <a:pt x="522" y="41"/>
                    </a:lnTo>
                    <a:lnTo>
                      <a:pt x="524" y="38"/>
                    </a:lnTo>
                    <a:lnTo>
                      <a:pt x="525" y="38"/>
                    </a:lnTo>
                    <a:lnTo>
                      <a:pt x="525" y="39"/>
                    </a:lnTo>
                    <a:lnTo>
                      <a:pt x="525" y="42"/>
                    </a:lnTo>
                    <a:lnTo>
                      <a:pt x="526" y="42"/>
                    </a:lnTo>
                    <a:lnTo>
                      <a:pt x="526" y="44"/>
                    </a:lnTo>
                    <a:lnTo>
                      <a:pt x="530" y="45"/>
                    </a:lnTo>
                    <a:lnTo>
                      <a:pt x="529" y="46"/>
                    </a:lnTo>
                    <a:lnTo>
                      <a:pt x="528" y="48"/>
                    </a:lnTo>
                    <a:lnTo>
                      <a:pt x="529" y="48"/>
                    </a:lnTo>
                    <a:lnTo>
                      <a:pt x="531" y="49"/>
                    </a:lnTo>
                    <a:lnTo>
                      <a:pt x="532" y="48"/>
                    </a:lnTo>
                    <a:lnTo>
                      <a:pt x="533" y="48"/>
                    </a:lnTo>
                    <a:lnTo>
                      <a:pt x="533" y="50"/>
                    </a:lnTo>
                    <a:lnTo>
                      <a:pt x="538" y="51"/>
                    </a:lnTo>
                    <a:lnTo>
                      <a:pt x="539" y="52"/>
                    </a:lnTo>
                    <a:lnTo>
                      <a:pt x="534" y="52"/>
                    </a:lnTo>
                    <a:lnTo>
                      <a:pt x="535" y="54"/>
                    </a:lnTo>
                    <a:lnTo>
                      <a:pt x="533" y="53"/>
                    </a:lnTo>
                    <a:lnTo>
                      <a:pt x="532" y="55"/>
                    </a:lnTo>
                    <a:lnTo>
                      <a:pt x="532" y="56"/>
                    </a:lnTo>
                    <a:lnTo>
                      <a:pt x="533" y="57"/>
                    </a:lnTo>
                    <a:lnTo>
                      <a:pt x="531" y="59"/>
                    </a:lnTo>
                    <a:lnTo>
                      <a:pt x="530" y="56"/>
                    </a:lnTo>
                    <a:lnTo>
                      <a:pt x="526" y="55"/>
                    </a:lnTo>
                    <a:lnTo>
                      <a:pt x="525" y="56"/>
                    </a:lnTo>
                    <a:lnTo>
                      <a:pt x="525" y="57"/>
                    </a:lnTo>
                    <a:lnTo>
                      <a:pt x="524" y="57"/>
                    </a:lnTo>
                    <a:lnTo>
                      <a:pt x="525" y="59"/>
                    </a:lnTo>
                    <a:lnTo>
                      <a:pt x="523" y="60"/>
                    </a:lnTo>
                    <a:lnTo>
                      <a:pt x="523" y="57"/>
                    </a:lnTo>
                    <a:lnTo>
                      <a:pt x="522" y="56"/>
                    </a:lnTo>
                    <a:lnTo>
                      <a:pt x="518" y="56"/>
                    </a:lnTo>
                    <a:lnTo>
                      <a:pt x="519" y="58"/>
                    </a:lnTo>
                    <a:lnTo>
                      <a:pt x="516" y="57"/>
                    </a:lnTo>
                    <a:lnTo>
                      <a:pt x="516" y="58"/>
                    </a:lnTo>
                    <a:lnTo>
                      <a:pt x="515" y="58"/>
                    </a:lnTo>
                    <a:lnTo>
                      <a:pt x="514" y="56"/>
                    </a:lnTo>
                    <a:lnTo>
                      <a:pt x="512" y="56"/>
                    </a:lnTo>
                    <a:lnTo>
                      <a:pt x="508" y="57"/>
                    </a:lnTo>
                    <a:lnTo>
                      <a:pt x="506" y="59"/>
                    </a:lnTo>
                    <a:lnTo>
                      <a:pt x="507" y="60"/>
                    </a:lnTo>
                    <a:lnTo>
                      <a:pt x="507" y="64"/>
                    </a:lnTo>
                    <a:lnTo>
                      <a:pt x="508" y="65"/>
                    </a:lnTo>
                    <a:lnTo>
                      <a:pt x="511" y="65"/>
                    </a:lnTo>
                    <a:lnTo>
                      <a:pt x="511" y="66"/>
                    </a:lnTo>
                    <a:lnTo>
                      <a:pt x="511" y="67"/>
                    </a:lnTo>
                    <a:lnTo>
                      <a:pt x="514" y="66"/>
                    </a:lnTo>
                    <a:lnTo>
                      <a:pt x="517" y="65"/>
                    </a:lnTo>
                    <a:lnTo>
                      <a:pt x="517" y="67"/>
                    </a:lnTo>
                    <a:lnTo>
                      <a:pt x="518" y="67"/>
                    </a:lnTo>
                    <a:lnTo>
                      <a:pt x="520" y="66"/>
                    </a:lnTo>
                    <a:lnTo>
                      <a:pt x="520" y="64"/>
                    </a:lnTo>
                    <a:lnTo>
                      <a:pt x="521" y="63"/>
                    </a:lnTo>
                    <a:lnTo>
                      <a:pt x="522" y="65"/>
                    </a:lnTo>
                    <a:lnTo>
                      <a:pt x="522" y="66"/>
                    </a:lnTo>
                    <a:lnTo>
                      <a:pt x="523" y="66"/>
                    </a:lnTo>
                    <a:lnTo>
                      <a:pt x="522" y="68"/>
                    </a:lnTo>
                    <a:lnTo>
                      <a:pt x="519" y="68"/>
                    </a:lnTo>
                    <a:lnTo>
                      <a:pt x="518" y="69"/>
                    </a:lnTo>
                    <a:lnTo>
                      <a:pt x="525" y="73"/>
                    </a:lnTo>
                    <a:lnTo>
                      <a:pt x="525" y="72"/>
                    </a:lnTo>
                    <a:lnTo>
                      <a:pt x="525" y="70"/>
                    </a:lnTo>
                    <a:lnTo>
                      <a:pt x="526" y="70"/>
                    </a:lnTo>
                    <a:lnTo>
                      <a:pt x="527" y="71"/>
                    </a:lnTo>
                    <a:lnTo>
                      <a:pt x="528" y="70"/>
                    </a:lnTo>
                    <a:lnTo>
                      <a:pt x="529" y="67"/>
                    </a:lnTo>
                    <a:lnTo>
                      <a:pt x="532" y="68"/>
                    </a:lnTo>
                    <a:lnTo>
                      <a:pt x="532" y="67"/>
                    </a:lnTo>
                    <a:lnTo>
                      <a:pt x="531" y="65"/>
                    </a:lnTo>
                    <a:lnTo>
                      <a:pt x="527" y="62"/>
                    </a:lnTo>
                    <a:lnTo>
                      <a:pt x="528" y="62"/>
                    </a:lnTo>
                    <a:lnTo>
                      <a:pt x="532" y="63"/>
                    </a:lnTo>
                    <a:lnTo>
                      <a:pt x="534" y="68"/>
                    </a:lnTo>
                    <a:lnTo>
                      <a:pt x="536" y="66"/>
                    </a:lnTo>
                    <a:lnTo>
                      <a:pt x="536" y="64"/>
                    </a:lnTo>
                    <a:lnTo>
                      <a:pt x="538" y="63"/>
                    </a:lnTo>
                    <a:lnTo>
                      <a:pt x="539" y="64"/>
                    </a:lnTo>
                    <a:lnTo>
                      <a:pt x="536" y="69"/>
                    </a:lnTo>
                    <a:lnTo>
                      <a:pt x="535" y="71"/>
                    </a:lnTo>
                    <a:lnTo>
                      <a:pt x="536" y="72"/>
                    </a:lnTo>
                    <a:lnTo>
                      <a:pt x="538" y="69"/>
                    </a:lnTo>
                    <a:lnTo>
                      <a:pt x="537" y="74"/>
                    </a:lnTo>
                    <a:lnTo>
                      <a:pt x="539" y="75"/>
                    </a:lnTo>
                    <a:lnTo>
                      <a:pt x="539" y="79"/>
                    </a:lnTo>
                    <a:lnTo>
                      <a:pt x="536" y="88"/>
                    </a:lnTo>
                    <a:lnTo>
                      <a:pt x="534" y="89"/>
                    </a:lnTo>
                    <a:lnTo>
                      <a:pt x="534" y="92"/>
                    </a:lnTo>
                    <a:lnTo>
                      <a:pt x="533" y="92"/>
                    </a:lnTo>
                    <a:lnTo>
                      <a:pt x="534" y="93"/>
                    </a:lnTo>
                    <a:lnTo>
                      <a:pt x="534" y="94"/>
                    </a:lnTo>
                    <a:lnTo>
                      <a:pt x="532" y="95"/>
                    </a:lnTo>
                    <a:lnTo>
                      <a:pt x="531" y="96"/>
                    </a:lnTo>
                    <a:lnTo>
                      <a:pt x="532" y="98"/>
                    </a:lnTo>
                    <a:lnTo>
                      <a:pt x="531" y="98"/>
                    </a:lnTo>
                    <a:lnTo>
                      <a:pt x="530" y="99"/>
                    </a:lnTo>
                    <a:lnTo>
                      <a:pt x="531" y="100"/>
                    </a:lnTo>
                    <a:lnTo>
                      <a:pt x="533" y="101"/>
                    </a:lnTo>
                    <a:lnTo>
                      <a:pt x="534" y="100"/>
                    </a:lnTo>
                    <a:lnTo>
                      <a:pt x="535" y="100"/>
                    </a:lnTo>
                    <a:lnTo>
                      <a:pt x="536" y="101"/>
                    </a:lnTo>
                    <a:lnTo>
                      <a:pt x="535" y="103"/>
                    </a:lnTo>
                    <a:lnTo>
                      <a:pt x="535" y="104"/>
                    </a:lnTo>
                    <a:lnTo>
                      <a:pt x="537" y="103"/>
                    </a:lnTo>
                    <a:lnTo>
                      <a:pt x="539" y="104"/>
                    </a:lnTo>
                    <a:lnTo>
                      <a:pt x="540" y="103"/>
                    </a:lnTo>
                    <a:lnTo>
                      <a:pt x="538" y="102"/>
                    </a:lnTo>
                    <a:lnTo>
                      <a:pt x="539" y="98"/>
                    </a:lnTo>
                    <a:lnTo>
                      <a:pt x="538" y="97"/>
                    </a:lnTo>
                    <a:lnTo>
                      <a:pt x="539" y="97"/>
                    </a:lnTo>
                    <a:lnTo>
                      <a:pt x="541" y="94"/>
                    </a:lnTo>
                    <a:lnTo>
                      <a:pt x="541" y="92"/>
                    </a:lnTo>
                    <a:lnTo>
                      <a:pt x="540" y="90"/>
                    </a:lnTo>
                    <a:lnTo>
                      <a:pt x="544" y="91"/>
                    </a:lnTo>
                    <a:lnTo>
                      <a:pt x="545" y="90"/>
                    </a:lnTo>
                    <a:lnTo>
                      <a:pt x="543" y="88"/>
                    </a:lnTo>
                    <a:lnTo>
                      <a:pt x="543" y="86"/>
                    </a:lnTo>
                    <a:lnTo>
                      <a:pt x="545" y="86"/>
                    </a:lnTo>
                    <a:lnTo>
                      <a:pt x="547" y="84"/>
                    </a:lnTo>
                    <a:lnTo>
                      <a:pt x="545" y="83"/>
                    </a:lnTo>
                    <a:lnTo>
                      <a:pt x="544" y="80"/>
                    </a:lnTo>
                    <a:lnTo>
                      <a:pt x="545" y="79"/>
                    </a:lnTo>
                    <a:lnTo>
                      <a:pt x="543" y="79"/>
                    </a:lnTo>
                    <a:lnTo>
                      <a:pt x="545" y="77"/>
                    </a:lnTo>
                    <a:lnTo>
                      <a:pt x="545" y="76"/>
                    </a:lnTo>
                    <a:lnTo>
                      <a:pt x="546" y="76"/>
                    </a:lnTo>
                    <a:lnTo>
                      <a:pt x="546" y="74"/>
                    </a:lnTo>
                    <a:lnTo>
                      <a:pt x="548" y="75"/>
                    </a:lnTo>
                    <a:lnTo>
                      <a:pt x="548" y="74"/>
                    </a:lnTo>
                    <a:lnTo>
                      <a:pt x="550" y="73"/>
                    </a:lnTo>
                    <a:lnTo>
                      <a:pt x="547" y="71"/>
                    </a:lnTo>
                    <a:lnTo>
                      <a:pt x="549" y="70"/>
                    </a:lnTo>
                    <a:lnTo>
                      <a:pt x="549" y="68"/>
                    </a:lnTo>
                    <a:lnTo>
                      <a:pt x="545" y="70"/>
                    </a:lnTo>
                    <a:lnTo>
                      <a:pt x="547" y="66"/>
                    </a:lnTo>
                    <a:lnTo>
                      <a:pt x="546" y="66"/>
                    </a:lnTo>
                    <a:lnTo>
                      <a:pt x="544" y="68"/>
                    </a:lnTo>
                    <a:lnTo>
                      <a:pt x="546" y="65"/>
                    </a:lnTo>
                    <a:lnTo>
                      <a:pt x="543" y="64"/>
                    </a:lnTo>
                    <a:lnTo>
                      <a:pt x="545" y="63"/>
                    </a:lnTo>
                    <a:lnTo>
                      <a:pt x="544" y="61"/>
                    </a:lnTo>
                    <a:lnTo>
                      <a:pt x="545" y="60"/>
                    </a:lnTo>
                    <a:lnTo>
                      <a:pt x="547" y="61"/>
                    </a:lnTo>
                    <a:lnTo>
                      <a:pt x="547" y="64"/>
                    </a:lnTo>
                    <a:lnTo>
                      <a:pt x="548" y="64"/>
                    </a:lnTo>
                    <a:lnTo>
                      <a:pt x="549" y="62"/>
                    </a:lnTo>
                    <a:lnTo>
                      <a:pt x="553" y="61"/>
                    </a:lnTo>
                    <a:lnTo>
                      <a:pt x="552" y="60"/>
                    </a:lnTo>
                    <a:lnTo>
                      <a:pt x="550" y="60"/>
                    </a:lnTo>
                    <a:lnTo>
                      <a:pt x="549" y="60"/>
                    </a:lnTo>
                    <a:lnTo>
                      <a:pt x="550" y="58"/>
                    </a:lnTo>
                    <a:lnTo>
                      <a:pt x="552" y="57"/>
                    </a:lnTo>
                    <a:lnTo>
                      <a:pt x="554" y="55"/>
                    </a:lnTo>
                    <a:lnTo>
                      <a:pt x="548" y="54"/>
                    </a:lnTo>
                    <a:lnTo>
                      <a:pt x="546" y="52"/>
                    </a:lnTo>
                    <a:lnTo>
                      <a:pt x="552" y="52"/>
                    </a:lnTo>
                    <a:lnTo>
                      <a:pt x="555" y="51"/>
                    </a:lnTo>
                    <a:lnTo>
                      <a:pt x="555" y="48"/>
                    </a:lnTo>
                    <a:lnTo>
                      <a:pt x="552" y="48"/>
                    </a:lnTo>
                    <a:lnTo>
                      <a:pt x="550" y="50"/>
                    </a:lnTo>
                    <a:lnTo>
                      <a:pt x="550" y="48"/>
                    </a:lnTo>
                    <a:lnTo>
                      <a:pt x="556" y="44"/>
                    </a:lnTo>
                    <a:lnTo>
                      <a:pt x="557" y="42"/>
                    </a:lnTo>
                    <a:lnTo>
                      <a:pt x="556" y="42"/>
                    </a:lnTo>
                    <a:lnTo>
                      <a:pt x="554" y="42"/>
                    </a:lnTo>
                    <a:lnTo>
                      <a:pt x="552" y="45"/>
                    </a:lnTo>
                    <a:lnTo>
                      <a:pt x="552" y="44"/>
                    </a:lnTo>
                    <a:lnTo>
                      <a:pt x="551" y="44"/>
                    </a:lnTo>
                    <a:lnTo>
                      <a:pt x="550" y="46"/>
                    </a:lnTo>
                    <a:lnTo>
                      <a:pt x="549" y="46"/>
                    </a:lnTo>
                    <a:lnTo>
                      <a:pt x="548" y="48"/>
                    </a:lnTo>
                    <a:lnTo>
                      <a:pt x="548" y="46"/>
                    </a:lnTo>
                    <a:lnTo>
                      <a:pt x="544" y="46"/>
                    </a:lnTo>
                    <a:lnTo>
                      <a:pt x="545" y="46"/>
                    </a:lnTo>
                    <a:lnTo>
                      <a:pt x="542" y="46"/>
                    </a:lnTo>
                    <a:lnTo>
                      <a:pt x="545" y="44"/>
                    </a:lnTo>
                    <a:lnTo>
                      <a:pt x="548" y="44"/>
                    </a:lnTo>
                    <a:lnTo>
                      <a:pt x="547" y="43"/>
                    </a:lnTo>
                    <a:lnTo>
                      <a:pt x="547" y="42"/>
                    </a:lnTo>
                    <a:lnTo>
                      <a:pt x="547" y="41"/>
                    </a:lnTo>
                    <a:lnTo>
                      <a:pt x="545" y="40"/>
                    </a:lnTo>
                    <a:close/>
                  </a:path>
                </a:pathLst>
              </a:custGeom>
              <a:solidFill>
                <a:schemeClr val="tx1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64" name="Slovakia">
                <a:extLst>
                  <a:ext uri="{FF2B5EF4-FFF2-40B4-BE49-F238E27FC236}">
                    <a16:creationId xmlns:a16="http://schemas.microsoft.com/office/drawing/2014/main" id="{4BFB232A-C2A5-433A-8CF4-116F084A3F5C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313846" y="3606129"/>
                <a:ext cx="501074" cy="253376"/>
              </a:xfrm>
              <a:custGeom>
                <a:avLst/>
                <a:gdLst>
                  <a:gd name="T0" fmla="*/ 42 w 446"/>
                  <a:gd name="T1" fmla="*/ 174 h 198"/>
                  <a:gd name="T2" fmla="*/ 68 w 446"/>
                  <a:gd name="T3" fmla="*/ 194 h 198"/>
                  <a:gd name="T4" fmla="*/ 115 w 446"/>
                  <a:gd name="T5" fmla="*/ 198 h 198"/>
                  <a:gd name="T6" fmla="*/ 147 w 446"/>
                  <a:gd name="T7" fmla="*/ 193 h 198"/>
                  <a:gd name="T8" fmla="*/ 153 w 446"/>
                  <a:gd name="T9" fmla="*/ 185 h 198"/>
                  <a:gd name="T10" fmla="*/ 150 w 446"/>
                  <a:gd name="T11" fmla="*/ 173 h 198"/>
                  <a:gd name="T12" fmla="*/ 157 w 446"/>
                  <a:gd name="T13" fmla="*/ 165 h 198"/>
                  <a:gd name="T14" fmla="*/ 173 w 446"/>
                  <a:gd name="T15" fmla="*/ 164 h 198"/>
                  <a:gd name="T16" fmla="*/ 206 w 446"/>
                  <a:gd name="T17" fmla="*/ 160 h 198"/>
                  <a:gd name="T18" fmla="*/ 218 w 446"/>
                  <a:gd name="T19" fmla="*/ 146 h 198"/>
                  <a:gd name="T20" fmla="*/ 230 w 446"/>
                  <a:gd name="T21" fmla="*/ 154 h 198"/>
                  <a:gd name="T22" fmla="*/ 240 w 446"/>
                  <a:gd name="T23" fmla="*/ 157 h 198"/>
                  <a:gd name="T24" fmla="*/ 258 w 446"/>
                  <a:gd name="T25" fmla="*/ 143 h 198"/>
                  <a:gd name="T26" fmla="*/ 269 w 446"/>
                  <a:gd name="T27" fmla="*/ 143 h 198"/>
                  <a:gd name="T28" fmla="*/ 281 w 446"/>
                  <a:gd name="T29" fmla="*/ 125 h 198"/>
                  <a:gd name="T30" fmla="*/ 297 w 446"/>
                  <a:gd name="T31" fmla="*/ 111 h 198"/>
                  <a:gd name="T32" fmla="*/ 320 w 446"/>
                  <a:gd name="T33" fmla="*/ 115 h 198"/>
                  <a:gd name="T34" fmla="*/ 347 w 446"/>
                  <a:gd name="T35" fmla="*/ 116 h 198"/>
                  <a:gd name="T36" fmla="*/ 365 w 446"/>
                  <a:gd name="T37" fmla="*/ 113 h 198"/>
                  <a:gd name="T38" fmla="*/ 385 w 446"/>
                  <a:gd name="T39" fmla="*/ 134 h 198"/>
                  <a:gd name="T40" fmla="*/ 405 w 446"/>
                  <a:gd name="T41" fmla="*/ 130 h 198"/>
                  <a:gd name="T42" fmla="*/ 415 w 446"/>
                  <a:gd name="T43" fmla="*/ 110 h 198"/>
                  <a:gd name="T44" fmla="*/ 430 w 446"/>
                  <a:gd name="T45" fmla="*/ 90 h 198"/>
                  <a:gd name="T46" fmla="*/ 439 w 446"/>
                  <a:gd name="T47" fmla="*/ 67 h 198"/>
                  <a:gd name="T48" fmla="*/ 446 w 446"/>
                  <a:gd name="T49" fmla="*/ 56 h 198"/>
                  <a:gd name="T50" fmla="*/ 426 w 446"/>
                  <a:gd name="T51" fmla="*/ 50 h 198"/>
                  <a:gd name="T52" fmla="*/ 412 w 446"/>
                  <a:gd name="T53" fmla="*/ 44 h 198"/>
                  <a:gd name="T54" fmla="*/ 390 w 446"/>
                  <a:gd name="T55" fmla="*/ 24 h 198"/>
                  <a:gd name="T56" fmla="*/ 379 w 446"/>
                  <a:gd name="T57" fmla="*/ 21 h 198"/>
                  <a:gd name="T58" fmla="*/ 363 w 446"/>
                  <a:gd name="T59" fmla="*/ 20 h 198"/>
                  <a:gd name="T60" fmla="*/ 346 w 446"/>
                  <a:gd name="T61" fmla="*/ 16 h 198"/>
                  <a:gd name="T62" fmla="*/ 329 w 446"/>
                  <a:gd name="T63" fmla="*/ 21 h 198"/>
                  <a:gd name="T64" fmla="*/ 318 w 446"/>
                  <a:gd name="T65" fmla="*/ 34 h 198"/>
                  <a:gd name="T66" fmla="*/ 309 w 446"/>
                  <a:gd name="T67" fmla="*/ 28 h 198"/>
                  <a:gd name="T68" fmla="*/ 300 w 446"/>
                  <a:gd name="T69" fmla="*/ 21 h 198"/>
                  <a:gd name="T70" fmla="*/ 286 w 446"/>
                  <a:gd name="T71" fmla="*/ 23 h 198"/>
                  <a:gd name="T72" fmla="*/ 276 w 446"/>
                  <a:gd name="T73" fmla="*/ 23 h 198"/>
                  <a:gd name="T74" fmla="*/ 263 w 446"/>
                  <a:gd name="T75" fmla="*/ 29 h 198"/>
                  <a:gd name="T76" fmla="*/ 254 w 446"/>
                  <a:gd name="T77" fmla="*/ 45 h 198"/>
                  <a:gd name="T78" fmla="*/ 242 w 446"/>
                  <a:gd name="T79" fmla="*/ 40 h 198"/>
                  <a:gd name="T80" fmla="*/ 230 w 446"/>
                  <a:gd name="T81" fmla="*/ 44 h 198"/>
                  <a:gd name="T82" fmla="*/ 231 w 446"/>
                  <a:gd name="T83" fmla="*/ 33 h 198"/>
                  <a:gd name="T84" fmla="*/ 218 w 446"/>
                  <a:gd name="T85" fmla="*/ 22 h 198"/>
                  <a:gd name="T86" fmla="*/ 211 w 446"/>
                  <a:gd name="T87" fmla="*/ 9 h 198"/>
                  <a:gd name="T88" fmla="*/ 203 w 446"/>
                  <a:gd name="T89" fmla="*/ 2 h 198"/>
                  <a:gd name="T90" fmla="*/ 187 w 446"/>
                  <a:gd name="T91" fmla="*/ 11 h 198"/>
                  <a:gd name="T92" fmla="*/ 181 w 446"/>
                  <a:gd name="T93" fmla="*/ 22 h 198"/>
                  <a:gd name="T94" fmla="*/ 171 w 446"/>
                  <a:gd name="T95" fmla="*/ 24 h 198"/>
                  <a:gd name="T96" fmla="*/ 166 w 446"/>
                  <a:gd name="T97" fmla="*/ 15 h 198"/>
                  <a:gd name="T98" fmla="*/ 148 w 446"/>
                  <a:gd name="T99" fmla="*/ 9 h 198"/>
                  <a:gd name="T100" fmla="*/ 117 w 446"/>
                  <a:gd name="T101" fmla="*/ 32 h 198"/>
                  <a:gd name="T102" fmla="*/ 91 w 446"/>
                  <a:gd name="T103" fmla="*/ 64 h 198"/>
                  <a:gd name="T104" fmla="*/ 46 w 446"/>
                  <a:gd name="T105" fmla="*/ 90 h 198"/>
                  <a:gd name="T106" fmla="*/ 26 w 446"/>
                  <a:gd name="T107" fmla="*/ 80 h 198"/>
                  <a:gd name="T108" fmla="*/ 12 w 446"/>
                  <a:gd name="T109" fmla="*/ 99 h 198"/>
                  <a:gd name="T110" fmla="*/ 7 w 446"/>
                  <a:gd name="T111" fmla="*/ 114 h 198"/>
                  <a:gd name="T112" fmla="*/ 1 w 446"/>
                  <a:gd name="T113" fmla="*/ 128 h 198"/>
                  <a:gd name="T114" fmla="*/ 4 w 446"/>
                  <a:gd name="T115" fmla="*/ 137 h 198"/>
                  <a:gd name="T116" fmla="*/ 16 w 446"/>
                  <a:gd name="T117" fmla="*/ 156 h 198"/>
                  <a:gd name="T118" fmla="*/ 19 w 446"/>
                  <a:gd name="T119" fmla="*/ 163 h 198"/>
                  <a:gd name="T120" fmla="*/ 26 w 446"/>
                  <a:gd name="T121" fmla="*/ 169 h 19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46"/>
                  <a:gd name="T184" fmla="*/ 0 h 198"/>
                  <a:gd name="T185" fmla="*/ 446 w 446"/>
                  <a:gd name="T186" fmla="*/ 198 h 19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46" h="198">
                    <a:moveTo>
                      <a:pt x="32" y="168"/>
                    </a:moveTo>
                    <a:lnTo>
                      <a:pt x="33" y="170"/>
                    </a:lnTo>
                    <a:lnTo>
                      <a:pt x="34" y="170"/>
                    </a:lnTo>
                    <a:lnTo>
                      <a:pt x="39" y="170"/>
                    </a:lnTo>
                    <a:lnTo>
                      <a:pt x="40" y="172"/>
                    </a:lnTo>
                    <a:lnTo>
                      <a:pt x="42" y="174"/>
                    </a:lnTo>
                    <a:lnTo>
                      <a:pt x="44" y="176"/>
                    </a:lnTo>
                    <a:lnTo>
                      <a:pt x="49" y="182"/>
                    </a:lnTo>
                    <a:lnTo>
                      <a:pt x="54" y="185"/>
                    </a:lnTo>
                    <a:lnTo>
                      <a:pt x="57" y="189"/>
                    </a:lnTo>
                    <a:lnTo>
                      <a:pt x="61" y="188"/>
                    </a:lnTo>
                    <a:lnTo>
                      <a:pt x="68" y="194"/>
                    </a:lnTo>
                    <a:lnTo>
                      <a:pt x="74" y="197"/>
                    </a:lnTo>
                    <a:lnTo>
                      <a:pt x="83" y="197"/>
                    </a:lnTo>
                    <a:lnTo>
                      <a:pt x="90" y="195"/>
                    </a:lnTo>
                    <a:lnTo>
                      <a:pt x="91" y="196"/>
                    </a:lnTo>
                    <a:lnTo>
                      <a:pt x="98" y="196"/>
                    </a:lnTo>
                    <a:lnTo>
                      <a:pt x="115" y="198"/>
                    </a:lnTo>
                    <a:lnTo>
                      <a:pt x="123" y="197"/>
                    </a:lnTo>
                    <a:lnTo>
                      <a:pt x="125" y="195"/>
                    </a:lnTo>
                    <a:lnTo>
                      <a:pt x="130" y="196"/>
                    </a:lnTo>
                    <a:lnTo>
                      <a:pt x="134" y="194"/>
                    </a:lnTo>
                    <a:lnTo>
                      <a:pt x="142" y="196"/>
                    </a:lnTo>
                    <a:lnTo>
                      <a:pt x="147" y="193"/>
                    </a:lnTo>
                    <a:lnTo>
                      <a:pt x="149" y="190"/>
                    </a:lnTo>
                    <a:lnTo>
                      <a:pt x="157" y="190"/>
                    </a:lnTo>
                    <a:lnTo>
                      <a:pt x="157" y="188"/>
                    </a:lnTo>
                    <a:lnTo>
                      <a:pt x="155" y="187"/>
                    </a:lnTo>
                    <a:lnTo>
                      <a:pt x="154" y="186"/>
                    </a:lnTo>
                    <a:lnTo>
                      <a:pt x="153" y="185"/>
                    </a:lnTo>
                    <a:lnTo>
                      <a:pt x="152" y="184"/>
                    </a:lnTo>
                    <a:lnTo>
                      <a:pt x="150" y="183"/>
                    </a:lnTo>
                    <a:lnTo>
                      <a:pt x="150" y="182"/>
                    </a:lnTo>
                    <a:lnTo>
                      <a:pt x="150" y="180"/>
                    </a:lnTo>
                    <a:lnTo>
                      <a:pt x="151" y="174"/>
                    </a:lnTo>
                    <a:lnTo>
                      <a:pt x="150" y="173"/>
                    </a:lnTo>
                    <a:lnTo>
                      <a:pt x="149" y="172"/>
                    </a:lnTo>
                    <a:lnTo>
                      <a:pt x="153" y="171"/>
                    </a:lnTo>
                    <a:lnTo>
                      <a:pt x="155" y="170"/>
                    </a:lnTo>
                    <a:lnTo>
                      <a:pt x="154" y="168"/>
                    </a:lnTo>
                    <a:lnTo>
                      <a:pt x="155" y="166"/>
                    </a:lnTo>
                    <a:lnTo>
                      <a:pt x="157" y="165"/>
                    </a:lnTo>
                    <a:lnTo>
                      <a:pt x="159" y="166"/>
                    </a:lnTo>
                    <a:lnTo>
                      <a:pt x="160" y="164"/>
                    </a:lnTo>
                    <a:lnTo>
                      <a:pt x="165" y="164"/>
                    </a:lnTo>
                    <a:lnTo>
                      <a:pt x="169" y="163"/>
                    </a:lnTo>
                    <a:lnTo>
                      <a:pt x="171" y="162"/>
                    </a:lnTo>
                    <a:lnTo>
                      <a:pt x="173" y="164"/>
                    </a:lnTo>
                    <a:lnTo>
                      <a:pt x="185" y="164"/>
                    </a:lnTo>
                    <a:lnTo>
                      <a:pt x="188" y="165"/>
                    </a:lnTo>
                    <a:lnTo>
                      <a:pt x="190" y="163"/>
                    </a:lnTo>
                    <a:lnTo>
                      <a:pt x="197" y="161"/>
                    </a:lnTo>
                    <a:lnTo>
                      <a:pt x="205" y="161"/>
                    </a:lnTo>
                    <a:lnTo>
                      <a:pt x="206" y="160"/>
                    </a:lnTo>
                    <a:lnTo>
                      <a:pt x="208" y="152"/>
                    </a:lnTo>
                    <a:lnTo>
                      <a:pt x="209" y="150"/>
                    </a:lnTo>
                    <a:lnTo>
                      <a:pt x="209" y="149"/>
                    </a:lnTo>
                    <a:lnTo>
                      <a:pt x="211" y="148"/>
                    </a:lnTo>
                    <a:lnTo>
                      <a:pt x="214" y="148"/>
                    </a:lnTo>
                    <a:lnTo>
                      <a:pt x="218" y="146"/>
                    </a:lnTo>
                    <a:lnTo>
                      <a:pt x="222" y="146"/>
                    </a:lnTo>
                    <a:lnTo>
                      <a:pt x="223" y="149"/>
                    </a:lnTo>
                    <a:lnTo>
                      <a:pt x="226" y="148"/>
                    </a:lnTo>
                    <a:lnTo>
                      <a:pt x="230" y="149"/>
                    </a:lnTo>
                    <a:lnTo>
                      <a:pt x="230" y="150"/>
                    </a:lnTo>
                    <a:lnTo>
                      <a:pt x="230" y="154"/>
                    </a:lnTo>
                    <a:lnTo>
                      <a:pt x="231" y="154"/>
                    </a:lnTo>
                    <a:lnTo>
                      <a:pt x="235" y="153"/>
                    </a:lnTo>
                    <a:lnTo>
                      <a:pt x="237" y="154"/>
                    </a:lnTo>
                    <a:lnTo>
                      <a:pt x="238" y="155"/>
                    </a:lnTo>
                    <a:lnTo>
                      <a:pt x="239" y="156"/>
                    </a:lnTo>
                    <a:lnTo>
                      <a:pt x="240" y="157"/>
                    </a:lnTo>
                    <a:lnTo>
                      <a:pt x="247" y="152"/>
                    </a:lnTo>
                    <a:lnTo>
                      <a:pt x="251" y="152"/>
                    </a:lnTo>
                    <a:lnTo>
                      <a:pt x="252" y="150"/>
                    </a:lnTo>
                    <a:lnTo>
                      <a:pt x="257" y="148"/>
                    </a:lnTo>
                    <a:lnTo>
                      <a:pt x="257" y="146"/>
                    </a:lnTo>
                    <a:lnTo>
                      <a:pt x="258" y="143"/>
                    </a:lnTo>
                    <a:lnTo>
                      <a:pt x="261" y="143"/>
                    </a:lnTo>
                    <a:lnTo>
                      <a:pt x="265" y="142"/>
                    </a:lnTo>
                    <a:lnTo>
                      <a:pt x="265" y="141"/>
                    </a:lnTo>
                    <a:lnTo>
                      <a:pt x="268" y="143"/>
                    </a:lnTo>
                    <a:lnTo>
                      <a:pt x="269" y="143"/>
                    </a:lnTo>
                    <a:lnTo>
                      <a:pt x="272" y="141"/>
                    </a:lnTo>
                    <a:lnTo>
                      <a:pt x="275" y="138"/>
                    </a:lnTo>
                    <a:lnTo>
                      <a:pt x="276" y="135"/>
                    </a:lnTo>
                    <a:lnTo>
                      <a:pt x="278" y="133"/>
                    </a:lnTo>
                    <a:lnTo>
                      <a:pt x="279" y="128"/>
                    </a:lnTo>
                    <a:lnTo>
                      <a:pt x="281" y="125"/>
                    </a:lnTo>
                    <a:lnTo>
                      <a:pt x="282" y="122"/>
                    </a:lnTo>
                    <a:lnTo>
                      <a:pt x="286" y="119"/>
                    </a:lnTo>
                    <a:lnTo>
                      <a:pt x="286" y="114"/>
                    </a:lnTo>
                    <a:lnTo>
                      <a:pt x="291" y="113"/>
                    </a:lnTo>
                    <a:lnTo>
                      <a:pt x="293" y="113"/>
                    </a:lnTo>
                    <a:lnTo>
                      <a:pt x="297" y="111"/>
                    </a:lnTo>
                    <a:lnTo>
                      <a:pt x="303" y="110"/>
                    </a:lnTo>
                    <a:lnTo>
                      <a:pt x="306" y="111"/>
                    </a:lnTo>
                    <a:lnTo>
                      <a:pt x="311" y="110"/>
                    </a:lnTo>
                    <a:lnTo>
                      <a:pt x="315" y="112"/>
                    </a:lnTo>
                    <a:lnTo>
                      <a:pt x="318" y="112"/>
                    </a:lnTo>
                    <a:lnTo>
                      <a:pt x="320" y="115"/>
                    </a:lnTo>
                    <a:lnTo>
                      <a:pt x="325" y="115"/>
                    </a:lnTo>
                    <a:lnTo>
                      <a:pt x="330" y="116"/>
                    </a:lnTo>
                    <a:lnTo>
                      <a:pt x="334" y="119"/>
                    </a:lnTo>
                    <a:lnTo>
                      <a:pt x="338" y="116"/>
                    </a:lnTo>
                    <a:lnTo>
                      <a:pt x="341" y="115"/>
                    </a:lnTo>
                    <a:lnTo>
                      <a:pt x="347" y="116"/>
                    </a:lnTo>
                    <a:lnTo>
                      <a:pt x="349" y="112"/>
                    </a:lnTo>
                    <a:lnTo>
                      <a:pt x="357" y="111"/>
                    </a:lnTo>
                    <a:lnTo>
                      <a:pt x="358" y="111"/>
                    </a:lnTo>
                    <a:lnTo>
                      <a:pt x="358" y="110"/>
                    </a:lnTo>
                    <a:lnTo>
                      <a:pt x="359" y="110"/>
                    </a:lnTo>
                    <a:lnTo>
                      <a:pt x="365" y="113"/>
                    </a:lnTo>
                    <a:lnTo>
                      <a:pt x="366" y="117"/>
                    </a:lnTo>
                    <a:lnTo>
                      <a:pt x="373" y="117"/>
                    </a:lnTo>
                    <a:lnTo>
                      <a:pt x="374" y="123"/>
                    </a:lnTo>
                    <a:lnTo>
                      <a:pt x="375" y="124"/>
                    </a:lnTo>
                    <a:lnTo>
                      <a:pt x="380" y="132"/>
                    </a:lnTo>
                    <a:lnTo>
                      <a:pt x="385" y="134"/>
                    </a:lnTo>
                    <a:lnTo>
                      <a:pt x="388" y="134"/>
                    </a:lnTo>
                    <a:lnTo>
                      <a:pt x="389" y="134"/>
                    </a:lnTo>
                    <a:lnTo>
                      <a:pt x="391" y="132"/>
                    </a:lnTo>
                    <a:lnTo>
                      <a:pt x="394" y="132"/>
                    </a:lnTo>
                    <a:lnTo>
                      <a:pt x="398" y="130"/>
                    </a:lnTo>
                    <a:lnTo>
                      <a:pt x="405" y="130"/>
                    </a:lnTo>
                    <a:lnTo>
                      <a:pt x="410" y="131"/>
                    </a:lnTo>
                    <a:lnTo>
                      <a:pt x="414" y="127"/>
                    </a:lnTo>
                    <a:lnTo>
                      <a:pt x="415" y="118"/>
                    </a:lnTo>
                    <a:lnTo>
                      <a:pt x="416" y="117"/>
                    </a:lnTo>
                    <a:lnTo>
                      <a:pt x="415" y="114"/>
                    </a:lnTo>
                    <a:lnTo>
                      <a:pt x="415" y="110"/>
                    </a:lnTo>
                    <a:lnTo>
                      <a:pt x="420" y="105"/>
                    </a:lnTo>
                    <a:lnTo>
                      <a:pt x="423" y="101"/>
                    </a:lnTo>
                    <a:lnTo>
                      <a:pt x="427" y="99"/>
                    </a:lnTo>
                    <a:lnTo>
                      <a:pt x="429" y="97"/>
                    </a:lnTo>
                    <a:lnTo>
                      <a:pt x="430" y="94"/>
                    </a:lnTo>
                    <a:lnTo>
                      <a:pt x="430" y="90"/>
                    </a:lnTo>
                    <a:lnTo>
                      <a:pt x="433" y="86"/>
                    </a:lnTo>
                    <a:lnTo>
                      <a:pt x="432" y="80"/>
                    </a:lnTo>
                    <a:lnTo>
                      <a:pt x="437" y="75"/>
                    </a:lnTo>
                    <a:lnTo>
                      <a:pt x="437" y="72"/>
                    </a:lnTo>
                    <a:lnTo>
                      <a:pt x="439" y="70"/>
                    </a:lnTo>
                    <a:lnTo>
                      <a:pt x="439" y="67"/>
                    </a:lnTo>
                    <a:lnTo>
                      <a:pt x="441" y="66"/>
                    </a:lnTo>
                    <a:lnTo>
                      <a:pt x="445" y="65"/>
                    </a:lnTo>
                    <a:lnTo>
                      <a:pt x="445" y="62"/>
                    </a:lnTo>
                    <a:lnTo>
                      <a:pt x="446" y="60"/>
                    </a:lnTo>
                    <a:lnTo>
                      <a:pt x="446" y="58"/>
                    </a:lnTo>
                    <a:lnTo>
                      <a:pt x="446" y="56"/>
                    </a:lnTo>
                    <a:lnTo>
                      <a:pt x="444" y="55"/>
                    </a:lnTo>
                    <a:lnTo>
                      <a:pt x="441" y="56"/>
                    </a:lnTo>
                    <a:lnTo>
                      <a:pt x="439" y="54"/>
                    </a:lnTo>
                    <a:lnTo>
                      <a:pt x="435" y="54"/>
                    </a:lnTo>
                    <a:lnTo>
                      <a:pt x="430" y="50"/>
                    </a:lnTo>
                    <a:lnTo>
                      <a:pt x="426" y="50"/>
                    </a:lnTo>
                    <a:lnTo>
                      <a:pt x="421" y="49"/>
                    </a:lnTo>
                    <a:lnTo>
                      <a:pt x="420" y="48"/>
                    </a:lnTo>
                    <a:lnTo>
                      <a:pt x="421" y="46"/>
                    </a:lnTo>
                    <a:lnTo>
                      <a:pt x="420" y="46"/>
                    </a:lnTo>
                    <a:lnTo>
                      <a:pt x="417" y="46"/>
                    </a:lnTo>
                    <a:lnTo>
                      <a:pt x="412" y="44"/>
                    </a:lnTo>
                    <a:lnTo>
                      <a:pt x="405" y="42"/>
                    </a:lnTo>
                    <a:lnTo>
                      <a:pt x="404" y="36"/>
                    </a:lnTo>
                    <a:lnTo>
                      <a:pt x="402" y="34"/>
                    </a:lnTo>
                    <a:lnTo>
                      <a:pt x="399" y="29"/>
                    </a:lnTo>
                    <a:lnTo>
                      <a:pt x="397" y="29"/>
                    </a:lnTo>
                    <a:lnTo>
                      <a:pt x="390" y="24"/>
                    </a:lnTo>
                    <a:lnTo>
                      <a:pt x="387" y="25"/>
                    </a:lnTo>
                    <a:lnTo>
                      <a:pt x="385" y="27"/>
                    </a:lnTo>
                    <a:lnTo>
                      <a:pt x="383" y="24"/>
                    </a:lnTo>
                    <a:lnTo>
                      <a:pt x="381" y="24"/>
                    </a:lnTo>
                    <a:lnTo>
                      <a:pt x="380" y="21"/>
                    </a:lnTo>
                    <a:lnTo>
                      <a:pt x="379" y="21"/>
                    </a:lnTo>
                    <a:lnTo>
                      <a:pt x="377" y="21"/>
                    </a:lnTo>
                    <a:lnTo>
                      <a:pt x="373" y="19"/>
                    </a:lnTo>
                    <a:lnTo>
                      <a:pt x="371" y="20"/>
                    </a:lnTo>
                    <a:lnTo>
                      <a:pt x="366" y="20"/>
                    </a:lnTo>
                    <a:lnTo>
                      <a:pt x="365" y="21"/>
                    </a:lnTo>
                    <a:lnTo>
                      <a:pt x="363" y="20"/>
                    </a:lnTo>
                    <a:lnTo>
                      <a:pt x="360" y="21"/>
                    </a:lnTo>
                    <a:lnTo>
                      <a:pt x="356" y="20"/>
                    </a:lnTo>
                    <a:lnTo>
                      <a:pt x="353" y="20"/>
                    </a:lnTo>
                    <a:lnTo>
                      <a:pt x="350" y="18"/>
                    </a:lnTo>
                    <a:lnTo>
                      <a:pt x="348" y="18"/>
                    </a:lnTo>
                    <a:lnTo>
                      <a:pt x="346" y="16"/>
                    </a:lnTo>
                    <a:lnTo>
                      <a:pt x="341" y="22"/>
                    </a:lnTo>
                    <a:lnTo>
                      <a:pt x="338" y="21"/>
                    </a:lnTo>
                    <a:lnTo>
                      <a:pt x="336" y="20"/>
                    </a:lnTo>
                    <a:lnTo>
                      <a:pt x="335" y="19"/>
                    </a:lnTo>
                    <a:lnTo>
                      <a:pt x="330" y="20"/>
                    </a:lnTo>
                    <a:lnTo>
                      <a:pt x="329" y="21"/>
                    </a:lnTo>
                    <a:lnTo>
                      <a:pt x="329" y="22"/>
                    </a:lnTo>
                    <a:lnTo>
                      <a:pt x="332" y="25"/>
                    </a:lnTo>
                    <a:lnTo>
                      <a:pt x="332" y="26"/>
                    </a:lnTo>
                    <a:lnTo>
                      <a:pt x="327" y="27"/>
                    </a:lnTo>
                    <a:lnTo>
                      <a:pt x="323" y="32"/>
                    </a:lnTo>
                    <a:lnTo>
                      <a:pt x="318" y="34"/>
                    </a:lnTo>
                    <a:lnTo>
                      <a:pt x="317" y="33"/>
                    </a:lnTo>
                    <a:lnTo>
                      <a:pt x="316" y="31"/>
                    </a:lnTo>
                    <a:lnTo>
                      <a:pt x="315" y="31"/>
                    </a:lnTo>
                    <a:lnTo>
                      <a:pt x="314" y="30"/>
                    </a:lnTo>
                    <a:lnTo>
                      <a:pt x="310" y="30"/>
                    </a:lnTo>
                    <a:lnTo>
                      <a:pt x="309" y="28"/>
                    </a:lnTo>
                    <a:lnTo>
                      <a:pt x="307" y="28"/>
                    </a:lnTo>
                    <a:lnTo>
                      <a:pt x="307" y="26"/>
                    </a:lnTo>
                    <a:lnTo>
                      <a:pt x="305" y="26"/>
                    </a:lnTo>
                    <a:lnTo>
                      <a:pt x="304" y="23"/>
                    </a:lnTo>
                    <a:lnTo>
                      <a:pt x="301" y="21"/>
                    </a:lnTo>
                    <a:lnTo>
                      <a:pt x="300" y="21"/>
                    </a:lnTo>
                    <a:lnTo>
                      <a:pt x="298" y="22"/>
                    </a:lnTo>
                    <a:lnTo>
                      <a:pt x="295" y="21"/>
                    </a:lnTo>
                    <a:lnTo>
                      <a:pt x="294" y="23"/>
                    </a:lnTo>
                    <a:lnTo>
                      <a:pt x="291" y="25"/>
                    </a:lnTo>
                    <a:lnTo>
                      <a:pt x="287" y="24"/>
                    </a:lnTo>
                    <a:lnTo>
                      <a:pt x="286" y="23"/>
                    </a:lnTo>
                    <a:lnTo>
                      <a:pt x="282" y="21"/>
                    </a:lnTo>
                    <a:lnTo>
                      <a:pt x="281" y="21"/>
                    </a:lnTo>
                    <a:lnTo>
                      <a:pt x="281" y="24"/>
                    </a:lnTo>
                    <a:lnTo>
                      <a:pt x="279" y="23"/>
                    </a:lnTo>
                    <a:lnTo>
                      <a:pt x="278" y="24"/>
                    </a:lnTo>
                    <a:lnTo>
                      <a:pt x="276" y="23"/>
                    </a:lnTo>
                    <a:lnTo>
                      <a:pt x="272" y="23"/>
                    </a:lnTo>
                    <a:lnTo>
                      <a:pt x="271" y="23"/>
                    </a:lnTo>
                    <a:lnTo>
                      <a:pt x="272" y="24"/>
                    </a:lnTo>
                    <a:lnTo>
                      <a:pt x="271" y="26"/>
                    </a:lnTo>
                    <a:lnTo>
                      <a:pt x="271" y="28"/>
                    </a:lnTo>
                    <a:lnTo>
                      <a:pt x="263" y="29"/>
                    </a:lnTo>
                    <a:lnTo>
                      <a:pt x="261" y="30"/>
                    </a:lnTo>
                    <a:lnTo>
                      <a:pt x="260" y="32"/>
                    </a:lnTo>
                    <a:lnTo>
                      <a:pt x="258" y="31"/>
                    </a:lnTo>
                    <a:lnTo>
                      <a:pt x="257" y="36"/>
                    </a:lnTo>
                    <a:lnTo>
                      <a:pt x="254" y="38"/>
                    </a:lnTo>
                    <a:lnTo>
                      <a:pt x="254" y="45"/>
                    </a:lnTo>
                    <a:lnTo>
                      <a:pt x="253" y="46"/>
                    </a:lnTo>
                    <a:lnTo>
                      <a:pt x="249" y="45"/>
                    </a:lnTo>
                    <a:lnTo>
                      <a:pt x="246" y="42"/>
                    </a:lnTo>
                    <a:lnTo>
                      <a:pt x="247" y="42"/>
                    </a:lnTo>
                    <a:lnTo>
                      <a:pt x="246" y="41"/>
                    </a:lnTo>
                    <a:lnTo>
                      <a:pt x="242" y="40"/>
                    </a:lnTo>
                    <a:lnTo>
                      <a:pt x="240" y="41"/>
                    </a:lnTo>
                    <a:lnTo>
                      <a:pt x="238" y="43"/>
                    </a:lnTo>
                    <a:lnTo>
                      <a:pt x="237" y="44"/>
                    </a:lnTo>
                    <a:lnTo>
                      <a:pt x="234" y="44"/>
                    </a:lnTo>
                    <a:lnTo>
                      <a:pt x="232" y="44"/>
                    </a:lnTo>
                    <a:lnTo>
                      <a:pt x="230" y="44"/>
                    </a:lnTo>
                    <a:lnTo>
                      <a:pt x="228" y="42"/>
                    </a:lnTo>
                    <a:lnTo>
                      <a:pt x="229" y="40"/>
                    </a:lnTo>
                    <a:lnTo>
                      <a:pt x="231" y="38"/>
                    </a:lnTo>
                    <a:lnTo>
                      <a:pt x="231" y="37"/>
                    </a:lnTo>
                    <a:lnTo>
                      <a:pt x="233" y="36"/>
                    </a:lnTo>
                    <a:lnTo>
                      <a:pt x="231" y="33"/>
                    </a:lnTo>
                    <a:lnTo>
                      <a:pt x="232" y="31"/>
                    </a:lnTo>
                    <a:lnTo>
                      <a:pt x="230" y="22"/>
                    </a:lnTo>
                    <a:lnTo>
                      <a:pt x="229" y="21"/>
                    </a:lnTo>
                    <a:lnTo>
                      <a:pt x="225" y="24"/>
                    </a:lnTo>
                    <a:lnTo>
                      <a:pt x="223" y="22"/>
                    </a:lnTo>
                    <a:lnTo>
                      <a:pt x="218" y="22"/>
                    </a:lnTo>
                    <a:lnTo>
                      <a:pt x="219" y="20"/>
                    </a:lnTo>
                    <a:lnTo>
                      <a:pt x="219" y="18"/>
                    </a:lnTo>
                    <a:lnTo>
                      <a:pt x="219" y="17"/>
                    </a:lnTo>
                    <a:lnTo>
                      <a:pt x="217" y="18"/>
                    </a:lnTo>
                    <a:lnTo>
                      <a:pt x="214" y="16"/>
                    </a:lnTo>
                    <a:lnTo>
                      <a:pt x="211" y="9"/>
                    </a:lnTo>
                    <a:lnTo>
                      <a:pt x="210" y="5"/>
                    </a:lnTo>
                    <a:lnTo>
                      <a:pt x="209" y="3"/>
                    </a:lnTo>
                    <a:lnTo>
                      <a:pt x="207" y="3"/>
                    </a:lnTo>
                    <a:lnTo>
                      <a:pt x="205" y="0"/>
                    </a:lnTo>
                    <a:lnTo>
                      <a:pt x="204" y="0"/>
                    </a:lnTo>
                    <a:lnTo>
                      <a:pt x="203" y="2"/>
                    </a:lnTo>
                    <a:lnTo>
                      <a:pt x="201" y="2"/>
                    </a:lnTo>
                    <a:lnTo>
                      <a:pt x="201" y="3"/>
                    </a:lnTo>
                    <a:lnTo>
                      <a:pt x="199" y="5"/>
                    </a:lnTo>
                    <a:lnTo>
                      <a:pt x="197" y="8"/>
                    </a:lnTo>
                    <a:lnTo>
                      <a:pt x="190" y="9"/>
                    </a:lnTo>
                    <a:lnTo>
                      <a:pt x="187" y="11"/>
                    </a:lnTo>
                    <a:lnTo>
                      <a:pt x="186" y="15"/>
                    </a:lnTo>
                    <a:lnTo>
                      <a:pt x="187" y="16"/>
                    </a:lnTo>
                    <a:lnTo>
                      <a:pt x="185" y="18"/>
                    </a:lnTo>
                    <a:lnTo>
                      <a:pt x="184" y="19"/>
                    </a:lnTo>
                    <a:lnTo>
                      <a:pt x="185" y="21"/>
                    </a:lnTo>
                    <a:lnTo>
                      <a:pt x="181" y="22"/>
                    </a:lnTo>
                    <a:lnTo>
                      <a:pt x="180" y="22"/>
                    </a:lnTo>
                    <a:lnTo>
                      <a:pt x="178" y="23"/>
                    </a:lnTo>
                    <a:lnTo>
                      <a:pt x="175" y="21"/>
                    </a:lnTo>
                    <a:lnTo>
                      <a:pt x="173" y="21"/>
                    </a:lnTo>
                    <a:lnTo>
                      <a:pt x="172" y="23"/>
                    </a:lnTo>
                    <a:lnTo>
                      <a:pt x="171" y="24"/>
                    </a:lnTo>
                    <a:lnTo>
                      <a:pt x="167" y="23"/>
                    </a:lnTo>
                    <a:lnTo>
                      <a:pt x="166" y="22"/>
                    </a:lnTo>
                    <a:lnTo>
                      <a:pt x="167" y="20"/>
                    </a:lnTo>
                    <a:lnTo>
                      <a:pt x="167" y="18"/>
                    </a:lnTo>
                    <a:lnTo>
                      <a:pt x="166" y="17"/>
                    </a:lnTo>
                    <a:lnTo>
                      <a:pt x="166" y="15"/>
                    </a:lnTo>
                    <a:lnTo>
                      <a:pt x="166" y="14"/>
                    </a:lnTo>
                    <a:lnTo>
                      <a:pt x="167" y="11"/>
                    </a:lnTo>
                    <a:lnTo>
                      <a:pt x="165" y="10"/>
                    </a:lnTo>
                    <a:lnTo>
                      <a:pt x="157" y="10"/>
                    </a:lnTo>
                    <a:lnTo>
                      <a:pt x="157" y="9"/>
                    </a:lnTo>
                    <a:lnTo>
                      <a:pt x="148" y="9"/>
                    </a:lnTo>
                    <a:lnTo>
                      <a:pt x="141" y="11"/>
                    </a:lnTo>
                    <a:lnTo>
                      <a:pt x="137" y="16"/>
                    </a:lnTo>
                    <a:lnTo>
                      <a:pt x="135" y="22"/>
                    </a:lnTo>
                    <a:lnTo>
                      <a:pt x="131" y="27"/>
                    </a:lnTo>
                    <a:lnTo>
                      <a:pt x="123" y="28"/>
                    </a:lnTo>
                    <a:lnTo>
                      <a:pt x="117" y="32"/>
                    </a:lnTo>
                    <a:lnTo>
                      <a:pt x="113" y="36"/>
                    </a:lnTo>
                    <a:lnTo>
                      <a:pt x="109" y="49"/>
                    </a:lnTo>
                    <a:lnTo>
                      <a:pt x="109" y="55"/>
                    </a:lnTo>
                    <a:lnTo>
                      <a:pt x="105" y="61"/>
                    </a:lnTo>
                    <a:lnTo>
                      <a:pt x="99" y="64"/>
                    </a:lnTo>
                    <a:lnTo>
                      <a:pt x="91" y="64"/>
                    </a:lnTo>
                    <a:lnTo>
                      <a:pt x="85" y="66"/>
                    </a:lnTo>
                    <a:lnTo>
                      <a:pt x="79" y="70"/>
                    </a:lnTo>
                    <a:lnTo>
                      <a:pt x="70" y="80"/>
                    </a:lnTo>
                    <a:lnTo>
                      <a:pt x="60" y="89"/>
                    </a:lnTo>
                    <a:lnTo>
                      <a:pt x="54" y="91"/>
                    </a:lnTo>
                    <a:lnTo>
                      <a:pt x="46" y="90"/>
                    </a:lnTo>
                    <a:lnTo>
                      <a:pt x="40" y="88"/>
                    </a:lnTo>
                    <a:lnTo>
                      <a:pt x="37" y="85"/>
                    </a:lnTo>
                    <a:lnTo>
                      <a:pt x="36" y="82"/>
                    </a:lnTo>
                    <a:lnTo>
                      <a:pt x="33" y="80"/>
                    </a:lnTo>
                    <a:lnTo>
                      <a:pt x="30" y="78"/>
                    </a:lnTo>
                    <a:lnTo>
                      <a:pt x="26" y="80"/>
                    </a:lnTo>
                    <a:lnTo>
                      <a:pt x="21" y="82"/>
                    </a:lnTo>
                    <a:lnTo>
                      <a:pt x="20" y="87"/>
                    </a:lnTo>
                    <a:lnTo>
                      <a:pt x="15" y="89"/>
                    </a:lnTo>
                    <a:lnTo>
                      <a:pt x="13" y="95"/>
                    </a:lnTo>
                    <a:lnTo>
                      <a:pt x="13" y="96"/>
                    </a:lnTo>
                    <a:lnTo>
                      <a:pt x="12" y="99"/>
                    </a:lnTo>
                    <a:lnTo>
                      <a:pt x="11" y="103"/>
                    </a:lnTo>
                    <a:lnTo>
                      <a:pt x="8" y="105"/>
                    </a:lnTo>
                    <a:lnTo>
                      <a:pt x="8" y="109"/>
                    </a:lnTo>
                    <a:lnTo>
                      <a:pt x="9" y="113"/>
                    </a:lnTo>
                    <a:lnTo>
                      <a:pt x="8" y="114"/>
                    </a:lnTo>
                    <a:lnTo>
                      <a:pt x="7" y="114"/>
                    </a:lnTo>
                    <a:lnTo>
                      <a:pt x="6" y="117"/>
                    </a:lnTo>
                    <a:lnTo>
                      <a:pt x="5" y="117"/>
                    </a:lnTo>
                    <a:lnTo>
                      <a:pt x="4" y="119"/>
                    </a:lnTo>
                    <a:lnTo>
                      <a:pt x="2" y="121"/>
                    </a:lnTo>
                    <a:lnTo>
                      <a:pt x="1" y="124"/>
                    </a:lnTo>
                    <a:lnTo>
                      <a:pt x="1" y="128"/>
                    </a:lnTo>
                    <a:lnTo>
                      <a:pt x="0" y="131"/>
                    </a:lnTo>
                    <a:lnTo>
                      <a:pt x="0" y="133"/>
                    </a:lnTo>
                    <a:lnTo>
                      <a:pt x="2" y="133"/>
                    </a:lnTo>
                    <a:lnTo>
                      <a:pt x="5" y="135"/>
                    </a:lnTo>
                    <a:lnTo>
                      <a:pt x="5" y="136"/>
                    </a:lnTo>
                    <a:lnTo>
                      <a:pt x="4" y="137"/>
                    </a:lnTo>
                    <a:lnTo>
                      <a:pt x="6" y="140"/>
                    </a:lnTo>
                    <a:lnTo>
                      <a:pt x="8" y="141"/>
                    </a:lnTo>
                    <a:lnTo>
                      <a:pt x="11" y="152"/>
                    </a:lnTo>
                    <a:lnTo>
                      <a:pt x="12" y="152"/>
                    </a:lnTo>
                    <a:lnTo>
                      <a:pt x="16" y="156"/>
                    </a:lnTo>
                    <a:lnTo>
                      <a:pt x="18" y="155"/>
                    </a:lnTo>
                    <a:lnTo>
                      <a:pt x="18" y="158"/>
                    </a:lnTo>
                    <a:lnTo>
                      <a:pt x="20" y="159"/>
                    </a:lnTo>
                    <a:lnTo>
                      <a:pt x="19" y="161"/>
                    </a:lnTo>
                    <a:lnTo>
                      <a:pt x="19" y="162"/>
                    </a:lnTo>
                    <a:lnTo>
                      <a:pt x="19" y="163"/>
                    </a:lnTo>
                    <a:lnTo>
                      <a:pt x="20" y="164"/>
                    </a:lnTo>
                    <a:lnTo>
                      <a:pt x="19" y="166"/>
                    </a:lnTo>
                    <a:lnTo>
                      <a:pt x="20" y="167"/>
                    </a:lnTo>
                    <a:lnTo>
                      <a:pt x="21" y="166"/>
                    </a:lnTo>
                    <a:lnTo>
                      <a:pt x="24" y="167"/>
                    </a:lnTo>
                    <a:lnTo>
                      <a:pt x="26" y="169"/>
                    </a:lnTo>
                    <a:lnTo>
                      <a:pt x="25" y="170"/>
                    </a:lnTo>
                    <a:lnTo>
                      <a:pt x="27" y="168"/>
                    </a:lnTo>
                    <a:lnTo>
                      <a:pt x="32" y="168"/>
                    </a:lnTo>
                    <a:close/>
                  </a:path>
                </a:pathLst>
              </a:custGeom>
              <a:solidFill>
                <a:schemeClr val="tx1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65" name="Hungary">
                <a:extLst>
                  <a:ext uri="{FF2B5EF4-FFF2-40B4-BE49-F238E27FC236}">
                    <a16:creationId xmlns:a16="http://schemas.microsoft.com/office/drawing/2014/main" id="{71708030-ECD0-48AD-943D-B70AE353D76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249774" y="3747820"/>
                <a:ext cx="596360" cy="380063"/>
              </a:xfrm>
              <a:custGeom>
                <a:avLst/>
                <a:gdLst>
                  <a:gd name="T0" fmla="*/ 172 w 530"/>
                  <a:gd name="T1" fmla="*/ 88 h 299"/>
                  <a:gd name="T2" fmla="*/ 111 w 530"/>
                  <a:gd name="T3" fmla="*/ 75 h 299"/>
                  <a:gd name="T4" fmla="*/ 84 w 530"/>
                  <a:gd name="T5" fmla="*/ 59 h 299"/>
                  <a:gd name="T6" fmla="*/ 74 w 530"/>
                  <a:gd name="T7" fmla="*/ 78 h 299"/>
                  <a:gd name="T8" fmla="*/ 59 w 530"/>
                  <a:gd name="T9" fmla="*/ 93 h 299"/>
                  <a:gd name="T10" fmla="*/ 39 w 530"/>
                  <a:gd name="T11" fmla="*/ 86 h 299"/>
                  <a:gd name="T12" fmla="*/ 32 w 530"/>
                  <a:gd name="T13" fmla="*/ 98 h 299"/>
                  <a:gd name="T14" fmla="*/ 46 w 530"/>
                  <a:gd name="T15" fmla="*/ 111 h 299"/>
                  <a:gd name="T16" fmla="*/ 27 w 530"/>
                  <a:gd name="T17" fmla="*/ 122 h 299"/>
                  <a:gd name="T18" fmla="*/ 26 w 530"/>
                  <a:gd name="T19" fmla="*/ 143 h 299"/>
                  <a:gd name="T20" fmla="*/ 30 w 530"/>
                  <a:gd name="T21" fmla="*/ 155 h 299"/>
                  <a:gd name="T22" fmla="*/ 27 w 530"/>
                  <a:gd name="T23" fmla="*/ 166 h 299"/>
                  <a:gd name="T24" fmla="*/ 13 w 530"/>
                  <a:gd name="T25" fmla="*/ 169 h 299"/>
                  <a:gd name="T26" fmla="*/ 9 w 530"/>
                  <a:gd name="T27" fmla="*/ 180 h 299"/>
                  <a:gd name="T28" fmla="*/ 16 w 530"/>
                  <a:gd name="T29" fmla="*/ 190 h 299"/>
                  <a:gd name="T30" fmla="*/ 22 w 530"/>
                  <a:gd name="T31" fmla="*/ 202 h 299"/>
                  <a:gd name="T32" fmla="*/ 31 w 530"/>
                  <a:gd name="T33" fmla="*/ 213 h 299"/>
                  <a:gd name="T34" fmla="*/ 44 w 530"/>
                  <a:gd name="T35" fmla="*/ 224 h 299"/>
                  <a:gd name="T36" fmla="*/ 53 w 530"/>
                  <a:gd name="T37" fmla="*/ 230 h 299"/>
                  <a:gd name="T38" fmla="*/ 65 w 530"/>
                  <a:gd name="T39" fmla="*/ 246 h 299"/>
                  <a:gd name="T40" fmla="*/ 83 w 530"/>
                  <a:gd name="T41" fmla="*/ 260 h 299"/>
                  <a:gd name="T42" fmla="*/ 91 w 530"/>
                  <a:gd name="T43" fmla="*/ 266 h 299"/>
                  <a:gd name="T44" fmla="*/ 94 w 530"/>
                  <a:gd name="T45" fmla="*/ 275 h 299"/>
                  <a:gd name="T46" fmla="*/ 97 w 530"/>
                  <a:gd name="T47" fmla="*/ 276 h 299"/>
                  <a:gd name="T48" fmla="*/ 115 w 530"/>
                  <a:gd name="T49" fmla="*/ 279 h 299"/>
                  <a:gd name="T50" fmla="*/ 140 w 530"/>
                  <a:gd name="T51" fmla="*/ 294 h 299"/>
                  <a:gd name="T52" fmla="*/ 167 w 530"/>
                  <a:gd name="T53" fmla="*/ 297 h 299"/>
                  <a:gd name="T54" fmla="*/ 185 w 530"/>
                  <a:gd name="T55" fmla="*/ 296 h 299"/>
                  <a:gd name="T56" fmla="*/ 199 w 530"/>
                  <a:gd name="T57" fmla="*/ 283 h 299"/>
                  <a:gd name="T58" fmla="*/ 215 w 530"/>
                  <a:gd name="T59" fmla="*/ 280 h 299"/>
                  <a:gd name="T60" fmla="*/ 231 w 530"/>
                  <a:gd name="T61" fmla="*/ 271 h 299"/>
                  <a:gd name="T62" fmla="*/ 249 w 530"/>
                  <a:gd name="T63" fmla="*/ 269 h 299"/>
                  <a:gd name="T64" fmla="*/ 265 w 530"/>
                  <a:gd name="T65" fmla="*/ 257 h 299"/>
                  <a:gd name="T66" fmla="*/ 301 w 530"/>
                  <a:gd name="T67" fmla="*/ 254 h 299"/>
                  <a:gd name="T68" fmla="*/ 331 w 530"/>
                  <a:gd name="T69" fmla="*/ 255 h 299"/>
                  <a:gd name="T70" fmla="*/ 360 w 530"/>
                  <a:gd name="T71" fmla="*/ 254 h 299"/>
                  <a:gd name="T72" fmla="*/ 380 w 530"/>
                  <a:gd name="T73" fmla="*/ 245 h 299"/>
                  <a:gd name="T74" fmla="*/ 397 w 530"/>
                  <a:gd name="T75" fmla="*/ 236 h 299"/>
                  <a:gd name="T76" fmla="*/ 406 w 530"/>
                  <a:gd name="T77" fmla="*/ 214 h 299"/>
                  <a:gd name="T78" fmla="*/ 421 w 530"/>
                  <a:gd name="T79" fmla="*/ 198 h 299"/>
                  <a:gd name="T80" fmla="*/ 432 w 530"/>
                  <a:gd name="T81" fmla="*/ 174 h 299"/>
                  <a:gd name="T82" fmla="*/ 443 w 530"/>
                  <a:gd name="T83" fmla="*/ 154 h 299"/>
                  <a:gd name="T84" fmla="*/ 460 w 530"/>
                  <a:gd name="T85" fmla="*/ 127 h 299"/>
                  <a:gd name="T86" fmla="*/ 474 w 530"/>
                  <a:gd name="T87" fmla="*/ 104 h 299"/>
                  <a:gd name="T88" fmla="*/ 493 w 530"/>
                  <a:gd name="T89" fmla="*/ 88 h 299"/>
                  <a:gd name="T90" fmla="*/ 520 w 530"/>
                  <a:gd name="T91" fmla="*/ 78 h 299"/>
                  <a:gd name="T92" fmla="*/ 528 w 530"/>
                  <a:gd name="T93" fmla="*/ 61 h 299"/>
                  <a:gd name="T94" fmla="*/ 508 w 530"/>
                  <a:gd name="T95" fmla="*/ 50 h 299"/>
                  <a:gd name="T96" fmla="*/ 490 w 530"/>
                  <a:gd name="T97" fmla="*/ 35 h 299"/>
                  <a:gd name="T98" fmla="*/ 473 w 530"/>
                  <a:gd name="T99" fmla="*/ 18 h 299"/>
                  <a:gd name="T100" fmla="*/ 442 w 530"/>
                  <a:gd name="T101" fmla="*/ 25 h 299"/>
                  <a:gd name="T102" fmla="*/ 415 w 530"/>
                  <a:gd name="T103" fmla="*/ 1 h 299"/>
                  <a:gd name="T104" fmla="*/ 377 w 530"/>
                  <a:gd name="T105" fmla="*/ 5 h 299"/>
                  <a:gd name="T106" fmla="*/ 343 w 530"/>
                  <a:gd name="T107" fmla="*/ 5 h 299"/>
                  <a:gd name="T108" fmla="*/ 326 w 530"/>
                  <a:gd name="T109" fmla="*/ 34 h 299"/>
                  <a:gd name="T110" fmla="*/ 309 w 530"/>
                  <a:gd name="T111" fmla="*/ 40 h 299"/>
                  <a:gd name="T112" fmla="*/ 287 w 530"/>
                  <a:gd name="T113" fmla="*/ 44 h 299"/>
                  <a:gd name="T114" fmla="*/ 266 w 530"/>
                  <a:gd name="T115" fmla="*/ 39 h 299"/>
                  <a:gd name="T116" fmla="*/ 230 w 530"/>
                  <a:gd name="T117" fmla="*/ 55 h 299"/>
                  <a:gd name="T118" fmla="*/ 212 w 530"/>
                  <a:gd name="T119" fmla="*/ 60 h 299"/>
                  <a:gd name="T120" fmla="*/ 210 w 530"/>
                  <a:gd name="T121" fmla="*/ 76 h 29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530"/>
                  <a:gd name="T184" fmla="*/ 0 h 299"/>
                  <a:gd name="T185" fmla="*/ 530 w 530"/>
                  <a:gd name="T186" fmla="*/ 299 h 29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530" h="299">
                    <a:moveTo>
                      <a:pt x="214" y="80"/>
                    </a:moveTo>
                    <a:lnTo>
                      <a:pt x="206" y="80"/>
                    </a:lnTo>
                    <a:lnTo>
                      <a:pt x="204" y="84"/>
                    </a:lnTo>
                    <a:lnTo>
                      <a:pt x="199" y="86"/>
                    </a:lnTo>
                    <a:lnTo>
                      <a:pt x="191" y="85"/>
                    </a:lnTo>
                    <a:lnTo>
                      <a:pt x="187" y="86"/>
                    </a:lnTo>
                    <a:lnTo>
                      <a:pt x="182" y="86"/>
                    </a:lnTo>
                    <a:lnTo>
                      <a:pt x="180" y="87"/>
                    </a:lnTo>
                    <a:lnTo>
                      <a:pt x="172" y="88"/>
                    </a:lnTo>
                    <a:lnTo>
                      <a:pt x="155" y="86"/>
                    </a:lnTo>
                    <a:lnTo>
                      <a:pt x="148" y="86"/>
                    </a:lnTo>
                    <a:lnTo>
                      <a:pt x="147" y="86"/>
                    </a:lnTo>
                    <a:lnTo>
                      <a:pt x="140" y="88"/>
                    </a:lnTo>
                    <a:lnTo>
                      <a:pt x="131" y="88"/>
                    </a:lnTo>
                    <a:lnTo>
                      <a:pt x="125" y="85"/>
                    </a:lnTo>
                    <a:lnTo>
                      <a:pt x="118" y="79"/>
                    </a:lnTo>
                    <a:lnTo>
                      <a:pt x="114" y="80"/>
                    </a:lnTo>
                    <a:lnTo>
                      <a:pt x="111" y="75"/>
                    </a:lnTo>
                    <a:lnTo>
                      <a:pt x="106" y="73"/>
                    </a:lnTo>
                    <a:lnTo>
                      <a:pt x="101" y="67"/>
                    </a:lnTo>
                    <a:lnTo>
                      <a:pt x="99" y="65"/>
                    </a:lnTo>
                    <a:lnTo>
                      <a:pt x="97" y="62"/>
                    </a:lnTo>
                    <a:lnTo>
                      <a:pt x="96" y="61"/>
                    </a:lnTo>
                    <a:lnTo>
                      <a:pt x="91" y="61"/>
                    </a:lnTo>
                    <a:lnTo>
                      <a:pt x="90" y="60"/>
                    </a:lnTo>
                    <a:lnTo>
                      <a:pt x="89" y="58"/>
                    </a:lnTo>
                    <a:lnTo>
                      <a:pt x="84" y="59"/>
                    </a:lnTo>
                    <a:lnTo>
                      <a:pt x="82" y="60"/>
                    </a:lnTo>
                    <a:lnTo>
                      <a:pt x="78" y="64"/>
                    </a:lnTo>
                    <a:lnTo>
                      <a:pt x="79" y="65"/>
                    </a:lnTo>
                    <a:lnTo>
                      <a:pt x="77" y="68"/>
                    </a:lnTo>
                    <a:lnTo>
                      <a:pt x="78" y="69"/>
                    </a:lnTo>
                    <a:lnTo>
                      <a:pt x="77" y="73"/>
                    </a:lnTo>
                    <a:lnTo>
                      <a:pt x="71" y="75"/>
                    </a:lnTo>
                    <a:lnTo>
                      <a:pt x="74" y="77"/>
                    </a:lnTo>
                    <a:lnTo>
                      <a:pt x="74" y="78"/>
                    </a:lnTo>
                    <a:lnTo>
                      <a:pt x="75" y="80"/>
                    </a:lnTo>
                    <a:lnTo>
                      <a:pt x="74" y="81"/>
                    </a:lnTo>
                    <a:lnTo>
                      <a:pt x="74" y="82"/>
                    </a:lnTo>
                    <a:lnTo>
                      <a:pt x="75" y="84"/>
                    </a:lnTo>
                    <a:lnTo>
                      <a:pt x="75" y="87"/>
                    </a:lnTo>
                    <a:lnTo>
                      <a:pt x="75" y="90"/>
                    </a:lnTo>
                    <a:lnTo>
                      <a:pt x="77" y="91"/>
                    </a:lnTo>
                    <a:lnTo>
                      <a:pt x="61" y="94"/>
                    </a:lnTo>
                    <a:lnTo>
                      <a:pt x="59" y="93"/>
                    </a:lnTo>
                    <a:lnTo>
                      <a:pt x="59" y="90"/>
                    </a:lnTo>
                    <a:lnTo>
                      <a:pt x="56" y="94"/>
                    </a:lnTo>
                    <a:lnTo>
                      <a:pt x="51" y="94"/>
                    </a:lnTo>
                    <a:lnTo>
                      <a:pt x="48" y="92"/>
                    </a:lnTo>
                    <a:lnTo>
                      <a:pt x="48" y="90"/>
                    </a:lnTo>
                    <a:lnTo>
                      <a:pt x="48" y="89"/>
                    </a:lnTo>
                    <a:lnTo>
                      <a:pt x="42" y="88"/>
                    </a:lnTo>
                    <a:lnTo>
                      <a:pt x="41" y="86"/>
                    </a:lnTo>
                    <a:lnTo>
                      <a:pt x="39" y="86"/>
                    </a:lnTo>
                    <a:lnTo>
                      <a:pt x="34" y="86"/>
                    </a:lnTo>
                    <a:lnTo>
                      <a:pt x="34" y="88"/>
                    </a:lnTo>
                    <a:lnTo>
                      <a:pt x="34" y="90"/>
                    </a:lnTo>
                    <a:lnTo>
                      <a:pt x="28" y="94"/>
                    </a:lnTo>
                    <a:lnTo>
                      <a:pt x="27" y="93"/>
                    </a:lnTo>
                    <a:lnTo>
                      <a:pt x="25" y="96"/>
                    </a:lnTo>
                    <a:lnTo>
                      <a:pt x="30" y="98"/>
                    </a:lnTo>
                    <a:lnTo>
                      <a:pt x="32" y="98"/>
                    </a:lnTo>
                    <a:lnTo>
                      <a:pt x="37" y="100"/>
                    </a:lnTo>
                    <a:lnTo>
                      <a:pt x="40" y="99"/>
                    </a:lnTo>
                    <a:lnTo>
                      <a:pt x="42" y="100"/>
                    </a:lnTo>
                    <a:lnTo>
                      <a:pt x="43" y="102"/>
                    </a:lnTo>
                    <a:lnTo>
                      <a:pt x="44" y="104"/>
                    </a:lnTo>
                    <a:lnTo>
                      <a:pt x="43" y="106"/>
                    </a:lnTo>
                    <a:lnTo>
                      <a:pt x="45" y="106"/>
                    </a:lnTo>
                    <a:lnTo>
                      <a:pt x="47" y="109"/>
                    </a:lnTo>
                    <a:lnTo>
                      <a:pt x="46" y="111"/>
                    </a:lnTo>
                    <a:lnTo>
                      <a:pt x="45" y="113"/>
                    </a:lnTo>
                    <a:lnTo>
                      <a:pt x="42" y="113"/>
                    </a:lnTo>
                    <a:lnTo>
                      <a:pt x="43" y="117"/>
                    </a:lnTo>
                    <a:lnTo>
                      <a:pt x="40" y="120"/>
                    </a:lnTo>
                    <a:lnTo>
                      <a:pt x="37" y="122"/>
                    </a:lnTo>
                    <a:lnTo>
                      <a:pt x="32" y="122"/>
                    </a:lnTo>
                    <a:lnTo>
                      <a:pt x="31" y="125"/>
                    </a:lnTo>
                    <a:lnTo>
                      <a:pt x="29" y="122"/>
                    </a:lnTo>
                    <a:lnTo>
                      <a:pt x="27" y="122"/>
                    </a:lnTo>
                    <a:lnTo>
                      <a:pt x="27" y="127"/>
                    </a:lnTo>
                    <a:lnTo>
                      <a:pt x="26" y="129"/>
                    </a:lnTo>
                    <a:lnTo>
                      <a:pt x="28" y="131"/>
                    </a:lnTo>
                    <a:lnTo>
                      <a:pt x="30" y="137"/>
                    </a:lnTo>
                    <a:lnTo>
                      <a:pt x="29" y="138"/>
                    </a:lnTo>
                    <a:lnTo>
                      <a:pt x="26" y="140"/>
                    </a:lnTo>
                    <a:lnTo>
                      <a:pt x="26" y="143"/>
                    </a:lnTo>
                    <a:lnTo>
                      <a:pt x="24" y="145"/>
                    </a:lnTo>
                    <a:lnTo>
                      <a:pt x="25" y="146"/>
                    </a:lnTo>
                    <a:lnTo>
                      <a:pt x="27" y="147"/>
                    </a:lnTo>
                    <a:lnTo>
                      <a:pt x="28" y="148"/>
                    </a:lnTo>
                    <a:lnTo>
                      <a:pt x="27" y="151"/>
                    </a:lnTo>
                    <a:lnTo>
                      <a:pt x="32" y="150"/>
                    </a:lnTo>
                    <a:lnTo>
                      <a:pt x="33" y="152"/>
                    </a:lnTo>
                    <a:lnTo>
                      <a:pt x="30" y="155"/>
                    </a:lnTo>
                    <a:lnTo>
                      <a:pt x="28" y="156"/>
                    </a:lnTo>
                    <a:lnTo>
                      <a:pt x="29" y="159"/>
                    </a:lnTo>
                    <a:lnTo>
                      <a:pt x="32" y="160"/>
                    </a:lnTo>
                    <a:lnTo>
                      <a:pt x="32" y="161"/>
                    </a:lnTo>
                    <a:lnTo>
                      <a:pt x="26" y="164"/>
                    </a:lnTo>
                    <a:lnTo>
                      <a:pt x="29" y="164"/>
                    </a:lnTo>
                    <a:lnTo>
                      <a:pt x="31" y="166"/>
                    </a:lnTo>
                    <a:lnTo>
                      <a:pt x="29" y="167"/>
                    </a:lnTo>
                    <a:lnTo>
                      <a:pt x="27" y="166"/>
                    </a:lnTo>
                    <a:lnTo>
                      <a:pt x="26" y="167"/>
                    </a:lnTo>
                    <a:lnTo>
                      <a:pt x="25" y="167"/>
                    </a:lnTo>
                    <a:lnTo>
                      <a:pt x="23" y="166"/>
                    </a:lnTo>
                    <a:lnTo>
                      <a:pt x="21" y="166"/>
                    </a:lnTo>
                    <a:lnTo>
                      <a:pt x="19" y="166"/>
                    </a:lnTo>
                    <a:lnTo>
                      <a:pt x="15" y="166"/>
                    </a:lnTo>
                    <a:lnTo>
                      <a:pt x="14" y="165"/>
                    </a:lnTo>
                    <a:lnTo>
                      <a:pt x="13" y="167"/>
                    </a:lnTo>
                    <a:lnTo>
                      <a:pt x="13" y="169"/>
                    </a:lnTo>
                    <a:lnTo>
                      <a:pt x="11" y="170"/>
                    </a:lnTo>
                    <a:lnTo>
                      <a:pt x="11" y="172"/>
                    </a:lnTo>
                    <a:lnTo>
                      <a:pt x="9" y="173"/>
                    </a:lnTo>
                    <a:lnTo>
                      <a:pt x="7" y="173"/>
                    </a:lnTo>
                    <a:lnTo>
                      <a:pt x="2" y="180"/>
                    </a:lnTo>
                    <a:lnTo>
                      <a:pt x="0" y="180"/>
                    </a:lnTo>
                    <a:lnTo>
                      <a:pt x="3" y="182"/>
                    </a:lnTo>
                    <a:lnTo>
                      <a:pt x="9" y="180"/>
                    </a:lnTo>
                    <a:lnTo>
                      <a:pt x="12" y="180"/>
                    </a:lnTo>
                    <a:lnTo>
                      <a:pt x="15" y="180"/>
                    </a:lnTo>
                    <a:lnTo>
                      <a:pt x="17" y="183"/>
                    </a:lnTo>
                    <a:lnTo>
                      <a:pt x="18" y="183"/>
                    </a:lnTo>
                    <a:lnTo>
                      <a:pt x="19" y="184"/>
                    </a:lnTo>
                    <a:lnTo>
                      <a:pt x="18" y="186"/>
                    </a:lnTo>
                    <a:lnTo>
                      <a:pt x="18" y="187"/>
                    </a:lnTo>
                    <a:lnTo>
                      <a:pt x="16" y="188"/>
                    </a:lnTo>
                    <a:lnTo>
                      <a:pt x="16" y="190"/>
                    </a:lnTo>
                    <a:lnTo>
                      <a:pt x="17" y="190"/>
                    </a:lnTo>
                    <a:lnTo>
                      <a:pt x="17" y="192"/>
                    </a:lnTo>
                    <a:lnTo>
                      <a:pt x="19" y="194"/>
                    </a:lnTo>
                    <a:lnTo>
                      <a:pt x="19" y="196"/>
                    </a:lnTo>
                    <a:lnTo>
                      <a:pt x="21" y="196"/>
                    </a:lnTo>
                    <a:lnTo>
                      <a:pt x="21" y="198"/>
                    </a:lnTo>
                    <a:lnTo>
                      <a:pt x="25" y="199"/>
                    </a:lnTo>
                    <a:lnTo>
                      <a:pt x="24" y="202"/>
                    </a:lnTo>
                    <a:lnTo>
                      <a:pt x="22" y="202"/>
                    </a:lnTo>
                    <a:lnTo>
                      <a:pt x="22" y="204"/>
                    </a:lnTo>
                    <a:lnTo>
                      <a:pt x="22" y="205"/>
                    </a:lnTo>
                    <a:lnTo>
                      <a:pt x="24" y="206"/>
                    </a:lnTo>
                    <a:lnTo>
                      <a:pt x="25" y="208"/>
                    </a:lnTo>
                    <a:lnTo>
                      <a:pt x="26" y="208"/>
                    </a:lnTo>
                    <a:lnTo>
                      <a:pt x="27" y="209"/>
                    </a:lnTo>
                    <a:lnTo>
                      <a:pt x="29" y="210"/>
                    </a:lnTo>
                    <a:lnTo>
                      <a:pt x="29" y="212"/>
                    </a:lnTo>
                    <a:lnTo>
                      <a:pt x="31" y="213"/>
                    </a:lnTo>
                    <a:lnTo>
                      <a:pt x="32" y="215"/>
                    </a:lnTo>
                    <a:lnTo>
                      <a:pt x="33" y="215"/>
                    </a:lnTo>
                    <a:lnTo>
                      <a:pt x="33" y="218"/>
                    </a:lnTo>
                    <a:lnTo>
                      <a:pt x="37" y="221"/>
                    </a:lnTo>
                    <a:lnTo>
                      <a:pt x="39" y="221"/>
                    </a:lnTo>
                    <a:lnTo>
                      <a:pt x="39" y="222"/>
                    </a:lnTo>
                    <a:lnTo>
                      <a:pt x="43" y="223"/>
                    </a:lnTo>
                    <a:lnTo>
                      <a:pt x="43" y="224"/>
                    </a:lnTo>
                    <a:lnTo>
                      <a:pt x="44" y="224"/>
                    </a:lnTo>
                    <a:lnTo>
                      <a:pt x="47" y="229"/>
                    </a:lnTo>
                    <a:lnTo>
                      <a:pt x="48" y="230"/>
                    </a:lnTo>
                    <a:lnTo>
                      <a:pt x="49" y="229"/>
                    </a:lnTo>
                    <a:lnTo>
                      <a:pt x="49" y="231"/>
                    </a:lnTo>
                    <a:lnTo>
                      <a:pt x="50" y="230"/>
                    </a:lnTo>
                    <a:lnTo>
                      <a:pt x="50" y="232"/>
                    </a:lnTo>
                    <a:lnTo>
                      <a:pt x="51" y="231"/>
                    </a:lnTo>
                    <a:lnTo>
                      <a:pt x="53" y="231"/>
                    </a:lnTo>
                    <a:lnTo>
                      <a:pt x="53" y="230"/>
                    </a:lnTo>
                    <a:lnTo>
                      <a:pt x="56" y="233"/>
                    </a:lnTo>
                    <a:lnTo>
                      <a:pt x="57" y="233"/>
                    </a:lnTo>
                    <a:lnTo>
                      <a:pt x="58" y="235"/>
                    </a:lnTo>
                    <a:lnTo>
                      <a:pt x="59" y="235"/>
                    </a:lnTo>
                    <a:lnTo>
                      <a:pt x="60" y="236"/>
                    </a:lnTo>
                    <a:lnTo>
                      <a:pt x="60" y="238"/>
                    </a:lnTo>
                    <a:lnTo>
                      <a:pt x="61" y="242"/>
                    </a:lnTo>
                    <a:lnTo>
                      <a:pt x="65" y="246"/>
                    </a:lnTo>
                    <a:lnTo>
                      <a:pt x="77" y="252"/>
                    </a:lnTo>
                    <a:lnTo>
                      <a:pt x="78" y="253"/>
                    </a:lnTo>
                    <a:lnTo>
                      <a:pt x="79" y="253"/>
                    </a:lnTo>
                    <a:lnTo>
                      <a:pt x="80" y="253"/>
                    </a:lnTo>
                    <a:lnTo>
                      <a:pt x="82" y="253"/>
                    </a:lnTo>
                    <a:lnTo>
                      <a:pt x="82" y="254"/>
                    </a:lnTo>
                    <a:lnTo>
                      <a:pt x="84" y="257"/>
                    </a:lnTo>
                    <a:lnTo>
                      <a:pt x="83" y="258"/>
                    </a:lnTo>
                    <a:lnTo>
                      <a:pt x="83" y="260"/>
                    </a:lnTo>
                    <a:lnTo>
                      <a:pt x="86" y="259"/>
                    </a:lnTo>
                    <a:lnTo>
                      <a:pt x="86" y="260"/>
                    </a:lnTo>
                    <a:lnTo>
                      <a:pt x="86" y="261"/>
                    </a:lnTo>
                    <a:lnTo>
                      <a:pt x="88" y="261"/>
                    </a:lnTo>
                    <a:lnTo>
                      <a:pt x="85" y="263"/>
                    </a:lnTo>
                    <a:lnTo>
                      <a:pt x="88" y="263"/>
                    </a:lnTo>
                    <a:lnTo>
                      <a:pt x="88" y="265"/>
                    </a:lnTo>
                    <a:lnTo>
                      <a:pt x="91" y="266"/>
                    </a:lnTo>
                    <a:lnTo>
                      <a:pt x="89" y="267"/>
                    </a:lnTo>
                    <a:lnTo>
                      <a:pt x="89" y="268"/>
                    </a:lnTo>
                    <a:lnTo>
                      <a:pt x="93" y="269"/>
                    </a:lnTo>
                    <a:lnTo>
                      <a:pt x="90" y="270"/>
                    </a:lnTo>
                    <a:lnTo>
                      <a:pt x="91" y="271"/>
                    </a:lnTo>
                    <a:lnTo>
                      <a:pt x="93" y="271"/>
                    </a:lnTo>
                    <a:lnTo>
                      <a:pt x="92" y="273"/>
                    </a:lnTo>
                    <a:lnTo>
                      <a:pt x="95" y="273"/>
                    </a:lnTo>
                    <a:lnTo>
                      <a:pt x="94" y="275"/>
                    </a:lnTo>
                    <a:lnTo>
                      <a:pt x="95" y="274"/>
                    </a:lnTo>
                    <a:lnTo>
                      <a:pt x="95" y="273"/>
                    </a:lnTo>
                    <a:lnTo>
                      <a:pt x="97" y="274"/>
                    </a:lnTo>
                    <a:lnTo>
                      <a:pt x="98" y="273"/>
                    </a:lnTo>
                    <a:lnTo>
                      <a:pt x="98" y="275"/>
                    </a:lnTo>
                    <a:lnTo>
                      <a:pt x="100" y="275"/>
                    </a:lnTo>
                    <a:lnTo>
                      <a:pt x="97" y="276"/>
                    </a:lnTo>
                    <a:lnTo>
                      <a:pt x="96" y="276"/>
                    </a:lnTo>
                    <a:lnTo>
                      <a:pt x="98" y="277"/>
                    </a:lnTo>
                    <a:lnTo>
                      <a:pt x="99" y="277"/>
                    </a:lnTo>
                    <a:lnTo>
                      <a:pt x="100" y="279"/>
                    </a:lnTo>
                    <a:lnTo>
                      <a:pt x="101" y="278"/>
                    </a:lnTo>
                    <a:lnTo>
                      <a:pt x="103" y="279"/>
                    </a:lnTo>
                    <a:lnTo>
                      <a:pt x="103" y="277"/>
                    </a:lnTo>
                    <a:lnTo>
                      <a:pt x="115" y="279"/>
                    </a:lnTo>
                    <a:lnTo>
                      <a:pt x="119" y="283"/>
                    </a:lnTo>
                    <a:lnTo>
                      <a:pt x="121" y="289"/>
                    </a:lnTo>
                    <a:lnTo>
                      <a:pt x="124" y="290"/>
                    </a:lnTo>
                    <a:lnTo>
                      <a:pt x="132" y="292"/>
                    </a:lnTo>
                    <a:lnTo>
                      <a:pt x="134" y="292"/>
                    </a:lnTo>
                    <a:lnTo>
                      <a:pt x="135" y="293"/>
                    </a:lnTo>
                    <a:lnTo>
                      <a:pt x="136" y="295"/>
                    </a:lnTo>
                    <a:lnTo>
                      <a:pt x="137" y="297"/>
                    </a:lnTo>
                    <a:lnTo>
                      <a:pt x="140" y="294"/>
                    </a:lnTo>
                    <a:lnTo>
                      <a:pt x="142" y="295"/>
                    </a:lnTo>
                    <a:lnTo>
                      <a:pt x="147" y="294"/>
                    </a:lnTo>
                    <a:lnTo>
                      <a:pt x="153" y="297"/>
                    </a:lnTo>
                    <a:lnTo>
                      <a:pt x="155" y="297"/>
                    </a:lnTo>
                    <a:lnTo>
                      <a:pt x="157" y="296"/>
                    </a:lnTo>
                    <a:lnTo>
                      <a:pt x="159" y="295"/>
                    </a:lnTo>
                    <a:lnTo>
                      <a:pt x="161" y="296"/>
                    </a:lnTo>
                    <a:lnTo>
                      <a:pt x="165" y="296"/>
                    </a:lnTo>
                    <a:lnTo>
                      <a:pt x="167" y="297"/>
                    </a:lnTo>
                    <a:lnTo>
                      <a:pt x="169" y="297"/>
                    </a:lnTo>
                    <a:lnTo>
                      <a:pt x="171" y="297"/>
                    </a:lnTo>
                    <a:lnTo>
                      <a:pt x="174" y="298"/>
                    </a:lnTo>
                    <a:lnTo>
                      <a:pt x="176" y="297"/>
                    </a:lnTo>
                    <a:lnTo>
                      <a:pt x="178" y="297"/>
                    </a:lnTo>
                    <a:lnTo>
                      <a:pt x="179" y="299"/>
                    </a:lnTo>
                    <a:lnTo>
                      <a:pt x="182" y="298"/>
                    </a:lnTo>
                    <a:lnTo>
                      <a:pt x="183" y="297"/>
                    </a:lnTo>
                    <a:lnTo>
                      <a:pt x="185" y="296"/>
                    </a:lnTo>
                    <a:lnTo>
                      <a:pt x="186" y="293"/>
                    </a:lnTo>
                    <a:lnTo>
                      <a:pt x="188" y="294"/>
                    </a:lnTo>
                    <a:lnTo>
                      <a:pt x="192" y="293"/>
                    </a:lnTo>
                    <a:lnTo>
                      <a:pt x="193" y="291"/>
                    </a:lnTo>
                    <a:lnTo>
                      <a:pt x="196" y="288"/>
                    </a:lnTo>
                    <a:lnTo>
                      <a:pt x="197" y="285"/>
                    </a:lnTo>
                    <a:lnTo>
                      <a:pt x="198" y="285"/>
                    </a:lnTo>
                    <a:lnTo>
                      <a:pt x="198" y="283"/>
                    </a:lnTo>
                    <a:lnTo>
                      <a:pt x="199" y="283"/>
                    </a:lnTo>
                    <a:lnTo>
                      <a:pt x="199" y="281"/>
                    </a:lnTo>
                    <a:lnTo>
                      <a:pt x="203" y="281"/>
                    </a:lnTo>
                    <a:lnTo>
                      <a:pt x="204" y="281"/>
                    </a:lnTo>
                    <a:lnTo>
                      <a:pt x="211" y="284"/>
                    </a:lnTo>
                    <a:lnTo>
                      <a:pt x="211" y="282"/>
                    </a:lnTo>
                    <a:lnTo>
                      <a:pt x="212" y="281"/>
                    </a:lnTo>
                    <a:lnTo>
                      <a:pt x="213" y="281"/>
                    </a:lnTo>
                    <a:lnTo>
                      <a:pt x="214" y="281"/>
                    </a:lnTo>
                    <a:lnTo>
                      <a:pt x="215" y="280"/>
                    </a:lnTo>
                    <a:lnTo>
                      <a:pt x="216" y="280"/>
                    </a:lnTo>
                    <a:lnTo>
                      <a:pt x="219" y="279"/>
                    </a:lnTo>
                    <a:lnTo>
                      <a:pt x="227" y="279"/>
                    </a:lnTo>
                    <a:lnTo>
                      <a:pt x="225" y="277"/>
                    </a:lnTo>
                    <a:lnTo>
                      <a:pt x="227" y="275"/>
                    </a:lnTo>
                    <a:lnTo>
                      <a:pt x="228" y="275"/>
                    </a:lnTo>
                    <a:lnTo>
                      <a:pt x="231" y="276"/>
                    </a:lnTo>
                    <a:lnTo>
                      <a:pt x="231" y="271"/>
                    </a:lnTo>
                    <a:lnTo>
                      <a:pt x="234" y="269"/>
                    </a:lnTo>
                    <a:lnTo>
                      <a:pt x="235" y="269"/>
                    </a:lnTo>
                    <a:lnTo>
                      <a:pt x="236" y="271"/>
                    </a:lnTo>
                    <a:lnTo>
                      <a:pt x="237" y="273"/>
                    </a:lnTo>
                    <a:lnTo>
                      <a:pt x="238" y="273"/>
                    </a:lnTo>
                    <a:lnTo>
                      <a:pt x="248" y="273"/>
                    </a:lnTo>
                    <a:lnTo>
                      <a:pt x="249" y="273"/>
                    </a:lnTo>
                    <a:lnTo>
                      <a:pt x="248" y="271"/>
                    </a:lnTo>
                    <a:lnTo>
                      <a:pt x="249" y="269"/>
                    </a:lnTo>
                    <a:lnTo>
                      <a:pt x="254" y="268"/>
                    </a:lnTo>
                    <a:lnTo>
                      <a:pt x="256" y="268"/>
                    </a:lnTo>
                    <a:lnTo>
                      <a:pt x="257" y="267"/>
                    </a:lnTo>
                    <a:lnTo>
                      <a:pt x="259" y="265"/>
                    </a:lnTo>
                    <a:lnTo>
                      <a:pt x="262" y="265"/>
                    </a:lnTo>
                    <a:lnTo>
                      <a:pt x="264" y="261"/>
                    </a:lnTo>
                    <a:lnTo>
                      <a:pt x="266" y="260"/>
                    </a:lnTo>
                    <a:lnTo>
                      <a:pt x="265" y="258"/>
                    </a:lnTo>
                    <a:lnTo>
                      <a:pt x="265" y="257"/>
                    </a:lnTo>
                    <a:lnTo>
                      <a:pt x="268" y="256"/>
                    </a:lnTo>
                    <a:lnTo>
                      <a:pt x="269" y="254"/>
                    </a:lnTo>
                    <a:lnTo>
                      <a:pt x="270" y="254"/>
                    </a:lnTo>
                    <a:lnTo>
                      <a:pt x="274" y="254"/>
                    </a:lnTo>
                    <a:lnTo>
                      <a:pt x="277" y="253"/>
                    </a:lnTo>
                    <a:lnTo>
                      <a:pt x="281" y="253"/>
                    </a:lnTo>
                    <a:lnTo>
                      <a:pt x="289" y="259"/>
                    </a:lnTo>
                    <a:lnTo>
                      <a:pt x="293" y="256"/>
                    </a:lnTo>
                    <a:lnTo>
                      <a:pt x="301" y="254"/>
                    </a:lnTo>
                    <a:lnTo>
                      <a:pt x="304" y="254"/>
                    </a:lnTo>
                    <a:lnTo>
                      <a:pt x="308" y="257"/>
                    </a:lnTo>
                    <a:lnTo>
                      <a:pt x="313" y="254"/>
                    </a:lnTo>
                    <a:lnTo>
                      <a:pt x="315" y="257"/>
                    </a:lnTo>
                    <a:lnTo>
                      <a:pt x="319" y="256"/>
                    </a:lnTo>
                    <a:lnTo>
                      <a:pt x="324" y="260"/>
                    </a:lnTo>
                    <a:lnTo>
                      <a:pt x="325" y="257"/>
                    </a:lnTo>
                    <a:lnTo>
                      <a:pt x="328" y="257"/>
                    </a:lnTo>
                    <a:lnTo>
                      <a:pt x="331" y="255"/>
                    </a:lnTo>
                    <a:lnTo>
                      <a:pt x="336" y="257"/>
                    </a:lnTo>
                    <a:lnTo>
                      <a:pt x="341" y="257"/>
                    </a:lnTo>
                    <a:lnTo>
                      <a:pt x="342" y="256"/>
                    </a:lnTo>
                    <a:lnTo>
                      <a:pt x="342" y="253"/>
                    </a:lnTo>
                    <a:lnTo>
                      <a:pt x="347" y="254"/>
                    </a:lnTo>
                    <a:lnTo>
                      <a:pt x="353" y="259"/>
                    </a:lnTo>
                    <a:lnTo>
                      <a:pt x="355" y="257"/>
                    </a:lnTo>
                    <a:lnTo>
                      <a:pt x="357" y="257"/>
                    </a:lnTo>
                    <a:lnTo>
                      <a:pt x="360" y="254"/>
                    </a:lnTo>
                    <a:lnTo>
                      <a:pt x="361" y="254"/>
                    </a:lnTo>
                    <a:lnTo>
                      <a:pt x="360" y="252"/>
                    </a:lnTo>
                    <a:lnTo>
                      <a:pt x="363" y="251"/>
                    </a:lnTo>
                    <a:lnTo>
                      <a:pt x="363" y="247"/>
                    </a:lnTo>
                    <a:lnTo>
                      <a:pt x="367" y="243"/>
                    </a:lnTo>
                    <a:lnTo>
                      <a:pt x="372" y="243"/>
                    </a:lnTo>
                    <a:lnTo>
                      <a:pt x="374" y="245"/>
                    </a:lnTo>
                    <a:lnTo>
                      <a:pt x="377" y="243"/>
                    </a:lnTo>
                    <a:lnTo>
                      <a:pt x="380" y="245"/>
                    </a:lnTo>
                    <a:lnTo>
                      <a:pt x="383" y="245"/>
                    </a:lnTo>
                    <a:lnTo>
                      <a:pt x="384" y="247"/>
                    </a:lnTo>
                    <a:lnTo>
                      <a:pt x="386" y="247"/>
                    </a:lnTo>
                    <a:lnTo>
                      <a:pt x="388" y="246"/>
                    </a:lnTo>
                    <a:lnTo>
                      <a:pt x="391" y="242"/>
                    </a:lnTo>
                    <a:lnTo>
                      <a:pt x="393" y="242"/>
                    </a:lnTo>
                    <a:lnTo>
                      <a:pt x="396" y="241"/>
                    </a:lnTo>
                    <a:lnTo>
                      <a:pt x="395" y="239"/>
                    </a:lnTo>
                    <a:lnTo>
                      <a:pt x="397" y="236"/>
                    </a:lnTo>
                    <a:lnTo>
                      <a:pt x="396" y="234"/>
                    </a:lnTo>
                    <a:lnTo>
                      <a:pt x="397" y="231"/>
                    </a:lnTo>
                    <a:lnTo>
                      <a:pt x="399" y="229"/>
                    </a:lnTo>
                    <a:lnTo>
                      <a:pt x="404" y="228"/>
                    </a:lnTo>
                    <a:lnTo>
                      <a:pt x="405" y="227"/>
                    </a:lnTo>
                    <a:lnTo>
                      <a:pt x="404" y="224"/>
                    </a:lnTo>
                    <a:lnTo>
                      <a:pt x="403" y="222"/>
                    </a:lnTo>
                    <a:lnTo>
                      <a:pt x="402" y="220"/>
                    </a:lnTo>
                    <a:lnTo>
                      <a:pt x="406" y="214"/>
                    </a:lnTo>
                    <a:lnTo>
                      <a:pt x="406" y="210"/>
                    </a:lnTo>
                    <a:lnTo>
                      <a:pt x="407" y="209"/>
                    </a:lnTo>
                    <a:lnTo>
                      <a:pt x="407" y="206"/>
                    </a:lnTo>
                    <a:lnTo>
                      <a:pt x="414" y="206"/>
                    </a:lnTo>
                    <a:lnTo>
                      <a:pt x="414" y="205"/>
                    </a:lnTo>
                    <a:lnTo>
                      <a:pt x="417" y="203"/>
                    </a:lnTo>
                    <a:lnTo>
                      <a:pt x="416" y="200"/>
                    </a:lnTo>
                    <a:lnTo>
                      <a:pt x="420" y="200"/>
                    </a:lnTo>
                    <a:lnTo>
                      <a:pt x="421" y="198"/>
                    </a:lnTo>
                    <a:lnTo>
                      <a:pt x="422" y="196"/>
                    </a:lnTo>
                    <a:lnTo>
                      <a:pt x="423" y="195"/>
                    </a:lnTo>
                    <a:lnTo>
                      <a:pt x="420" y="193"/>
                    </a:lnTo>
                    <a:lnTo>
                      <a:pt x="422" y="186"/>
                    </a:lnTo>
                    <a:lnTo>
                      <a:pt x="425" y="184"/>
                    </a:lnTo>
                    <a:lnTo>
                      <a:pt x="429" y="182"/>
                    </a:lnTo>
                    <a:lnTo>
                      <a:pt x="430" y="179"/>
                    </a:lnTo>
                    <a:lnTo>
                      <a:pt x="428" y="176"/>
                    </a:lnTo>
                    <a:lnTo>
                      <a:pt x="432" y="174"/>
                    </a:lnTo>
                    <a:lnTo>
                      <a:pt x="432" y="173"/>
                    </a:lnTo>
                    <a:lnTo>
                      <a:pt x="435" y="172"/>
                    </a:lnTo>
                    <a:lnTo>
                      <a:pt x="434" y="169"/>
                    </a:lnTo>
                    <a:lnTo>
                      <a:pt x="436" y="166"/>
                    </a:lnTo>
                    <a:lnTo>
                      <a:pt x="433" y="164"/>
                    </a:lnTo>
                    <a:lnTo>
                      <a:pt x="432" y="164"/>
                    </a:lnTo>
                    <a:lnTo>
                      <a:pt x="438" y="158"/>
                    </a:lnTo>
                    <a:lnTo>
                      <a:pt x="443" y="154"/>
                    </a:lnTo>
                    <a:lnTo>
                      <a:pt x="444" y="150"/>
                    </a:lnTo>
                    <a:lnTo>
                      <a:pt x="448" y="146"/>
                    </a:lnTo>
                    <a:lnTo>
                      <a:pt x="447" y="142"/>
                    </a:lnTo>
                    <a:lnTo>
                      <a:pt x="450" y="138"/>
                    </a:lnTo>
                    <a:lnTo>
                      <a:pt x="450" y="137"/>
                    </a:lnTo>
                    <a:lnTo>
                      <a:pt x="450" y="135"/>
                    </a:lnTo>
                    <a:lnTo>
                      <a:pt x="453" y="132"/>
                    </a:lnTo>
                    <a:lnTo>
                      <a:pt x="454" y="129"/>
                    </a:lnTo>
                    <a:lnTo>
                      <a:pt x="460" y="127"/>
                    </a:lnTo>
                    <a:lnTo>
                      <a:pt x="461" y="126"/>
                    </a:lnTo>
                    <a:lnTo>
                      <a:pt x="462" y="119"/>
                    </a:lnTo>
                    <a:lnTo>
                      <a:pt x="460" y="115"/>
                    </a:lnTo>
                    <a:lnTo>
                      <a:pt x="461" y="113"/>
                    </a:lnTo>
                    <a:lnTo>
                      <a:pt x="462" y="110"/>
                    </a:lnTo>
                    <a:lnTo>
                      <a:pt x="466" y="108"/>
                    </a:lnTo>
                    <a:lnTo>
                      <a:pt x="469" y="105"/>
                    </a:lnTo>
                    <a:lnTo>
                      <a:pt x="472" y="104"/>
                    </a:lnTo>
                    <a:lnTo>
                      <a:pt x="474" y="104"/>
                    </a:lnTo>
                    <a:lnTo>
                      <a:pt x="475" y="100"/>
                    </a:lnTo>
                    <a:lnTo>
                      <a:pt x="477" y="98"/>
                    </a:lnTo>
                    <a:lnTo>
                      <a:pt x="477" y="95"/>
                    </a:lnTo>
                    <a:lnTo>
                      <a:pt x="480" y="92"/>
                    </a:lnTo>
                    <a:lnTo>
                      <a:pt x="480" y="90"/>
                    </a:lnTo>
                    <a:lnTo>
                      <a:pt x="482" y="90"/>
                    </a:lnTo>
                    <a:lnTo>
                      <a:pt x="486" y="87"/>
                    </a:lnTo>
                    <a:lnTo>
                      <a:pt x="490" y="88"/>
                    </a:lnTo>
                    <a:lnTo>
                      <a:pt x="493" y="88"/>
                    </a:lnTo>
                    <a:lnTo>
                      <a:pt x="494" y="84"/>
                    </a:lnTo>
                    <a:lnTo>
                      <a:pt x="496" y="82"/>
                    </a:lnTo>
                    <a:lnTo>
                      <a:pt x="498" y="83"/>
                    </a:lnTo>
                    <a:lnTo>
                      <a:pt x="503" y="86"/>
                    </a:lnTo>
                    <a:lnTo>
                      <a:pt x="511" y="84"/>
                    </a:lnTo>
                    <a:lnTo>
                      <a:pt x="513" y="83"/>
                    </a:lnTo>
                    <a:lnTo>
                      <a:pt x="514" y="80"/>
                    </a:lnTo>
                    <a:lnTo>
                      <a:pt x="515" y="79"/>
                    </a:lnTo>
                    <a:lnTo>
                      <a:pt x="520" y="78"/>
                    </a:lnTo>
                    <a:lnTo>
                      <a:pt x="521" y="76"/>
                    </a:lnTo>
                    <a:lnTo>
                      <a:pt x="520" y="74"/>
                    </a:lnTo>
                    <a:lnTo>
                      <a:pt x="527" y="71"/>
                    </a:lnTo>
                    <a:lnTo>
                      <a:pt x="528" y="68"/>
                    </a:lnTo>
                    <a:lnTo>
                      <a:pt x="530" y="65"/>
                    </a:lnTo>
                    <a:lnTo>
                      <a:pt x="526" y="63"/>
                    </a:lnTo>
                    <a:lnTo>
                      <a:pt x="527" y="62"/>
                    </a:lnTo>
                    <a:lnTo>
                      <a:pt x="528" y="61"/>
                    </a:lnTo>
                    <a:lnTo>
                      <a:pt x="528" y="59"/>
                    </a:lnTo>
                    <a:lnTo>
                      <a:pt x="529" y="59"/>
                    </a:lnTo>
                    <a:lnTo>
                      <a:pt x="529" y="57"/>
                    </a:lnTo>
                    <a:lnTo>
                      <a:pt x="526" y="51"/>
                    </a:lnTo>
                    <a:lnTo>
                      <a:pt x="522" y="48"/>
                    </a:lnTo>
                    <a:lnTo>
                      <a:pt x="520" y="50"/>
                    </a:lnTo>
                    <a:lnTo>
                      <a:pt x="518" y="49"/>
                    </a:lnTo>
                    <a:lnTo>
                      <a:pt x="512" y="51"/>
                    </a:lnTo>
                    <a:lnTo>
                      <a:pt x="508" y="50"/>
                    </a:lnTo>
                    <a:lnTo>
                      <a:pt x="507" y="49"/>
                    </a:lnTo>
                    <a:lnTo>
                      <a:pt x="505" y="43"/>
                    </a:lnTo>
                    <a:lnTo>
                      <a:pt x="504" y="42"/>
                    </a:lnTo>
                    <a:lnTo>
                      <a:pt x="505" y="40"/>
                    </a:lnTo>
                    <a:lnTo>
                      <a:pt x="502" y="39"/>
                    </a:lnTo>
                    <a:lnTo>
                      <a:pt x="499" y="35"/>
                    </a:lnTo>
                    <a:lnTo>
                      <a:pt x="495" y="35"/>
                    </a:lnTo>
                    <a:lnTo>
                      <a:pt x="491" y="34"/>
                    </a:lnTo>
                    <a:lnTo>
                      <a:pt x="490" y="35"/>
                    </a:lnTo>
                    <a:lnTo>
                      <a:pt x="485" y="27"/>
                    </a:lnTo>
                    <a:lnTo>
                      <a:pt x="485" y="26"/>
                    </a:lnTo>
                    <a:lnTo>
                      <a:pt x="485" y="23"/>
                    </a:lnTo>
                    <a:lnTo>
                      <a:pt x="480" y="23"/>
                    </a:lnTo>
                    <a:lnTo>
                      <a:pt x="480" y="21"/>
                    </a:lnTo>
                    <a:lnTo>
                      <a:pt x="481" y="19"/>
                    </a:lnTo>
                    <a:lnTo>
                      <a:pt x="481" y="18"/>
                    </a:lnTo>
                    <a:lnTo>
                      <a:pt x="477" y="17"/>
                    </a:lnTo>
                    <a:lnTo>
                      <a:pt x="473" y="18"/>
                    </a:lnTo>
                    <a:lnTo>
                      <a:pt x="472" y="17"/>
                    </a:lnTo>
                    <a:lnTo>
                      <a:pt x="468" y="21"/>
                    </a:lnTo>
                    <a:lnTo>
                      <a:pt x="462" y="20"/>
                    </a:lnTo>
                    <a:lnTo>
                      <a:pt x="455" y="21"/>
                    </a:lnTo>
                    <a:lnTo>
                      <a:pt x="451" y="23"/>
                    </a:lnTo>
                    <a:lnTo>
                      <a:pt x="448" y="23"/>
                    </a:lnTo>
                    <a:lnTo>
                      <a:pt x="446" y="25"/>
                    </a:lnTo>
                    <a:lnTo>
                      <a:pt x="445" y="25"/>
                    </a:lnTo>
                    <a:lnTo>
                      <a:pt x="442" y="25"/>
                    </a:lnTo>
                    <a:lnTo>
                      <a:pt x="438" y="23"/>
                    </a:lnTo>
                    <a:lnTo>
                      <a:pt x="432" y="15"/>
                    </a:lnTo>
                    <a:lnTo>
                      <a:pt x="431" y="13"/>
                    </a:lnTo>
                    <a:lnTo>
                      <a:pt x="430" y="8"/>
                    </a:lnTo>
                    <a:lnTo>
                      <a:pt x="424" y="7"/>
                    </a:lnTo>
                    <a:lnTo>
                      <a:pt x="422" y="4"/>
                    </a:lnTo>
                    <a:lnTo>
                      <a:pt x="417" y="0"/>
                    </a:lnTo>
                    <a:lnTo>
                      <a:pt x="416" y="0"/>
                    </a:lnTo>
                    <a:lnTo>
                      <a:pt x="415" y="1"/>
                    </a:lnTo>
                    <a:lnTo>
                      <a:pt x="414" y="2"/>
                    </a:lnTo>
                    <a:lnTo>
                      <a:pt x="406" y="3"/>
                    </a:lnTo>
                    <a:lnTo>
                      <a:pt x="404" y="7"/>
                    </a:lnTo>
                    <a:lnTo>
                      <a:pt x="399" y="5"/>
                    </a:lnTo>
                    <a:lnTo>
                      <a:pt x="395" y="7"/>
                    </a:lnTo>
                    <a:lnTo>
                      <a:pt x="391" y="9"/>
                    </a:lnTo>
                    <a:lnTo>
                      <a:pt x="388" y="7"/>
                    </a:lnTo>
                    <a:lnTo>
                      <a:pt x="382" y="5"/>
                    </a:lnTo>
                    <a:lnTo>
                      <a:pt x="377" y="5"/>
                    </a:lnTo>
                    <a:lnTo>
                      <a:pt x="375" y="3"/>
                    </a:lnTo>
                    <a:lnTo>
                      <a:pt x="372" y="3"/>
                    </a:lnTo>
                    <a:lnTo>
                      <a:pt x="369" y="0"/>
                    </a:lnTo>
                    <a:lnTo>
                      <a:pt x="364" y="1"/>
                    </a:lnTo>
                    <a:lnTo>
                      <a:pt x="361" y="1"/>
                    </a:lnTo>
                    <a:lnTo>
                      <a:pt x="355" y="1"/>
                    </a:lnTo>
                    <a:lnTo>
                      <a:pt x="350" y="4"/>
                    </a:lnTo>
                    <a:lnTo>
                      <a:pt x="348" y="3"/>
                    </a:lnTo>
                    <a:lnTo>
                      <a:pt x="343" y="5"/>
                    </a:lnTo>
                    <a:lnTo>
                      <a:pt x="343" y="10"/>
                    </a:lnTo>
                    <a:lnTo>
                      <a:pt x="339" y="13"/>
                    </a:lnTo>
                    <a:lnTo>
                      <a:pt x="338" y="15"/>
                    </a:lnTo>
                    <a:lnTo>
                      <a:pt x="336" y="18"/>
                    </a:lnTo>
                    <a:lnTo>
                      <a:pt x="335" y="23"/>
                    </a:lnTo>
                    <a:lnTo>
                      <a:pt x="333" y="26"/>
                    </a:lnTo>
                    <a:lnTo>
                      <a:pt x="332" y="29"/>
                    </a:lnTo>
                    <a:lnTo>
                      <a:pt x="329" y="32"/>
                    </a:lnTo>
                    <a:lnTo>
                      <a:pt x="326" y="34"/>
                    </a:lnTo>
                    <a:lnTo>
                      <a:pt x="325" y="34"/>
                    </a:lnTo>
                    <a:lnTo>
                      <a:pt x="322" y="32"/>
                    </a:lnTo>
                    <a:lnTo>
                      <a:pt x="322" y="33"/>
                    </a:lnTo>
                    <a:lnTo>
                      <a:pt x="318" y="34"/>
                    </a:lnTo>
                    <a:lnTo>
                      <a:pt x="315" y="33"/>
                    </a:lnTo>
                    <a:lnTo>
                      <a:pt x="315" y="34"/>
                    </a:lnTo>
                    <a:lnTo>
                      <a:pt x="314" y="37"/>
                    </a:lnTo>
                    <a:lnTo>
                      <a:pt x="314" y="39"/>
                    </a:lnTo>
                    <a:lnTo>
                      <a:pt x="309" y="40"/>
                    </a:lnTo>
                    <a:lnTo>
                      <a:pt x="308" y="43"/>
                    </a:lnTo>
                    <a:lnTo>
                      <a:pt x="304" y="43"/>
                    </a:lnTo>
                    <a:lnTo>
                      <a:pt x="297" y="47"/>
                    </a:lnTo>
                    <a:lnTo>
                      <a:pt x="296" y="47"/>
                    </a:lnTo>
                    <a:lnTo>
                      <a:pt x="295" y="45"/>
                    </a:lnTo>
                    <a:lnTo>
                      <a:pt x="294" y="44"/>
                    </a:lnTo>
                    <a:lnTo>
                      <a:pt x="292" y="44"/>
                    </a:lnTo>
                    <a:lnTo>
                      <a:pt x="288" y="44"/>
                    </a:lnTo>
                    <a:lnTo>
                      <a:pt x="287" y="44"/>
                    </a:lnTo>
                    <a:lnTo>
                      <a:pt x="287" y="41"/>
                    </a:lnTo>
                    <a:lnTo>
                      <a:pt x="287" y="39"/>
                    </a:lnTo>
                    <a:lnTo>
                      <a:pt x="283" y="39"/>
                    </a:lnTo>
                    <a:lnTo>
                      <a:pt x="280" y="39"/>
                    </a:lnTo>
                    <a:lnTo>
                      <a:pt x="279" y="37"/>
                    </a:lnTo>
                    <a:lnTo>
                      <a:pt x="275" y="36"/>
                    </a:lnTo>
                    <a:lnTo>
                      <a:pt x="271" y="38"/>
                    </a:lnTo>
                    <a:lnTo>
                      <a:pt x="268" y="38"/>
                    </a:lnTo>
                    <a:lnTo>
                      <a:pt x="266" y="39"/>
                    </a:lnTo>
                    <a:lnTo>
                      <a:pt x="266" y="41"/>
                    </a:lnTo>
                    <a:lnTo>
                      <a:pt x="265" y="43"/>
                    </a:lnTo>
                    <a:lnTo>
                      <a:pt x="263" y="51"/>
                    </a:lnTo>
                    <a:lnTo>
                      <a:pt x="254" y="51"/>
                    </a:lnTo>
                    <a:lnTo>
                      <a:pt x="247" y="53"/>
                    </a:lnTo>
                    <a:lnTo>
                      <a:pt x="245" y="56"/>
                    </a:lnTo>
                    <a:lnTo>
                      <a:pt x="242" y="55"/>
                    </a:lnTo>
                    <a:lnTo>
                      <a:pt x="230" y="55"/>
                    </a:lnTo>
                    <a:lnTo>
                      <a:pt x="228" y="53"/>
                    </a:lnTo>
                    <a:lnTo>
                      <a:pt x="226" y="53"/>
                    </a:lnTo>
                    <a:lnTo>
                      <a:pt x="222" y="55"/>
                    </a:lnTo>
                    <a:lnTo>
                      <a:pt x="218" y="55"/>
                    </a:lnTo>
                    <a:lnTo>
                      <a:pt x="216" y="56"/>
                    </a:lnTo>
                    <a:lnTo>
                      <a:pt x="214" y="56"/>
                    </a:lnTo>
                    <a:lnTo>
                      <a:pt x="212" y="57"/>
                    </a:lnTo>
                    <a:lnTo>
                      <a:pt x="211" y="58"/>
                    </a:lnTo>
                    <a:lnTo>
                      <a:pt x="212" y="60"/>
                    </a:lnTo>
                    <a:lnTo>
                      <a:pt x="211" y="62"/>
                    </a:lnTo>
                    <a:lnTo>
                      <a:pt x="207" y="63"/>
                    </a:lnTo>
                    <a:lnTo>
                      <a:pt x="207" y="64"/>
                    </a:lnTo>
                    <a:lnTo>
                      <a:pt x="208" y="65"/>
                    </a:lnTo>
                    <a:lnTo>
                      <a:pt x="207" y="71"/>
                    </a:lnTo>
                    <a:lnTo>
                      <a:pt x="208" y="72"/>
                    </a:lnTo>
                    <a:lnTo>
                      <a:pt x="208" y="74"/>
                    </a:lnTo>
                    <a:lnTo>
                      <a:pt x="209" y="74"/>
                    </a:lnTo>
                    <a:lnTo>
                      <a:pt x="210" y="76"/>
                    </a:lnTo>
                    <a:lnTo>
                      <a:pt x="211" y="76"/>
                    </a:lnTo>
                    <a:lnTo>
                      <a:pt x="213" y="78"/>
                    </a:lnTo>
                    <a:lnTo>
                      <a:pt x="214" y="79"/>
                    </a:lnTo>
                    <a:lnTo>
                      <a:pt x="214" y="80"/>
                    </a:lnTo>
                    <a:close/>
                  </a:path>
                </a:pathLst>
              </a:custGeom>
              <a:solidFill>
                <a:srgbClr val="E7E7E4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66" name="Switzerland">
                <a:extLst>
                  <a:ext uri="{FF2B5EF4-FFF2-40B4-BE49-F238E27FC236}">
                    <a16:creationId xmlns:a16="http://schemas.microsoft.com/office/drawing/2014/main" id="{CF90FCFA-E357-4DD0-86C4-18065BB5EC1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360985" y="3849503"/>
                <a:ext cx="395931" cy="268379"/>
              </a:xfrm>
              <a:custGeom>
                <a:avLst/>
                <a:gdLst>
                  <a:gd name="T0" fmla="*/ 219 w 353"/>
                  <a:gd name="T1" fmla="*/ 10 h 210"/>
                  <a:gd name="T2" fmla="*/ 212 w 353"/>
                  <a:gd name="T3" fmla="*/ 3 h 210"/>
                  <a:gd name="T4" fmla="*/ 202 w 353"/>
                  <a:gd name="T5" fmla="*/ 1 h 210"/>
                  <a:gd name="T6" fmla="*/ 195 w 353"/>
                  <a:gd name="T7" fmla="*/ 16 h 210"/>
                  <a:gd name="T8" fmla="*/ 206 w 353"/>
                  <a:gd name="T9" fmla="*/ 17 h 210"/>
                  <a:gd name="T10" fmla="*/ 197 w 353"/>
                  <a:gd name="T11" fmla="*/ 20 h 210"/>
                  <a:gd name="T12" fmla="*/ 186 w 353"/>
                  <a:gd name="T13" fmla="*/ 25 h 210"/>
                  <a:gd name="T14" fmla="*/ 152 w 353"/>
                  <a:gd name="T15" fmla="*/ 27 h 210"/>
                  <a:gd name="T16" fmla="*/ 130 w 353"/>
                  <a:gd name="T17" fmla="*/ 25 h 210"/>
                  <a:gd name="T18" fmla="*/ 120 w 353"/>
                  <a:gd name="T19" fmla="*/ 28 h 210"/>
                  <a:gd name="T20" fmla="*/ 114 w 353"/>
                  <a:gd name="T21" fmla="*/ 33 h 210"/>
                  <a:gd name="T22" fmla="*/ 99 w 353"/>
                  <a:gd name="T23" fmla="*/ 39 h 210"/>
                  <a:gd name="T24" fmla="*/ 80 w 353"/>
                  <a:gd name="T25" fmla="*/ 35 h 210"/>
                  <a:gd name="T26" fmla="*/ 71 w 353"/>
                  <a:gd name="T27" fmla="*/ 47 h 210"/>
                  <a:gd name="T28" fmla="*/ 79 w 353"/>
                  <a:gd name="T29" fmla="*/ 55 h 210"/>
                  <a:gd name="T30" fmla="*/ 61 w 353"/>
                  <a:gd name="T31" fmla="*/ 73 h 210"/>
                  <a:gd name="T32" fmla="*/ 44 w 353"/>
                  <a:gd name="T33" fmla="*/ 88 h 210"/>
                  <a:gd name="T34" fmla="*/ 39 w 353"/>
                  <a:gd name="T35" fmla="*/ 109 h 210"/>
                  <a:gd name="T36" fmla="*/ 13 w 353"/>
                  <a:gd name="T37" fmla="*/ 134 h 210"/>
                  <a:gd name="T38" fmla="*/ 12 w 353"/>
                  <a:gd name="T39" fmla="*/ 164 h 210"/>
                  <a:gd name="T40" fmla="*/ 3 w 353"/>
                  <a:gd name="T41" fmla="*/ 176 h 210"/>
                  <a:gd name="T42" fmla="*/ 24 w 353"/>
                  <a:gd name="T43" fmla="*/ 164 h 210"/>
                  <a:gd name="T44" fmla="*/ 60 w 353"/>
                  <a:gd name="T45" fmla="*/ 144 h 210"/>
                  <a:gd name="T46" fmla="*/ 65 w 353"/>
                  <a:gd name="T47" fmla="*/ 172 h 210"/>
                  <a:gd name="T48" fmla="*/ 70 w 353"/>
                  <a:gd name="T49" fmla="*/ 186 h 210"/>
                  <a:gd name="T50" fmla="*/ 84 w 353"/>
                  <a:gd name="T51" fmla="*/ 198 h 210"/>
                  <a:gd name="T52" fmla="*/ 122 w 353"/>
                  <a:gd name="T53" fmla="*/ 195 h 210"/>
                  <a:gd name="T54" fmla="*/ 141 w 353"/>
                  <a:gd name="T55" fmla="*/ 197 h 210"/>
                  <a:gd name="T56" fmla="*/ 158 w 353"/>
                  <a:gd name="T57" fmla="*/ 192 h 210"/>
                  <a:gd name="T58" fmla="*/ 170 w 353"/>
                  <a:gd name="T59" fmla="*/ 173 h 210"/>
                  <a:gd name="T60" fmla="*/ 179 w 353"/>
                  <a:gd name="T61" fmla="*/ 154 h 210"/>
                  <a:gd name="T62" fmla="*/ 194 w 353"/>
                  <a:gd name="T63" fmla="*/ 146 h 210"/>
                  <a:gd name="T64" fmla="*/ 204 w 353"/>
                  <a:gd name="T65" fmla="*/ 173 h 210"/>
                  <a:gd name="T66" fmla="*/ 217 w 353"/>
                  <a:gd name="T67" fmla="*/ 178 h 210"/>
                  <a:gd name="T68" fmla="*/ 221 w 353"/>
                  <a:gd name="T69" fmla="*/ 188 h 210"/>
                  <a:gd name="T70" fmla="*/ 234 w 353"/>
                  <a:gd name="T71" fmla="*/ 209 h 210"/>
                  <a:gd name="T72" fmla="*/ 238 w 353"/>
                  <a:gd name="T73" fmla="*/ 195 h 210"/>
                  <a:gd name="T74" fmla="*/ 244 w 353"/>
                  <a:gd name="T75" fmla="*/ 178 h 210"/>
                  <a:gd name="T76" fmla="*/ 259 w 353"/>
                  <a:gd name="T77" fmla="*/ 155 h 210"/>
                  <a:gd name="T78" fmla="*/ 260 w 353"/>
                  <a:gd name="T79" fmla="*/ 138 h 210"/>
                  <a:gd name="T80" fmla="*/ 272 w 353"/>
                  <a:gd name="T81" fmla="*/ 146 h 210"/>
                  <a:gd name="T82" fmla="*/ 294 w 353"/>
                  <a:gd name="T83" fmla="*/ 158 h 210"/>
                  <a:gd name="T84" fmla="*/ 313 w 353"/>
                  <a:gd name="T85" fmla="*/ 156 h 210"/>
                  <a:gd name="T86" fmla="*/ 328 w 353"/>
                  <a:gd name="T87" fmla="*/ 164 h 210"/>
                  <a:gd name="T88" fmla="*/ 325 w 353"/>
                  <a:gd name="T89" fmla="*/ 146 h 210"/>
                  <a:gd name="T90" fmla="*/ 322 w 353"/>
                  <a:gd name="T91" fmla="*/ 131 h 210"/>
                  <a:gd name="T92" fmla="*/ 337 w 353"/>
                  <a:gd name="T93" fmla="*/ 130 h 210"/>
                  <a:gd name="T94" fmla="*/ 353 w 353"/>
                  <a:gd name="T95" fmla="*/ 128 h 210"/>
                  <a:gd name="T96" fmla="*/ 350 w 353"/>
                  <a:gd name="T97" fmla="*/ 111 h 210"/>
                  <a:gd name="T98" fmla="*/ 346 w 353"/>
                  <a:gd name="T99" fmla="*/ 85 h 210"/>
                  <a:gd name="T100" fmla="*/ 332 w 353"/>
                  <a:gd name="T101" fmla="*/ 98 h 210"/>
                  <a:gd name="T102" fmla="*/ 313 w 353"/>
                  <a:gd name="T103" fmla="*/ 94 h 210"/>
                  <a:gd name="T104" fmla="*/ 302 w 353"/>
                  <a:gd name="T105" fmla="*/ 83 h 210"/>
                  <a:gd name="T106" fmla="*/ 273 w 353"/>
                  <a:gd name="T107" fmla="*/ 78 h 210"/>
                  <a:gd name="T108" fmla="*/ 283 w 353"/>
                  <a:gd name="T109" fmla="*/ 51 h 210"/>
                  <a:gd name="T110" fmla="*/ 281 w 353"/>
                  <a:gd name="T111" fmla="*/ 32 h 210"/>
                  <a:gd name="T112" fmla="*/ 229 w 353"/>
                  <a:gd name="T113" fmla="*/ 17 h 21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53"/>
                  <a:gd name="T172" fmla="*/ 0 h 210"/>
                  <a:gd name="T173" fmla="*/ 353 w 353"/>
                  <a:gd name="T174" fmla="*/ 210 h 210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53" h="210">
                    <a:moveTo>
                      <a:pt x="227" y="15"/>
                    </a:moveTo>
                    <a:lnTo>
                      <a:pt x="225" y="13"/>
                    </a:lnTo>
                    <a:lnTo>
                      <a:pt x="226" y="11"/>
                    </a:lnTo>
                    <a:lnTo>
                      <a:pt x="227" y="12"/>
                    </a:lnTo>
                    <a:lnTo>
                      <a:pt x="227" y="11"/>
                    </a:lnTo>
                    <a:lnTo>
                      <a:pt x="224" y="9"/>
                    </a:lnTo>
                    <a:lnTo>
                      <a:pt x="223" y="10"/>
                    </a:lnTo>
                    <a:lnTo>
                      <a:pt x="222" y="8"/>
                    </a:lnTo>
                    <a:lnTo>
                      <a:pt x="219" y="10"/>
                    </a:lnTo>
                    <a:lnTo>
                      <a:pt x="222" y="11"/>
                    </a:lnTo>
                    <a:lnTo>
                      <a:pt x="221" y="13"/>
                    </a:lnTo>
                    <a:lnTo>
                      <a:pt x="215" y="12"/>
                    </a:lnTo>
                    <a:lnTo>
                      <a:pt x="216" y="10"/>
                    </a:lnTo>
                    <a:lnTo>
                      <a:pt x="215" y="9"/>
                    </a:lnTo>
                    <a:lnTo>
                      <a:pt x="216" y="6"/>
                    </a:lnTo>
                    <a:lnTo>
                      <a:pt x="216" y="5"/>
                    </a:lnTo>
                    <a:lnTo>
                      <a:pt x="213" y="4"/>
                    </a:lnTo>
                    <a:lnTo>
                      <a:pt x="212" y="3"/>
                    </a:lnTo>
                    <a:lnTo>
                      <a:pt x="210" y="1"/>
                    </a:lnTo>
                    <a:lnTo>
                      <a:pt x="209" y="2"/>
                    </a:lnTo>
                    <a:lnTo>
                      <a:pt x="209" y="4"/>
                    </a:lnTo>
                    <a:lnTo>
                      <a:pt x="208" y="5"/>
                    </a:lnTo>
                    <a:lnTo>
                      <a:pt x="207" y="3"/>
                    </a:lnTo>
                    <a:lnTo>
                      <a:pt x="207" y="1"/>
                    </a:lnTo>
                    <a:lnTo>
                      <a:pt x="203" y="0"/>
                    </a:lnTo>
                    <a:lnTo>
                      <a:pt x="202" y="1"/>
                    </a:lnTo>
                    <a:lnTo>
                      <a:pt x="203" y="2"/>
                    </a:lnTo>
                    <a:lnTo>
                      <a:pt x="203" y="3"/>
                    </a:lnTo>
                    <a:lnTo>
                      <a:pt x="196" y="4"/>
                    </a:lnTo>
                    <a:lnTo>
                      <a:pt x="194" y="7"/>
                    </a:lnTo>
                    <a:lnTo>
                      <a:pt x="194" y="9"/>
                    </a:lnTo>
                    <a:lnTo>
                      <a:pt x="190" y="11"/>
                    </a:lnTo>
                    <a:lnTo>
                      <a:pt x="192" y="13"/>
                    </a:lnTo>
                    <a:lnTo>
                      <a:pt x="190" y="15"/>
                    </a:lnTo>
                    <a:lnTo>
                      <a:pt x="195" y="16"/>
                    </a:lnTo>
                    <a:lnTo>
                      <a:pt x="196" y="17"/>
                    </a:lnTo>
                    <a:lnTo>
                      <a:pt x="200" y="17"/>
                    </a:lnTo>
                    <a:lnTo>
                      <a:pt x="201" y="15"/>
                    </a:lnTo>
                    <a:lnTo>
                      <a:pt x="204" y="15"/>
                    </a:lnTo>
                    <a:lnTo>
                      <a:pt x="206" y="15"/>
                    </a:lnTo>
                    <a:lnTo>
                      <a:pt x="208" y="17"/>
                    </a:lnTo>
                    <a:lnTo>
                      <a:pt x="207" y="18"/>
                    </a:lnTo>
                    <a:lnTo>
                      <a:pt x="206" y="17"/>
                    </a:lnTo>
                    <a:lnTo>
                      <a:pt x="205" y="18"/>
                    </a:lnTo>
                    <a:lnTo>
                      <a:pt x="206" y="20"/>
                    </a:lnTo>
                    <a:lnTo>
                      <a:pt x="204" y="22"/>
                    </a:lnTo>
                    <a:lnTo>
                      <a:pt x="203" y="22"/>
                    </a:lnTo>
                    <a:lnTo>
                      <a:pt x="203" y="20"/>
                    </a:lnTo>
                    <a:lnTo>
                      <a:pt x="200" y="19"/>
                    </a:lnTo>
                    <a:lnTo>
                      <a:pt x="198" y="19"/>
                    </a:lnTo>
                    <a:lnTo>
                      <a:pt x="197" y="20"/>
                    </a:lnTo>
                    <a:lnTo>
                      <a:pt x="196" y="21"/>
                    </a:lnTo>
                    <a:lnTo>
                      <a:pt x="194" y="23"/>
                    </a:lnTo>
                    <a:lnTo>
                      <a:pt x="195" y="23"/>
                    </a:lnTo>
                    <a:lnTo>
                      <a:pt x="197" y="24"/>
                    </a:lnTo>
                    <a:lnTo>
                      <a:pt x="197" y="23"/>
                    </a:lnTo>
                    <a:lnTo>
                      <a:pt x="193" y="25"/>
                    </a:lnTo>
                    <a:lnTo>
                      <a:pt x="189" y="24"/>
                    </a:lnTo>
                    <a:lnTo>
                      <a:pt x="189" y="25"/>
                    </a:lnTo>
                    <a:lnTo>
                      <a:pt x="186" y="25"/>
                    </a:lnTo>
                    <a:lnTo>
                      <a:pt x="183" y="23"/>
                    </a:lnTo>
                    <a:lnTo>
                      <a:pt x="181" y="21"/>
                    </a:lnTo>
                    <a:lnTo>
                      <a:pt x="178" y="20"/>
                    </a:lnTo>
                    <a:lnTo>
                      <a:pt x="176" y="21"/>
                    </a:lnTo>
                    <a:lnTo>
                      <a:pt x="174" y="20"/>
                    </a:lnTo>
                    <a:lnTo>
                      <a:pt x="172" y="22"/>
                    </a:lnTo>
                    <a:lnTo>
                      <a:pt x="168" y="23"/>
                    </a:lnTo>
                    <a:lnTo>
                      <a:pt x="166" y="26"/>
                    </a:lnTo>
                    <a:lnTo>
                      <a:pt x="152" y="27"/>
                    </a:lnTo>
                    <a:lnTo>
                      <a:pt x="152" y="25"/>
                    </a:lnTo>
                    <a:lnTo>
                      <a:pt x="150" y="23"/>
                    </a:lnTo>
                    <a:lnTo>
                      <a:pt x="145" y="23"/>
                    </a:lnTo>
                    <a:lnTo>
                      <a:pt x="142" y="27"/>
                    </a:lnTo>
                    <a:lnTo>
                      <a:pt x="135" y="28"/>
                    </a:lnTo>
                    <a:lnTo>
                      <a:pt x="133" y="28"/>
                    </a:lnTo>
                    <a:lnTo>
                      <a:pt x="129" y="26"/>
                    </a:lnTo>
                    <a:lnTo>
                      <a:pt x="130" y="25"/>
                    </a:lnTo>
                    <a:lnTo>
                      <a:pt x="133" y="25"/>
                    </a:lnTo>
                    <a:lnTo>
                      <a:pt x="133" y="23"/>
                    </a:lnTo>
                    <a:lnTo>
                      <a:pt x="134" y="21"/>
                    </a:lnTo>
                    <a:lnTo>
                      <a:pt x="131" y="21"/>
                    </a:lnTo>
                    <a:lnTo>
                      <a:pt x="127" y="23"/>
                    </a:lnTo>
                    <a:lnTo>
                      <a:pt x="124" y="24"/>
                    </a:lnTo>
                    <a:lnTo>
                      <a:pt x="124" y="25"/>
                    </a:lnTo>
                    <a:lnTo>
                      <a:pt x="120" y="27"/>
                    </a:lnTo>
                    <a:lnTo>
                      <a:pt x="120" y="28"/>
                    </a:lnTo>
                    <a:lnTo>
                      <a:pt x="122" y="28"/>
                    </a:lnTo>
                    <a:lnTo>
                      <a:pt x="122" y="29"/>
                    </a:lnTo>
                    <a:lnTo>
                      <a:pt x="121" y="30"/>
                    </a:lnTo>
                    <a:lnTo>
                      <a:pt x="119" y="30"/>
                    </a:lnTo>
                    <a:lnTo>
                      <a:pt x="120" y="32"/>
                    </a:lnTo>
                    <a:lnTo>
                      <a:pt x="120" y="33"/>
                    </a:lnTo>
                    <a:lnTo>
                      <a:pt x="118" y="34"/>
                    </a:lnTo>
                    <a:lnTo>
                      <a:pt x="116" y="33"/>
                    </a:lnTo>
                    <a:lnTo>
                      <a:pt x="114" y="33"/>
                    </a:lnTo>
                    <a:lnTo>
                      <a:pt x="114" y="34"/>
                    </a:lnTo>
                    <a:lnTo>
                      <a:pt x="116" y="35"/>
                    </a:lnTo>
                    <a:lnTo>
                      <a:pt x="116" y="36"/>
                    </a:lnTo>
                    <a:lnTo>
                      <a:pt x="113" y="38"/>
                    </a:lnTo>
                    <a:lnTo>
                      <a:pt x="112" y="39"/>
                    </a:lnTo>
                    <a:lnTo>
                      <a:pt x="109" y="39"/>
                    </a:lnTo>
                    <a:lnTo>
                      <a:pt x="105" y="39"/>
                    </a:lnTo>
                    <a:lnTo>
                      <a:pt x="100" y="41"/>
                    </a:lnTo>
                    <a:lnTo>
                      <a:pt x="99" y="39"/>
                    </a:lnTo>
                    <a:lnTo>
                      <a:pt x="94" y="38"/>
                    </a:lnTo>
                    <a:lnTo>
                      <a:pt x="95" y="35"/>
                    </a:lnTo>
                    <a:lnTo>
                      <a:pt x="97" y="33"/>
                    </a:lnTo>
                    <a:lnTo>
                      <a:pt x="94" y="33"/>
                    </a:lnTo>
                    <a:lnTo>
                      <a:pt x="91" y="32"/>
                    </a:lnTo>
                    <a:lnTo>
                      <a:pt x="86" y="33"/>
                    </a:lnTo>
                    <a:lnTo>
                      <a:pt x="83" y="32"/>
                    </a:lnTo>
                    <a:lnTo>
                      <a:pt x="80" y="33"/>
                    </a:lnTo>
                    <a:lnTo>
                      <a:pt x="80" y="35"/>
                    </a:lnTo>
                    <a:lnTo>
                      <a:pt x="81" y="36"/>
                    </a:lnTo>
                    <a:lnTo>
                      <a:pt x="81" y="38"/>
                    </a:lnTo>
                    <a:lnTo>
                      <a:pt x="78" y="39"/>
                    </a:lnTo>
                    <a:lnTo>
                      <a:pt x="76" y="39"/>
                    </a:lnTo>
                    <a:lnTo>
                      <a:pt x="76" y="42"/>
                    </a:lnTo>
                    <a:lnTo>
                      <a:pt x="74" y="43"/>
                    </a:lnTo>
                    <a:lnTo>
                      <a:pt x="74" y="45"/>
                    </a:lnTo>
                    <a:lnTo>
                      <a:pt x="72" y="45"/>
                    </a:lnTo>
                    <a:lnTo>
                      <a:pt x="71" y="47"/>
                    </a:lnTo>
                    <a:lnTo>
                      <a:pt x="79" y="47"/>
                    </a:lnTo>
                    <a:lnTo>
                      <a:pt x="82" y="46"/>
                    </a:lnTo>
                    <a:lnTo>
                      <a:pt x="85" y="47"/>
                    </a:lnTo>
                    <a:lnTo>
                      <a:pt x="85" y="48"/>
                    </a:lnTo>
                    <a:lnTo>
                      <a:pt x="86" y="49"/>
                    </a:lnTo>
                    <a:lnTo>
                      <a:pt x="84" y="51"/>
                    </a:lnTo>
                    <a:lnTo>
                      <a:pt x="82" y="51"/>
                    </a:lnTo>
                    <a:lnTo>
                      <a:pt x="82" y="53"/>
                    </a:lnTo>
                    <a:lnTo>
                      <a:pt x="79" y="55"/>
                    </a:lnTo>
                    <a:lnTo>
                      <a:pt x="77" y="55"/>
                    </a:lnTo>
                    <a:lnTo>
                      <a:pt x="77" y="59"/>
                    </a:lnTo>
                    <a:lnTo>
                      <a:pt x="76" y="61"/>
                    </a:lnTo>
                    <a:lnTo>
                      <a:pt x="73" y="63"/>
                    </a:lnTo>
                    <a:lnTo>
                      <a:pt x="68" y="67"/>
                    </a:lnTo>
                    <a:lnTo>
                      <a:pt x="68" y="68"/>
                    </a:lnTo>
                    <a:lnTo>
                      <a:pt x="69" y="68"/>
                    </a:lnTo>
                    <a:lnTo>
                      <a:pt x="66" y="71"/>
                    </a:lnTo>
                    <a:lnTo>
                      <a:pt x="61" y="73"/>
                    </a:lnTo>
                    <a:lnTo>
                      <a:pt x="61" y="76"/>
                    </a:lnTo>
                    <a:lnTo>
                      <a:pt x="58" y="76"/>
                    </a:lnTo>
                    <a:lnTo>
                      <a:pt x="57" y="78"/>
                    </a:lnTo>
                    <a:lnTo>
                      <a:pt x="58" y="80"/>
                    </a:lnTo>
                    <a:lnTo>
                      <a:pt x="58" y="81"/>
                    </a:lnTo>
                    <a:lnTo>
                      <a:pt x="55" y="82"/>
                    </a:lnTo>
                    <a:lnTo>
                      <a:pt x="52" y="86"/>
                    </a:lnTo>
                    <a:lnTo>
                      <a:pt x="44" y="88"/>
                    </a:lnTo>
                    <a:lnTo>
                      <a:pt x="41" y="89"/>
                    </a:lnTo>
                    <a:lnTo>
                      <a:pt x="36" y="93"/>
                    </a:lnTo>
                    <a:lnTo>
                      <a:pt x="39" y="98"/>
                    </a:lnTo>
                    <a:lnTo>
                      <a:pt x="39" y="101"/>
                    </a:lnTo>
                    <a:lnTo>
                      <a:pt x="38" y="102"/>
                    </a:lnTo>
                    <a:lnTo>
                      <a:pt x="36" y="106"/>
                    </a:lnTo>
                    <a:lnTo>
                      <a:pt x="37" y="107"/>
                    </a:lnTo>
                    <a:lnTo>
                      <a:pt x="39" y="108"/>
                    </a:lnTo>
                    <a:lnTo>
                      <a:pt x="39" y="109"/>
                    </a:lnTo>
                    <a:lnTo>
                      <a:pt x="36" y="111"/>
                    </a:lnTo>
                    <a:lnTo>
                      <a:pt x="34" y="112"/>
                    </a:lnTo>
                    <a:lnTo>
                      <a:pt x="31" y="115"/>
                    </a:lnTo>
                    <a:lnTo>
                      <a:pt x="28" y="117"/>
                    </a:lnTo>
                    <a:lnTo>
                      <a:pt x="25" y="118"/>
                    </a:lnTo>
                    <a:lnTo>
                      <a:pt x="13" y="129"/>
                    </a:lnTo>
                    <a:lnTo>
                      <a:pt x="15" y="132"/>
                    </a:lnTo>
                    <a:lnTo>
                      <a:pt x="13" y="134"/>
                    </a:lnTo>
                    <a:lnTo>
                      <a:pt x="12" y="138"/>
                    </a:lnTo>
                    <a:lnTo>
                      <a:pt x="9" y="141"/>
                    </a:lnTo>
                    <a:lnTo>
                      <a:pt x="9" y="142"/>
                    </a:lnTo>
                    <a:lnTo>
                      <a:pt x="10" y="144"/>
                    </a:lnTo>
                    <a:lnTo>
                      <a:pt x="8" y="146"/>
                    </a:lnTo>
                    <a:lnTo>
                      <a:pt x="14" y="150"/>
                    </a:lnTo>
                    <a:lnTo>
                      <a:pt x="15" y="152"/>
                    </a:lnTo>
                    <a:lnTo>
                      <a:pt x="11" y="160"/>
                    </a:lnTo>
                    <a:lnTo>
                      <a:pt x="12" y="164"/>
                    </a:lnTo>
                    <a:lnTo>
                      <a:pt x="11" y="164"/>
                    </a:lnTo>
                    <a:lnTo>
                      <a:pt x="9" y="165"/>
                    </a:lnTo>
                    <a:lnTo>
                      <a:pt x="7" y="165"/>
                    </a:lnTo>
                    <a:lnTo>
                      <a:pt x="5" y="166"/>
                    </a:lnTo>
                    <a:lnTo>
                      <a:pt x="0" y="169"/>
                    </a:lnTo>
                    <a:lnTo>
                      <a:pt x="0" y="170"/>
                    </a:lnTo>
                    <a:lnTo>
                      <a:pt x="3" y="173"/>
                    </a:lnTo>
                    <a:lnTo>
                      <a:pt x="0" y="176"/>
                    </a:lnTo>
                    <a:lnTo>
                      <a:pt x="3" y="176"/>
                    </a:lnTo>
                    <a:lnTo>
                      <a:pt x="6" y="176"/>
                    </a:lnTo>
                    <a:lnTo>
                      <a:pt x="8" y="175"/>
                    </a:lnTo>
                    <a:lnTo>
                      <a:pt x="12" y="176"/>
                    </a:lnTo>
                    <a:lnTo>
                      <a:pt x="15" y="175"/>
                    </a:lnTo>
                    <a:lnTo>
                      <a:pt x="17" y="173"/>
                    </a:lnTo>
                    <a:lnTo>
                      <a:pt x="18" y="171"/>
                    </a:lnTo>
                    <a:lnTo>
                      <a:pt x="27" y="165"/>
                    </a:lnTo>
                    <a:lnTo>
                      <a:pt x="25" y="162"/>
                    </a:lnTo>
                    <a:lnTo>
                      <a:pt x="24" y="164"/>
                    </a:lnTo>
                    <a:lnTo>
                      <a:pt x="22" y="160"/>
                    </a:lnTo>
                    <a:lnTo>
                      <a:pt x="23" y="158"/>
                    </a:lnTo>
                    <a:lnTo>
                      <a:pt x="20" y="157"/>
                    </a:lnTo>
                    <a:lnTo>
                      <a:pt x="22" y="154"/>
                    </a:lnTo>
                    <a:lnTo>
                      <a:pt x="27" y="149"/>
                    </a:lnTo>
                    <a:lnTo>
                      <a:pt x="36" y="147"/>
                    </a:lnTo>
                    <a:lnTo>
                      <a:pt x="42" y="143"/>
                    </a:lnTo>
                    <a:lnTo>
                      <a:pt x="52" y="142"/>
                    </a:lnTo>
                    <a:lnTo>
                      <a:pt x="60" y="144"/>
                    </a:lnTo>
                    <a:lnTo>
                      <a:pt x="65" y="146"/>
                    </a:lnTo>
                    <a:lnTo>
                      <a:pt x="66" y="147"/>
                    </a:lnTo>
                    <a:lnTo>
                      <a:pt x="65" y="151"/>
                    </a:lnTo>
                    <a:lnTo>
                      <a:pt x="63" y="153"/>
                    </a:lnTo>
                    <a:lnTo>
                      <a:pt x="63" y="154"/>
                    </a:lnTo>
                    <a:lnTo>
                      <a:pt x="68" y="161"/>
                    </a:lnTo>
                    <a:lnTo>
                      <a:pt x="69" y="162"/>
                    </a:lnTo>
                    <a:lnTo>
                      <a:pt x="65" y="168"/>
                    </a:lnTo>
                    <a:lnTo>
                      <a:pt x="65" y="172"/>
                    </a:lnTo>
                    <a:lnTo>
                      <a:pt x="64" y="173"/>
                    </a:lnTo>
                    <a:lnTo>
                      <a:pt x="64" y="176"/>
                    </a:lnTo>
                    <a:lnTo>
                      <a:pt x="72" y="178"/>
                    </a:lnTo>
                    <a:lnTo>
                      <a:pt x="71" y="180"/>
                    </a:lnTo>
                    <a:lnTo>
                      <a:pt x="70" y="181"/>
                    </a:lnTo>
                    <a:lnTo>
                      <a:pt x="71" y="182"/>
                    </a:lnTo>
                    <a:lnTo>
                      <a:pt x="70" y="184"/>
                    </a:lnTo>
                    <a:lnTo>
                      <a:pt x="70" y="186"/>
                    </a:lnTo>
                    <a:lnTo>
                      <a:pt x="72" y="186"/>
                    </a:lnTo>
                    <a:lnTo>
                      <a:pt x="75" y="184"/>
                    </a:lnTo>
                    <a:lnTo>
                      <a:pt x="76" y="186"/>
                    </a:lnTo>
                    <a:lnTo>
                      <a:pt x="82" y="192"/>
                    </a:lnTo>
                    <a:lnTo>
                      <a:pt x="81" y="194"/>
                    </a:lnTo>
                    <a:lnTo>
                      <a:pt x="83" y="195"/>
                    </a:lnTo>
                    <a:lnTo>
                      <a:pt x="83" y="197"/>
                    </a:lnTo>
                    <a:lnTo>
                      <a:pt x="84" y="198"/>
                    </a:lnTo>
                    <a:lnTo>
                      <a:pt x="89" y="204"/>
                    </a:lnTo>
                    <a:lnTo>
                      <a:pt x="96" y="204"/>
                    </a:lnTo>
                    <a:lnTo>
                      <a:pt x="97" y="202"/>
                    </a:lnTo>
                    <a:lnTo>
                      <a:pt x="100" y="202"/>
                    </a:lnTo>
                    <a:lnTo>
                      <a:pt x="105" y="199"/>
                    </a:lnTo>
                    <a:lnTo>
                      <a:pt x="111" y="200"/>
                    </a:lnTo>
                    <a:lnTo>
                      <a:pt x="117" y="197"/>
                    </a:lnTo>
                    <a:lnTo>
                      <a:pt x="119" y="196"/>
                    </a:lnTo>
                    <a:lnTo>
                      <a:pt x="122" y="195"/>
                    </a:lnTo>
                    <a:lnTo>
                      <a:pt x="123" y="192"/>
                    </a:lnTo>
                    <a:lnTo>
                      <a:pt x="125" y="192"/>
                    </a:lnTo>
                    <a:lnTo>
                      <a:pt x="126" y="193"/>
                    </a:lnTo>
                    <a:lnTo>
                      <a:pt x="131" y="193"/>
                    </a:lnTo>
                    <a:lnTo>
                      <a:pt x="134" y="195"/>
                    </a:lnTo>
                    <a:lnTo>
                      <a:pt x="136" y="196"/>
                    </a:lnTo>
                    <a:lnTo>
                      <a:pt x="136" y="198"/>
                    </a:lnTo>
                    <a:lnTo>
                      <a:pt x="138" y="199"/>
                    </a:lnTo>
                    <a:lnTo>
                      <a:pt x="141" y="197"/>
                    </a:lnTo>
                    <a:lnTo>
                      <a:pt x="143" y="200"/>
                    </a:lnTo>
                    <a:lnTo>
                      <a:pt x="146" y="199"/>
                    </a:lnTo>
                    <a:lnTo>
                      <a:pt x="148" y="200"/>
                    </a:lnTo>
                    <a:lnTo>
                      <a:pt x="149" y="198"/>
                    </a:lnTo>
                    <a:lnTo>
                      <a:pt x="149" y="197"/>
                    </a:lnTo>
                    <a:lnTo>
                      <a:pt x="149" y="196"/>
                    </a:lnTo>
                    <a:lnTo>
                      <a:pt x="149" y="194"/>
                    </a:lnTo>
                    <a:lnTo>
                      <a:pt x="152" y="192"/>
                    </a:lnTo>
                    <a:lnTo>
                      <a:pt x="158" y="192"/>
                    </a:lnTo>
                    <a:lnTo>
                      <a:pt x="160" y="190"/>
                    </a:lnTo>
                    <a:lnTo>
                      <a:pt x="160" y="188"/>
                    </a:lnTo>
                    <a:lnTo>
                      <a:pt x="162" y="186"/>
                    </a:lnTo>
                    <a:lnTo>
                      <a:pt x="161" y="184"/>
                    </a:lnTo>
                    <a:lnTo>
                      <a:pt x="163" y="181"/>
                    </a:lnTo>
                    <a:lnTo>
                      <a:pt x="167" y="179"/>
                    </a:lnTo>
                    <a:lnTo>
                      <a:pt x="168" y="177"/>
                    </a:lnTo>
                    <a:lnTo>
                      <a:pt x="171" y="175"/>
                    </a:lnTo>
                    <a:lnTo>
                      <a:pt x="170" y="173"/>
                    </a:lnTo>
                    <a:lnTo>
                      <a:pt x="171" y="172"/>
                    </a:lnTo>
                    <a:lnTo>
                      <a:pt x="170" y="167"/>
                    </a:lnTo>
                    <a:lnTo>
                      <a:pt x="166" y="164"/>
                    </a:lnTo>
                    <a:lnTo>
                      <a:pt x="167" y="161"/>
                    </a:lnTo>
                    <a:lnTo>
                      <a:pt x="170" y="160"/>
                    </a:lnTo>
                    <a:lnTo>
                      <a:pt x="171" y="160"/>
                    </a:lnTo>
                    <a:lnTo>
                      <a:pt x="175" y="158"/>
                    </a:lnTo>
                    <a:lnTo>
                      <a:pt x="177" y="155"/>
                    </a:lnTo>
                    <a:lnTo>
                      <a:pt x="179" y="154"/>
                    </a:lnTo>
                    <a:lnTo>
                      <a:pt x="179" y="153"/>
                    </a:lnTo>
                    <a:lnTo>
                      <a:pt x="182" y="152"/>
                    </a:lnTo>
                    <a:lnTo>
                      <a:pt x="184" y="149"/>
                    </a:lnTo>
                    <a:lnTo>
                      <a:pt x="182" y="147"/>
                    </a:lnTo>
                    <a:lnTo>
                      <a:pt x="183" y="146"/>
                    </a:lnTo>
                    <a:lnTo>
                      <a:pt x="187" y="143"/>
                    </a:lnTo>
                    <a:lnTo>
                      <a:pt x="194" y="142"/>
                    </a:lnTo>
                    <a:lnTo>
                      <a:pt x="194" y="143"/>
                    </a:lnTo>
                    <a:lnTo>
                      <a:pt x="194" y="146"/>
                    </a:lnTo>
                    <a:lnTo>
                      <a:pt x="195" y="149"/>
                    </a:lnTo>
                    <a:lnTo>
                      <a:pt x="195" y="152"/>
                    </a:lnTo>
                    <a:lnTo>
                      <a:pt x="194" y="156"/>
                    </a:lnTo>
                    <a:lnTo>
                      <a:pt x="192" y="160"/>
                    </a:lnTo>
                    <a:lnTo>
                      <a:pt x="194" y="162"/>
                    </a:lnTo>
                    <a:lnTo>
                      <a:pt x="194" y="165"/>
                    </a:lnTo>
                    <a:lnTo>
                      <a:pt x="195" y="167"/>
                    </a:lnTo>
                    <a:lnTo>
                      <a:pt x="200" y="168"/>
                    </a:lnTo>
                    <a:lnTo>
                      <a:pt x="204" y="173"/>
                    </a:lnTo>
                    <a:lnTo>
                      <a:pt x="205" y="173"/>
                    </a:lnTo>
                    <a:lnTo>
                      <a:pt x="205" y="176"/>
                    </a:lnTo>
                    <a:lnTo>
                      <a:pt x="206" y="176"/>
                    </a:lnTo>
                    <a:lnTo>
                      <a:pt x="207" y="178"/>
                    </a:lnTo>
                    <a:lnTo>
                      <a:pt x="209" y="178"/>
                    </a:lnTo>
                    <a:lnTo>
                      <a:pt x="210" y="179"/>
                    </a:lnTo>
                    <a:lnTo>
                      <a:pt x="212" y="179"/>
                    </a:lnTo>
                    <a:lnTo>
                      <a:pt x="214" y="180"/>
                    </a:lnTo>
                    <a:lnTo>
                      <a:pt x="217" y="178"/>
                    </a:lnTo>
                    <a:lnTo>
                      <a:pt x="218" y="180"/>
                    </a:lnTo>
                    <a:lnTo>
                      <a:pt x="220" y="181"/>
                    </a:lnTo>
                    <a:lnTo>
                      <a:pt x="222" y="180"/>
                    </a:lnTo>
                    <a:lnTo>
                      <a:pt x="223" y="181"/>
                    </a:lnTo>
                    <a:lnTo>
                      <a:pt x="225" y="183"/>
                    </a:lnTo>
                    <a:lnTo>
                      <a:pt x="225" y="185"/>
                    </a:lnTo>
                    <a:lnTo>
                      <a:pt x="224" y="186"/>
                    </a:lnTo>
                    <a:lnTo>
                      <a:pt x="223" y="188"/>
                    </a:lnTo>
                    <a:lnTo>
                      <a:pt x="221" y="188"/>
                    </a:lnTo>
                    <a:lnTo>
                      <a:pt x="220" y="192"/>
                    </a:lnTo>
                    <a:lnTo>
                      <a:pt x="222" y="192"/>
                    </a:lnTo>
                    <a:lnTo>
                      <a:pt x="229" y="196"/>
                    </a:lnTo>
                    <a:lnTo>
                      <a:pt x="229" y="199"/>
                    </a:lnTo>
                    <a:lnTo>
                      <a:pt x="231" y="201"/>
                    </a:lnTo>
                    <a:lnTo>
                      <a:pt x="232" y="204"/>
                    </a:lnTo>
                    <a:lnTo>
                      <a:pt x="230" y="209"/>
                    </a:lnTo>
                    <a:lnTo>
                      <a:pt x="234" y="208"/>
                    </a:lnTo>
                    <a:lnTo>
                      <a:pt x="234" y="209"/>
                    </a:lnTo>
                    <a:lnTo>
                      <a:pt x="236" y="209"/>
                    </a:lnTo>
                    <a:lnTo>
                      <a:pt x="237" y="210"/>
                    </a:lnTo>
                    <a:lnTo>
                      <a:pt x="239" y="210"/>
                    </a:lnTo>
                    <a:lnTo>
                      <a:pt x="242" y="204"/>
                    </a:lnTo>
                    <a:lnTo>
                      <a:pt x="244" y="202"/>
                    </a:lnTo>
                    <a:lnTo>
                      <a:pt x="242" y="199"/>
                    </a:lnTo>
                    <a:lnTo>
                      <a:pt x="239" y="198"/>
                    </a:lnTo>
                    <a:lnTo>
                      <a:pt x="238" y="196"/>
                    </a:lnTo>
                    <a:lnTo>
                      <a:pt x="238" y="195"/>
                    </a:lnTo>
                    <a:lnTo>
                      <a:pt x="237" y="194"/>
                    </a:lnTo>
                    <a:lnTo>
                      <a:pt x="236" y="194"/>
                    </a:lnTo>
                    <a:lnTo>
                      <a:pt x="239" y="191"/>
                    </a:lnTo>
                    <a:lnTo>
                      <a:pt x="238" y="188"/>
                    </a:lnTo>
                    <a:lnTo>
                      <a:pt x="239" y="185"/>
                    </a:lnTo>
                    <a:lnTo>
                      <a:pt x="242" y="184"/>
                    </a:lnTo>
                    <a:lnTo>
                      <a:pt x="244" y="182"/>
                    </a:lnTo>
                    <a:lnTo>
                      <a:pt x="243" y="180"/>
                    </a:lnTo>
                    <a:lnTo>
                      <a:pt x="244" y="178"/>
                    </a:lnTo>
                    <a:lnTo>
                      <a:pt x="248" y="173"/>
                    </a:lnTo>
                    <a:lnTo>
                      <a:pt x="252" y="172"/>
                    </a:lnTo>
                    <a:lnTo>
                      <a:pt x="252" y="169"/>
                    </a:lnTo>
                    <a:lnTo>
                      <a:pt x="255" y="167"/>
                    </a:lnTo>
                    <a:lnTo>
                      <a:pt x="256" y="163"/>
                    </a:lnTo>
                    <a:lnTo>
                      <a:pt x="258" y="161"/>
                    </a:lnTo>
                    <a:lnTo>
                      <a:pt x="259" y="158"/>
                    </a:lnTo>
                    <a:lnTo>
                      <a:pt x="260" y="157"/>
                    </a:lnTo>
                    <a:lnTo>
                      <a:pt x="259" y="155"/>
                    </a:lnTo>
                    <a:lnTo>
                      <a:pt x="260" y="154"/>
                    </a:lnTo>
                    <a:lnTo>
                      <a:pt x="258" y="152"/>
                    </a:lnTo>
                    <a:lnTo>
                      <a:pt x="259" y="146"/>
                    </a:lnTo>
                    <a:lnTo>
                      <a:pt x="256" y="146"/>
                    </a:lnTo>
                    <a:lnTo>
                      <a:pt x="256" y="144"/>
                    </a:lnTo>
                    <a:lnTo>
                      <a:pt x="258" y="141"/>
                    </a:lnTo>
                    <a:lnTo>
                      <a:pt x="258" y="140"/>
                    </a:lnTo>
                    <a:lnTo>
                      <a:pt x="259" y="139"/>
                    </a:lnTo>
                    <a:lnTo>
                      <a:pt x="260" y="138"/>
                    </a:lnTo>
                    <a:lnTo>
                      <a:pt x="263" y="138"/>
                    </a:lnTo>
                    <a:lnTo>
                      <a:pt x="266" y="137"/>
                    </a:lnTo>
                    <a:lnTo>
                      <a:pt x="266" y="138"/>
                    </a:lnTo>
                    <a:lnTo>
                      <a:pt x="266" y="140"/>
                    </a:lnTo>
                    <a:lnTo>
                      <a:pt x="269" y="141"/>
                    </a:lnTo>
                    <a:lnTo>
                      <a:pt x="270" y="141"/>
                    </a:lnTo>
                    <a:lnTo>
                      <a:pt x="270" y="139"/>
                    </a:lnTo>
                    <a:lnTo>
                      <a:pt x="273" y="137"/>
                    </a:lnTo>
                    <a:lnTo>
                      <a:pt x="272" y="146"/>
                    </a:lnTo>
                    <a:lnTo>
                      <a:pt x="273" y="149"/>
                    </a:lnTo>
                    <a:lnTo>
                      <a:pt x="273" y="150"/>
                    </a:lnTo>
                    <a:lnTo>
                      <a:pt x="276" y="153"/>
                    </a:lnTo>
                    <a:lnTo>
                      <a:pt x="278" y="158"/>
                    </a:lnTo>
                    <a:lnTo>
                      <a:pt x="280" y="159"/>
                    </a:lnTo>
                    <a:lnTo>
                      <a:pt x="285" y="160"/>
                    </a:lnTo>
                    <a:lnTo>
                      <a:pt x="290" y="159"/>
                    </a:lnTo>
                    <a:lnTo>
                      <a:pt x="292" y="160"/>
                    </a:lnTo>
                    <a:lnTo>
                      <a:pt x="294" y="158"/>
                    </a:lnTo>
                    <a:lnTo>
                      <a:pt x="294" y="155"/>
                    </a:lnTo>
                    <a:lnTo>
                      <a:pt x="294" y="154"/>
                    </a:lnTo>
                    <a:lnTo>
                      <a:pt x="297" y="155"/>
                    </a:lnTo>
                    <a:lnTo>
                      <a:pt x="302" y="152"/>
                    </a:lnTo>
                    <a:lnTo>
                      <a:pt x="308" y="151"/>
                    </a:lnTo>
                    <a:lnTo>
                      <a:pt x="310" y="152"/>
                    </a:lnTo>
                    <a:lnTo>
                      <a:pt x="311" y="151"/>
                    </a:lnTo>
                    <a:lnTo>
                      <a:pt x="314" y="154"/>
                    </a:lnTo>
                    <a:lnTo>
                      <a:pt x="313" y="156"/>
                    </a:lnTo>
                    <a:lnTo>
                      <a:pt x="315" y="158"/>
                    </a:lnTo>
                    <a:lnTo>
                      <a:pt x="314" y="160"/>
                    </a:lnTo>
                    <a:lnTo>
                      <a:pt x="319" y="164"/>
                    </a:lnTo>
                    <a:lnTo>
                      <a:pt x="320" y="164"/>
                    </a:lnTo>
                    <a:lnTo>
                      <a:pt x="319" y="167"/>
                    </a:lnTo>
                    <a:lnTo>
                      <a:pt x="321" y="167"/>
                    </a:lnTo>
                    <a:lnTo>
                      <a:pt x="322" y="167"/>
                    </a:lnTo>
                    <a:lnTo>
                      <a:pt x="325" y="167"/>
                    </a:lnTo>
                    <a:lnTo>
                      <a:pt x="328" y="164"/>
                    </a:lnTo>
                    <a:lnTo>
                      <a:pt x="329" y="162"/>
                    </a:lnTo>
                    <a:lnTo>
                      <a:pt x="326" y="158"/>
                    </a:lnTo>
                    <a:lnTo>
                      <a:pt x="323" y="157"/>
                    </a:lnTo>
                    <a:lnTo>
                      <a:pt x="323" y="155"/>
                    </a:lnTo>
                    <a:lnTo>
                      <a:pt x="325" y="153"/>
                    </a:lnTo>
                    <a:lnTo>
                      <a:pt x="325" y="151"/>
                    </a:lnTo>
                    <a:lnTo>
                      <a:pt x="327" y="150"/>
                    </a:lnTo>
                    <a:lnTo>
                      <a:pt x="328" y="147"/>
                    </a:lnTo>
                    <a:lnTo>
                      <a:pt x="325" y="146"/>
                    </a:lnTo>
                    <a:lnTo>
                      <a:pt x="322" y="146"/>
                    </a:lnTo>
                    <a:lnTo>
                      <a:pt x="318" y="144"/>
                    </a:lnTo>
                    <a:lnTo>
                      <a:pt x="318" y="143"/>
                    </a:lnTo>
                    <a:lnTo>
                      <a:pt x="320" y="141"/>
                    </a:lnTo>
                    <a:lnTo>
                      <a:pt x="318" y="140"/>
                    </a:lnTo>
                    <a:lnTo>
                      <a:pt x="318" y="137"/>
                    </a:lnTo>
                    <a:lnTo>
                      <a:pt x="319" y="136"/>
                    </a:lnTo>
                    <a:lnTo>
                      <a:pt x="319" y="134"/>
                    </a:lnTo>
                    <a:lnTo>
                      <a:pt x="322" y="131"/>
                    </a:lnTo>
                    <a:lnTo>
                      <a:pt x="322" y="130"/>
                    </a:lnTo>
                    <a:lnTo>
                      <a:pt x="323" y="126"/>
                    </a:lnTo>
                    <a:lnTo>
                      <a:pt x="324" y="127"/>
                    </a:lnTo>
                    <a:lnTo>
                      <a:pt x="329" y="125"/>
                    </a:lnTo>
                    <a:lnTo>
                      <a:pt x="330" y="125"/>
                    </a:lnTo>
                    <a:lnTo>
                      <a:pt x="333" y="123"/>
                    </a:lnTo>
                    <a:lnTo>
                      <a:pt x="335" y="125"/>
                    </a:lnTo>
                    <a:lnTo>
                      <a:pt x="334" y="129"/>
                    </a:lnTo>
                    <a:lnTo>
                      <a:pt x="337" y="130"/>
                    </a:lnTo>
                    <a:lnTo>
                      <a:pt x="339" y="133"/>
                    </a:lnTo>
                    <a:lnTo>
                      <a:pt x="342" y="134"/>
                    </a:lnTo>
                    <a:lnTo>
                      <a:pt x="343" y="132"/>
                    </a:lnTo>
                    <a:lnTo>
                      <a:pt x="346" y="134"/>
                    </a:lnTo>
                    <a:lnTo>
                      <a:pt x="348" y="133"/>
                    </a:lnTo>
                    <a:lnTo>
                      <a:pt x="350" y="134"/>
                    </a:lnTo>
                    <a:lnTo>
                      <a:pt x="352" y="133"/>
                    </a:lnTo>
                    <a:lnTo>
                      <a:pt x="352" y="130"/>
                    </a:lnTo>
                    <a:lnTo>
                      <a:pt x="353" y="128"/>
                    </a:lnTo>
                    <a:lnTo>
                      <a:pt x="353" y="126"/>
                    </a:lnTo>
                    <a:lnTo>
                      <a:pt x="352" y="124"/>
                    </a:lnTo>
                    <a:lnTo>
                      <a:pt x="350" y="123"/>
                    </a:lnTo>
                    <a:lnTo>
                      <a:pt x="347" y="123"/>
                    </a:lnTo>
                    <a:lnTo>
                      <a:pt x="345" y="119"/>
                    </a:lnTo>
                    <a:lnTo>
                      <a:pt x="345" y="118"/>
                    </a:lnTo>
                    <a:lnTo>
                      <a:pt x="348" y="115"/>
                    </a:lnTo>
                    <a:lnTo>
                      <a:pt x="347" y="113"/>
                    </a:lnTo>
                    <a:lnTo>
                      <a:pt x="350" y="111"/>
                    </a:lnTo>
                    <a:lnTo>
                      <a:pt x="350" y="110"/>
                    </a:lnTo>
                    <a:lnTo>
                      <a:pt x="349" y="107"/>
                    </a:lnTo>
                    <a:lnTo>
                      <a:pt x="351" y="104"/>
                    </a:lnTo>
                    <a:lnTo>
                      <a:pt x="352" y="100"/>
                    </a:lnTo>
                    <a:lnTo>
                      <a:pt x="352" y="98"/>
                    </a:lnTo>
                    <a:lnTo>
                      <a:pt x="353" y="92"/>
                    </a:lnTo>
                    <a:lnTo>
                      <a:pt x="349" y="90"/>
                    </a:lnTo>
                    <a:lnTo>
                      <a:pt x="349" y="87"/>
                    </a:lnTo>
                    <a:lnTo>
                      <a:pt x="346" y="85"/>
                    </a:lnTo>
                    <a:lnTo>
                      <a:pt x="345" y="85"/>
                    </a:lnTo>
                    <a:lnTo>
                      <a:pt x="343" y="86"/>
                    </a:lnTo>
                    <a:lnTo>
                      <a:pt x="341" y="90"/>
                    </a:lnTo>
                    <a:lnTo>
                      <a:pt x="339" y="91"/>
                    </a:lnTo>
                    <a:lnTo>
                      <a:pt x="339" y="93"/>
                    </a:lnTo>
                    <a:lnTo>
                      <a:pt x="334" y="92"/>
                    </a:lnTo>
                    <a:lnTo>
                      <a:pt x="333" y="96"/>
                    </a:lnTo>
                    <a:lnTo>
                      <a:pt x="333" y="98"/>
                    </a:lnTo>
                    <a:lnTo>
                      <a:pt x="332" y="98"/>
                    </a:lnTo>
                    <a:lnTo>
                      <a:pt x="330" y="99"/>
                    </a:lnTo>
                    <a:lnTo>
                      <a:pt x="328" y="100"/>
                    </a:lnTo>
                    <a:lnTo>
                      <a:pt x="323" y="101"/>
                    </a:lnTo>
                    <a:lnTo>
                      <a:pt x="322" y="100"/>
                    </a:lnTo>
                    <a:lnTo>
                      <a:pt x="319" y="99"/>
                    </a:lnTo>
                    <a:lnTo>
                      <a:pt x="319" y="98"/>
                    </a:lnTo>
                    <a:lnTo>
                      <a:pt x="316" y="96"/>
                    </a:lnTo>
                    <a:lnTo>
                      <a:pt x="314" y="95"/>
                    </a:lnTo>
                    <a:lnTo>
                      <a:pt x="313" y="94"/>
                    </a:lnTo>
                    <a:lnTo>
                      <a:pt x="310" y="94"/>
                    </a:lnTo>
                    <a:lnTo>
                      <a:pt x="308" y="93"/>
                    </a:lnTo>
                    <a:lnTo>
                      <a:pt x="305" y="92"/>
                    </a:lnTo>
                    <a:lnTo>
                      <a:pt x="305" y="90"/>
                    </a:lnTo>
                    <a:lnTo>
                      <a:pt x="305" y="89"/>
                    </a:lnTo>
                    <a:lnTo>
                      <a:pt x="307" y="86"/>
                    </a:lnTo>
                    <a:lnTo>
                      <a:pt x="305" y="84"/>
                    </a:lnTo>
                    <a:lnTo>
                      <a:pt x="305" y="83"/>
                    </a:lnTo>
                    <a:lnTo>
                      <a:pt x="302" y="83"/>
                    </a:lnTo>
                    <a:lnTo>
                      <a:pt x="299" y="81"/>
                    </a:lnTo>
                    <a:lnTo>
                      <a:pt x="294" y="80"/>
                    </a:lnTo>
                    <a:lnTo>
                      <a:pt x="290" y="78"/>
                    </a:lnTo>
                    <a:lnTo>
                      <a:pt x="286" y="80"/>
                    </a:lnTo>
                    <a:lnTo>
                      <a:pt x="284" y="79"/>
                    </a:lnTo>
                    <a:lnTo>
                      <a:pt x="281" y="79"/>
                    </a:lnTo>
                    <a:lnTo>
                      <a:pt x="279" y="78"/>
                    </a:lnTo>
                    <a:lnTo>
                      <a:pt x="274" y="79"/>
                    </a:lnTo>
                    <a:lnTo>
                      <a:pt x="273" y="78"/>
                    </a:lnTo>
                    <a:lnTo>
                      <a:pt x="276" y="77"/>
                    </a:lnTo>
                    <a:lnTo>
                      <a:pt x="277" y="75"/>
                    </a:lnTo>
                    <a:lnTo>
                      <a:pt x="277" y="72"/>
                    </a:lnTo>
                    <a:lnTo>
                      <a:pt x="275" y="66"/>
                    </a:lnTo>
                    <a:lnTo>
                      <a:pt x="275" y="64"/>
                    </a:lnTo>
                    <a:lnTo>
                      <a:pt x="275" y="63"/>
                    </a:lnTo>
                    <a:lnTo>
                      <a:pt x="278" y="57"/>
                    </a:lnTo>
                    <a:lnTo>
                      <a:pt x="280" y="54"/>
                    </a:lnTo>
                    <a:lnTo>
                      <a:pt x="283" y="51"/>
                    </a:lnTo>
                    <a:lnTo>
                      <a:pt x="284" y="47"/>
                    </a:lnTo>
                    <a:lnTo>
                      <a:pt x="285" y="47"/>
                    </a:lnTo>
                    <a:lnTo>
                      <a:pt x="288" y="46"/>
                    </a:lnTo>
                    <a:lnTo>
                      <a:pt x="290" y="44"/>
                    </a:lnTo>
                    <a:lnTo>
                      <a:pt x="288" y="42"/>
                    </a:lnTo>
                    <a:lnTo>
                      <a:pt x="288" y="37"/>
                    </a:lnTo>
                    <a:lnTo>
                      <a:pt x="283" y="36"/>
                    </a:lnTo>
                    <a:lnTo>
                      <a:pt x="280" y="32"/>
                    </a:lnTo>
                    <a:lnTo>
                      <a:pt x="281" y="32"/>
                    </a:lnTo>
                    <a:lnTo>
                      <a:pt x="281" y="28"/>
                    </a:lnTo>
                    <a:lnTo>
                      <a:pt x="258" y="15"/>
                    </a:lnTo>
                    <a:lnTo>
                      <a:pt x="250" y="16"/>
                    </a:lnTo>
                    <a:lnTo>
                      <a:pt x="249" y="15"/>
                    </a:lnTo>
                    <a:lnTo>
                      <a:pt x="244" y="13"/>
                    </a:lnTo>
                    <a:lnTo>
                      <a:pt x="240" y="13"/>
                    </a:lnTo>
                    <a:lnTo>
                      <a:pt x="239" y="13"/>
                    </a:lnTo>
                    <a:lnTo>
                      <a:pt x="232" y="17"/>
                    </a:lnTo>
                    <a:lnTo>
                      <a:pt x="229" y="17"/>
                    </a:lnTo>
                    <a:lnTo>
                      <a:pt x="227" y="15"/>
                    </a:lnTo>
                    <a:close/>
                  </a:path>
                </a:pathLst>
              </a:custGeom>
              <a:solidFill>
                <a:srgbClr val="E7E7E4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67" name="Andorra">
                <a:extLst>
                  <a:ext uri="{FF2B5EF4-FFF2-40B4-BE49-F238E27FC236}">
                    <a16:creationId xmlns:a16="http://schemas.microsoft.com/office/drawing/2014/main" id="{53173FAE-E69E-4239-9987-7130F71A56D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3966698" y="4542953"/>
                <a:ext cx="29572" cy="31673"/>
              </a:xfrm>
              <a:custGeom>
                <a:avLst/>
                <a:gdLst>
                  <a:gd name="T0" fmla="*/ 3 w 28"/>
                  <a:gd name="T1" fmla="*/ 7 h 24"/>
                  <a:gd name="T2" fmla="*/ 5 w 28"/>
                  <a:gd name="T3" fmla="*/ 5 h 24"/>
                  <a:gd name="T4" fmla="*/ 5 w 28"/>
                  <a:gd name="T5" fmla="*/ 3 h 24"/>
                  <a:gd name="T6" fmla="*/ 7 w 28"/>
                  <a:gd name="T7" fmla="*/ 1 h 24"/>
                  <a:gd name="T8" fmla="*/ 8 w 28"/>
                  <a:gd name="T9" fmla="*/ 1 h 24"/>
                  <a:gd name="T10" fmla="*/ 11 w 28"/>
                  <a:gd name="T11" fmla="*/ 0 h 24"/>
                  <a:gd name="T12" fmla="*/ 15 w 28"/>
                  <a:gd name="T13" fmla="*/ 3 h 24"/>
                  <a:gd name="T14" fmla="*/ 18 w 28"/>
                  <a:gd name="T15" fmla="*/ 3 h 24"/>
                  <a:gd name="T16" fmla="*/ 20 w 28"/>
                  <a:gd name="T17" fmla="*/ 4 h 24"/>
                  <a:gd name="T18" fmla="*/ 21 w 28"/>
                  <a:gd name="T19" fmla="*/ 3 h 24"/>
                  <a:gd name="T20" fmla="*/ 23 w 28"/>
                  <a:gd name="T21" fmla="*/ 4 h 24"/>
                  <a:gd name="T22" fmla="*/ 26 w 28"/>
                  <a:gd name="T23" fmla="*/ 4 h 24"/>
                  <a:gd name="T24" fmla="*/ 26 w 28"/>
                  <a:gd name="T25" fmla="*/ 7 h 24"/>
                  <a:gd name="T26" fmla="*/ 28 w 28"/>
                  <a:gd name="T27" fmla="*/ 9 h 24"/>
                  <a:gd name="T28" fmla="*/ 26 w 28"/>
                  <a:gd name="T29" fmla="*/ 10 h 24"/>
                  <a:gd name="T30" fmla="*/ 24 w 28"/>
                  <a:gd name="T31" fmla="*/ 17 h 24"/>
                  <a:gd name="T32" fmla="*/ 22 w 28"/>
                  <a:gd name="T33" fmla="*/ 18 h 24"/>
                  <a:gd name="T34" fmla="*/ 21 w 28"/>
                  <a:gd name="T35" fmla="*/ 17 h 24"/>
                  <a:gd name="T36" fmla="*/ 19 w 28"/>
                  <a:gd name="T37" fmla="*/ 19 h 24"/>
                  <a:gd name="T38" fmla="*/ 15 w 28"/>
                  <a:gd name="T39" fmla="*/ 20 h 24"/>
                  <a:gd name="T40" fmla="*/ 13 w 28"/>
                  <a:gd name="T41" fmla="*/ 21 h 24"/>
                  <a:gd name="T42" fmla="*/ 12 w 28"/>
                  <a:gd name="T43" fmla="*/ 21 h 24"/>
                  <a:gd name="T44" fmla="*/ 12 w 28"/>
                  <a:gd name="T45" fmla="*/ 21 h 24"/>
                  <a:gd name="T46" fmla="*/ 12 w 28"/>
                  <a:gd name="T47" fmla="*/ 23 h 24"/>
                  <a:gd name="T48" fmla="*/ 10 w 28"/>
                  <a:gd name="T49" fmla="*/ 24 h 24"/>
                  <a:gd name="T50" fmla="*/ 3 w 28"/>
                  <a:gd name="T51" fmla="*/ 23 h 24"/>
                  <a:gd name="T52" fmla="*/ 3 w 28"/>
                  <a:gd name="T53" fmla="*/ 21 h 24"/>
                  <a:gd name="T54" fmla="*/ 0 w 28"/>
                  <a:gd name="T55" fmla="*/ 19 h 24"/>
                  <a:gd name="T56" fmla="*/ 4 w 28"/>
                  <a:gd name="T57" fmla="*/ 17 h 24"/>
                  <a:gd name="T58" fmla="*/ 3 w 28"/>
                  <a:gd name="T59" fmla="*/ 15 h 24"/>
                  <a:gd name="T60" fmla="*/ 3 w 28"/>
                  <a:gd name="T61" fmla="*/ 13 h 24"/>
                  <a:gd name="T62" fmla="*/ 0 w 28"/>
                  <a:gd name="T63" fmla="*/ 13 h 24"/>
                  <a:gd name="T64" fmla="*/ 1 w 28"/>
                  <a:gd name="T65" fmla="*/ 10 h 24"/>
                  <a:gd name="T66" fmla="*/ 2 w 28"/>
                  <a:gd name="T67" fmla="*/ 10 h 24"/>
                  <a:gd name="T68" fmla="*/ 2 w 28"/>
                  <a:gd name="T69" fmla="*/ 9 h 24"/>
                  <a:gd name="T70" fmla="*/ 3 w 28"/>
                  <a:gd name="T71" fmla="*/ 7 h 2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28"/>
                  <a:gd name="T109" fmla="*/ 0 h 24"/>
                  <a:gd name="T110" fmla="*/ 28 w 28"/>
                  <a:gd name="T111" fmla="*/ 24 h 24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28" h="24">
                    <a:moveTo>
                      <a:pt x="3" y="7"/>
                    </a:moveTo>
                    <a:lnTo>
                      <a:pt x="5" y="5"/>
                    </a:lnTo>
                    <a:lnTo>
                      <a:pt x="5" y="3"/>
                    </a:lnTo>
                    <a:lnTo>
                      <a:pt x="7" y="1"/>
                    </a:lnTo>
                    <a:lnTo>
                      <a:pt x="8" y="1"/>
                    </a:lnTo>
                    <a:lnTo>
                      <a:pt x="11" y="0"/>
                    </a:lnTo>
                    <a:lnTo>
                      <a:pt x="15" y="3"/>
                    </a:lnTo>
                    <a:lnTo>
                      <a:pt x="18" y="3"/>
                    </a:lnTo>
                    <a:lnTo>
                      <a:pt x="20" y="4"/>
                    </a:lnTo>
                    <a:lnTo>
                      <a:pt x="21" y="3"/>
                    </a:lnTo>
                    <a:lnTo>
                      <a:pt x="23" y="4"/>
                    </a:lnTo>
                    <a:lnTo>
                      <a:pt x="26" y="4"/>
                    </a:lnTo>
                    <a:lnTo>
                      <a:pt x="26" y="7"/>
                    </a:lnTo>
                    <a:lnTo>
                      <a:pt x="28" y="9"/>
                    </a:lnTo>
                    <a:lnTo>
                      <a:pt x="26" y="10"/>
                    </a:lnTo>
                    <a:lnTo>
                      <a:pt x="24" y="17"/>
                    </a:lnTo>
                    <a:lnTo>
                      <a:pt x="22" y="18"/>
                    </a:lnTo>
                    <a:lnTo>
                      <a:pt x="21" y="17"/>
                    </a:lnTo>
                    <a:lnTo>
                      <a:pt x="19" y="19"/>
                    </a:lnTo>
                    <a:lnTo>
                      <a:pt x="15" y="20"/>
                    </a:lnTo>
                    <a:lnTo>
                      <a:pt x="13" y="21"/>
                    </a:lnTo>
                    <a:lnTo>
                      <a:pt x="12" y="21"/>
                    </a:lnTo>
                    <a:lnTo>
                      <a:pt x="12" y="23"/>
                    </a:lnTo>
                    <a:lnTo>
                      <a:pt x="10" y="24"/>
                    </a:lnTo>
                    <a:lnTo>
                      <a:pt x="3" y="23"/>
                    </a:lnTo>
                    <a:lnTo>
                      <a:pt x="3" y="21"/>
                    </a:lnTo>
                    <a:lnTo>
                      <a:pt x="0" y="19"/>
                    </a:lnTo>
                    <a:lnTo>
                      <a:pt x="4" y="17"/>
                    </a:lnTo>
                    <a:lnTo>
                      <a:pt x="3" y="15"/>
                    </a:lnTo>
                    <a:lnTo>
                      <a:pt x="3" y="13"/>
                    </a:lnTo>
                    <a:lnTo>
                      <a:pt x="0" y="13"/>
                    </a:lnTo>
                    <a:lnTo>
                      <a:pt x="1" y="10"/>
                    </a:lnTo>
                    <a:lnTo>
                      <a:pt x="2" y="10"/>
                    </a:lnTo>
                    <a:lnTo>
                      <a:pt x="2" y="9"/>
                    </a:ln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E7E7E4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68" name="Ireland">
                <a:extLst>
                  <a:ext uri="{FF2B5EF4-FFF2-40B4-BE49-F238E27FC236}">
                    <a16:creationId xmlns:a16="http://schemas.microsoft.com/office/drawing/2014/main" id="{6DE0CF48-96E7-4694-8690-B8CA22A5508E}"/>
                  </a:ext>
                </a:extLst>
              </p:cNvPr>
              <p:cNvSpPr>
                <a:spLocks noChangeAspect="1" noEditPoints="1"/>
              </p:cNvSpPr>
              <p:nvPr/>
            </p:nvSpPr>
            <p:spPr bwMode="gray">
              <a:xfrm>
                <a:off x="2910336" y="2832668"/>
                <a:ext cx="402503" cy="528423"/>
              </a:xfrm>
              <a:custGeom>
                <a:avLst/>
                <a:gdLst>
                  <a:gd name="T0" fmla="*/ 348 w 358"/>
                  <a:gd name="T1" fmla="*/ 207 h 414"/>
                  <a:gd name="T2" fmla="*/ 328 w 358"/>
                  <a:gd name="T3" fmla="*/ 150 h 414"/>
                  <a:gd name="T4" fmla="*/ 321 w 358"/>
                  <a:gd name="T5" fmla="*/ 136 h 414"/>
                  <a:gd name="T6" fmla="*/ 265 w 358"/>
                  <a:gd name="T7" fmla="*/ 112 h 414"/>
                  <a:gd name="T8" fmla="*/ 235 w 358"/>
                  <a:gd name="T9" fmla="*/ 132 h 414"/>
                  <a:gd name="T10" fmla="*/ 225 w 358"/>
                  <a:gd name="T11" fmla="*/ 80 h 414"/>
                  <a:gd name="T12" fmla="*/ 247 w 358"/>
                  <a:gd name="T13" fmla="*/ 43 h 414"/>
                  <a:gd name="T14" fmla="*/ 251 w 358"/>
                  <a:gd name="T15" fmla="*/ 0 h 414"/>
                  <a:gd name="T16" fmla="*/ 243 w 358"/>
                  <a:gd name="T17" fmla="*/ 28 h 414"/>
                  <a:gd name="T18" fmla="*/ 231 w 358"/>
                  <a:gd name="T19" fmla="*/ 19 h 414"/>
                  <a:gd name="T20" fmla="*/ 226 w 358"/>
                  <a:gd name="T21" fmla="*/ 20 h 414"/>
                  <a:gd name="T22" fmla="*/ 209 w 358"/>
                  <a:gd name="T23" fmla="*/ 26 h 414"/>
                  <a:gd name="T24" fmla="*/ 186 w 358"/>
                  <a:gd name="T25" fmla="*/ 25 h 414"/>
                  <a:gd name="T26" fmla="*/ 177 w 358"/>
                  <a:gd name="T27" fmla="*/ 53 h 414"/>
                  <a:gd name="T28" fmla="*/ 167 w 358"/>
                  <a:gd name="T29" fmla="*/ 65 h 414"/>
                  <a:gd name="T30" fmla="*/ 171 w 358"/>
                  <a:gd name="T31" fmla="*/ 81 h 414"/>
                  <a:gd name="T32" fmla="*/ 185 w 358"/>
                  <a:gd name="T33" fmla="*/ 87 h 414"/>
                  <a:gd name="T34" fmla="*/ 162 w 358"/>
                  <a:gd name="T35" fmla="*/ 112 h 414"/>
                  <a:gd name="T36" fmla="*/ 136 w 358"/>
                  <a:gd name="T37" fmla="*/ 118 h 414"/>
                  <a:gd name="T38" fmla="*/ 92 w 358"/>
                  <a:gd name="T39" fmla="*/ 112 h 414"/>
                  <a:gd name="T40" fmla="*/ 49 w 358"/>
                  <a:gd name="T41" fmla="*/ 122 h 414"/>
                  <a:gd name="T42" fmla="*/ 40 w 358"/>
                  <a:gd name="T43" fmla="*/ 134 h 414"/>
                  <a:gd name="T44" fmla="*/ 46 w 358"/>
                  <a:gd name="T45" fmla="*/ 134 h 414"/>
                  <a:gd name="T46" fmla="*/ 60 w 358"/>
                  <a:gd name="T47" fmla="*/ 148 h 414"/>
                  <a:gd name="T48" fmla="*/ 78 w 358"/>
                  <a:gd name="T49" fmla="*/ 158 h 414"/>
                  <a:gd name="T50" fmla="*/ 41 w 358"/>
                  <a:gd name="T51" fmla="*/ 186 h 414"/>
                  <a:gd name="T52" fmla="*/ 32 w 358"/>
                  <a:gd name="T53" fmla="*/ 207 h 414"/>
                  <a:gd name="T54" fmla="*/ 52 w 358"/>
                  <a:gd name="T55" fmla="*/ 207 h 414"/>
                  <a:gd name="T56" fmla="*/ 53 w 358"/>
                  <a:gd name="T57" fmla="*/ 216 h 414"/>
                  <a:gd name="T58" fmla="*/ 75 w 358"/>
                  <a:gd name="T59" fmla="*/ 224 h 414"/>
                  <a:gd name="T60" fmla="*/ 128 w 358"/>
                  <a:gd name="T61" fmla="*/ 232 h 414"/>
                  <a:gd name="T62" fmla="*/ 93 w 358"/>
                  <a:gd name="T63" fmla="*/ 249 h 414"/>
                  <a:gd name="T64" fmla="*/ 74 w 358"/>
                  <a:gd name="T65" fmla="*/ 279 h 414"/>
                  <a:gd name="T66" fmla="*/ 81 w 358"/>
                  <a:gd name="T67" fmla="*/ 286 h 414"/>
                  <a:gd name="T68" fmla="*/ 127 w 358"/>
                  <a:gd name="T69" fmla="*/ 283 h 414"/>
                  <a:gd name="T70" fmla="*/ 71 w 358"/>
                  <a:gd name="T71" fmla="*/ 298 h 414"/>
                  <a:gd name="T72" fmla="*/ 66 w 358"/>
                  <a:gd name="T73" fmla="*/ 330 h 414"/>
                  <a:gd name="T74" fmla="*/ 24 w 358"/>
                  <a:gd name="T75" fmla="*/ 328 h 414"/>
                  <a:gd name="T76" fmla="*/ 24 w 358"/>
                  <a:gd name="T77" fmla="*/ 342 h 414"/>
                  <a:gd name="T78" fmla="*/ 50 w 358"/>
                  <a:gd name="T79" fmla="*/ 348 h 414"/>
                  <a:gd name="T80" fmla="*/ 18 w 358"/>
                  <a:gd name="T81" fmla="*/ 376 h 414"/>
                  <a:gd name="T82" fmla="*/ 58 w 358"/>
                  <a:gd name="T83" fmla="*/ 375 h 414"/>
                  <a:gd name="T84" fmla="*/ 49 w 358"/>
                  <a:gd name="T85" fmla="*/ 386 h 414"/>
                  <a:gd name="T86" fmla="*/ 78 w 358"/>
                  <a:gd name="T87" fmla="*/ 387 h 414"/>
                  <a:gd name="T88" fmla="*/ 67 w 358"/>
                  <a:gd name="T89" fmla="*/ 401 h 414"/>
                  <a:gd name="T90" fmla="*/ 69 w 358"/>
                  <a:gd name="T91" fmla="*/ 412 h 414"/>
                  <a:gd name="T92" fmla="*/ 95 w 358"/>
                  <a:gd name="T93" fmla="*/ 411 h 414"/>
                  <a:gd name="T94" fmla="*/ 132 w 358"/>
                  <a:gd name="T95" fmla="*/ 403 h 414"/>
                  <a:gd name="T96" fmla="*/ 162 w 358"/>
                  <a:gd name="T97" fmla="*/ 387 h 414"/>
                  <a:gd name="T98" fmla="*/ 176 w 358"/>
                  <a:gd name="T99" fmla="*/ 369 h 414"/>
                  <a:gd name="T100" fmla="*/ 218 w 358"/>
                  <a:gd name="T101" fmla="*/ 360 h 414"/>
                  <a:gd name="T102" fmla="*/ 271 w 358"/>
                  <a:gd name="T103" fmla="*/ 338 h 414"/>
                  <a:gd name="T104" fmla="*/ 293 w 358"/>
                  <a:gd name="T105" fmla="*/ 337 h 414"/>
                  <a:gd name="T106" fmla="*/ 321 w 358"/>
                  <a:gd name="T107" fmla="*/ 336 h 414"/>
                  <a:gd name="T108" fmla="*/ 340 w 358"/>
                  <a:gd name="T109" fmla="*/ 289 h 414"/>
                  <a:gd name="T110" fmla="*/ 62 w 358"/>
                  <a:gd name="T111" fmla="*/ 394 h 414"/>
                  <a:gd name="T112" fmla="*/ 159 w 358"/>
                  <a:gd name="T113" fmla="*/ 38 h 414"/>
                  <a:gd name="T114" fmla="*/ 40 w 358"/>
                  <a:gd name="T115" fmla="*/ 148 h 414"/>
                  <a:gd name="T116" fmla="*/ 79 w 358"/>
                  <a:gd name="T117" fmla="*/ 240 h 414"/>
                  <a:gd name="T118" fmla="*/ 58 w 358"/>
                  <a:gd name="T119" fmla="*/ 235 h 414"/>
                  <a:gd name="T120" fmla="*/ 32 w 358"/>
                  <a:gd name="T121" fmla="*/ 185 h 41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58"/>
                  <a:gd name="T184" fmla="*/ 0 h 414"/>
                  <a:gd name="T185" fmla="*/ 358 w 358"/>
                  <a:gd name="T186" fmla="*/ 414 h 41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58" h="414">
                    <a:moveTo>
                      <a:pt x="358" y="253"/>
                    </a:moveTo>
                    <a:lnTo>
                      <a:pt x="356" y="252"/>
                    </a:lnTo>
                    <a:lnTo>
                      <a:pt x="354" y="251"/>
                    </a:lnTo>
                    <a:lnTo>
                      <a:pt x="354" y="249"/>
                    </a:lnTo>
                    <a:lnTo>
                      <a:pt x="355" y="243"/>
                    </a:lnTo>
                    <a:lnTo>
                      <a:pt x="355" y="239"/>
                    </a:lnTo>
                    <a:lnTo>
                      <a:pt x="352" y="233"/>
                    </a:lnTo>
                    <a:lnTo>
                      <a:pt x="352" y="230"/>
                    </a:lnTo>
                    <a:lnTo>
                      <a:pt x="350" y="227"/>
                    </a:lnTo>
                    <a:lnTo>
                      <a:pt x="349" y="223"/>
                    </a:lnTo>
                    <a:lnTo>
                      <a:pt x="351" y="221"/>
                    </a:lnTo>
                    <a:lnTo>
                      <a:pt x="348" y="219"/>
                    </a:lnTo>
                    <a:lnTo>
                      <a:pt x="344" y="218"/>
                    </a:lnTo>
                    <a:lnTo>
                      <a:pt x="340" y="213"/>
                    </a:lnTo>
                    <a:lnTo>
                      <a:pt x="343" y="212"/>
                    </a:lnTo>
                    <a:lnTo>
                      <a:pt x="346" y="209"/>
                    </a:lnTo>
                    <a:lnTo>
                      <a:pt x="349" y="210"/>
                    </a:lnTo>
                    <a:lnTo>
                      <a:pt x="352" y="212"/>
                    </a:lnTo>
                    <a:lnTo>
                      <a:pt x="353" y="211"/>
                    </a:lnTo>
                    <a:lnTo>
                      <a:pt x="354" y="209"/>
                    </a:lnTo>
                    <a:lnTo>
                      <a:pt x="348" y="209"/>
                    </a:lnTo>
                    <a:lnTo>
                      <a:pt x="349" y="207"/>
                    </a:lnTo>
                    <a:lnTo>
                      <a:pt x="348" y="207"/>
                    </a:lnTo>
                    <a:lnTo>
                      <a:pt x="348" y="206"/>
                    </a:lnTo>
                    <a:lnTo>
                      <a:pt x="348" y="205"/>
                    </a:lnTo>
                    <a:lnTo>
                      <a:pt x="348" y="204"/>
                    </a:lnTo>
                    <a:lnTo>
                      <a:pt x="347" y="202"/>
                    </a:lnTo>
                    <a:lnTo>
                      <a:pt x="350" y="199"/>
                    </a:lnTo>
                    <a:lnTo>
                      <a:pt x="350" y="196"/>
                    </a:lnTo>
                    <a:lnTo>
                      <a:pt x="352" y="195"/>
                    </a:lnTo>
                    <a:lnTo>
                      <a:pt x="351" y="190"/>
                    </a:lnTo>
                    <a:lnTo>
                      <a:pt x="350" y="189"/>
                    </a:lnTo>
                    <a:lnTo>
                      <a:pt x="346" y="188"/>
                    </a:lnTo>
                    <a:lnTo>
                      <a:pt x="344" y="185"/>
                    </a:lnTo>
                    <a:lnTo>
                      <a:pt x="343" y="184"/>
                    </a:lnTo>
                    <a:lnTo>
                      <a:pt x="341" y="183"/>
                    </a:lnTo>
                    <a:lnTo>
                      <a:pt x="339" y="178"/>
                    </a:lnTo>
                    <a:lnTo>
                      <a:pt x="339" y="176"/>
                    </a:lnTo>
                    <a:lnTo>
                      <a:pt x="338" y="173"/>
                    </a:lnTo>
                    <a:lnTo>
                      <a:pt x="339" y="168"/>
                    </a:lnTo>
                    <a:lnTo>
                      <a:pt x="340" y="166"/>
                    </a:lnTo>
                    <a:lnTo>
                      <a:pt x="338" y="165"/>
                    </a:lnTo>
                    <a:lnTo>
                      <a:pt x="338" y="163"/>
                    </a:lnTo>
                    <a:lnTo>
                      <a:pt x="339" y="160"/>
                    </a:lnTo>
                    <a:lnTo>
                      <a:pt x="331" y="158"/>
                    </a:lnTo>
                    <a:lnTo>
                      <a:pt x="328" y="154"/>
                    </a:lnTo>
                    <a:lnTo>
                      <a:pt x="328" y="150"/>
                    </a:lnTo>
                    <a:lnTo>
                      <a:pt x="329" y="148"/>
                    </a:lnTo>
                    <a:lnTo>
                      <a:pt x="329" y="146"/>
                    </a:lnTo>
                    <a:lnTo>
                      <a:pt x="331" y="145"/>
                    </a:lnTo>
                    <a:lnTo>
                      <a:pt x="330" y="143"/>
                    </a:lnTo>
                    <a:lnTo>
                      <a:pt x="334" y="144"/>
                    </a:lnTo>
                    <a:lnTo>
                      <a:pt x="343" y="146"/>
                    </a:lnTo>
                    <a:lnTo>
                      <a:pt x="346" y="146"/>
                    </a:lnTo>
                    <a:lnTo>
                      <a:pt x="348" y="145"/>
                    </a:lnTo>
                    <a:lnTo>
                      <a:pt x="349" y="144"/>
                    </a:lnTo>
                    <a:lnTo>
                      <a:pt x="347" y="142"/>
                    </a:lnTo>
                    <a:lnTo>
                      <a:pt x="344" y="141"/>
                    </a:lnTo>
                    <a:lnTo>
                      <a:pt x="342" y="139"/>
                    </a:lnTo>
                    <a:lnTo>
                      <a:pt x="341" y="138"/>
                    </a:lnTo>
                    <a:lnTo>
                      <a:pt x="339" y="137"/>
                    </a:lnTo>
                    <a:lnTo>
                      <a:pt x="337" y="136"/>
                    </a:lnTo>
                    <a:lnTo>
                      <a:pt x="337" y="135"/>
                    </a:lnTo>
                    <a:lnTo>
                      <a:pt x="335" y="134"/>
                    </a:lnTo>
                    <a:lnTo>
                      <a:pt x="333" y="135"/>
                    </a:lnTo>
                    <a:lnTo>
                      <a:pt x="330" y="135"/>
                    </a:lnTo>
                    <a:lnTo>
                      <a:pt x="330" y="137"/>
                    </a:lnTo>
                    <a:lnTo>
                      <a:pt x="327" y="138"/>
                    </a:lnTo>
                    <a:lnTo>
                      <a:pt x="326" y="138"/>
                    </a:lnTo>
                    <a:lnTo>
                      <a:pt x="324" y="138"/>
                    </a:lnTo>
                    <a:lnTo>
                      <a:pt x="321" y="136"/>
                    </a:lnTo>
                    <a:lnTo>
                      <a:pt x="318" y="139"/>
                    </a:lnTo>
                    <a:lnTo>
                      <a:pt x="316" y="139"/>
                    </a:lnTo>
                    <a:lnTo>
                      <a:pt x="310" y="140"/>
                    </a:lnTo>
                    <a:lnTo>
                      <a:pt x="307" y="136"/>
                    </a:lnTo>
                    <a:lnTo>
                      <a:pt x="307" y="133"/>
                    </a:lnTo>
                    <a:lnTo>
                      <a:pt x="309" y="131"/>
                    </a:lnTo>
                    <a:lnTo>
                      <a:pt x="309" y="129"/>
                    </a:lnTo>
                    <a:lnTo>
                      <a:pt x="307" y="126"/>
                    </a:lnTo>
                    <a:lnTo>
                      <a:pt x="302" y="124"/>
                    </a:lnTo>
                    <a:lnTo>
                      <a:pt x="300" y="126"/>
                    </a:lnTo>
                    <a:lnTo>
                      <a:pt x="296" y="122"/>
                    </a:lnTo>
                    <a:lnTo>
                      <a:pt x="293" y="120"/>
                    </a:lnTo>
                    <a:lnTo>
                      <a:pt x="293" y="117"/>
                    </a:lnTo>
                    <a:lnTo>
                      <a:pt x="291" y="115"/>
                    </a:lnTo>
                    <a:lnTo>
                      <a:pt x="291" y="113"/>
                    </a:lnTo>
                    <a:lnTo>
                      <a:pt x="289" y="109"/>
                    </a:lnTo>
                    <a:lnTo>
                      <a:pt x="287" y="108"/>
                    </a:lnTo>
                    <a:lnTo>
                      <a:pt x="286" y="106"/>
                    </a:lnTo>
                    <a:lnTo>
                      <a:pt x="283" y="103"/>
                    </a:lnTo>
                    <a:lnTo>
                      <a:pt x="278" y="101"/>
                    </a:lnTo>
                    <a:lnTo>
                      <a:pt x="276" y="102"/>
                    </a:lnTo>
                    <a:lnTo>
                      <a:pt x="269" y="109"/>
                    </a:lnTo>
                    <a:lnTo>
                      <a:pt x="266" y="110"/>
                    </a:lnTo>
                    <a:lnTo>
                      <a:pt x="265" y="112"/>
                    </a:lnTo>
                    <a:lnTo>
                      <a:pt x="263" y="114"/>
                    </a:lnTo>
                    <a:lnTo>
                      <a:pt x="265" y="115"/>
                    </a:lnTo>
                    <a:lnTo>
                      <a:pt x="265" y="116"/>
                    </a:lnTo>
                    <a:lnTo>
                      <a:pt x="267" y="118"/>
                    </a:lnTo>
                    <a:lnTo>
                      <a:pt x="267" y="120"/>
                    </a:lnTo>
                    <a:lnTo>
                      <a:pt x="267" y="121"/>
                    </a:lnTo>
                    <a:lnTo>
                      <a:pt x="266" y="122"/>
                    </a:lnTo>
                    <a:lnTo>
                      <a:pt x="262" y="123"/>
                    </a:lnTo>
                    <a:lnTo>
                      <a:pt x="261" y="125"/>
                    </a:lnTo>
                    <a:lnTo>
                      <a:pt x="259" y="126"/>
                    </a:lnTo>
                    <a:lnTo>
                      <a:pt x="260" y="128"/>
                    </a:lnTo>
                    <a:lnTo>
                      <a:pt x="257" y="132"/>
                    </a:lnTo>
                    <a:lnTo>
                      <a:pt x="254" y="133"/>
                    </a:lnTo>
                    <a:lnTo>
                      <a:pt x="251" y="130"/>
                    </a:lnTo>
                    <a:lnTo>
                      <a:pt x="248" y="131"/>
                    </a:lnTo>
                    <a:lnTo>
                      <a:pt x="246" y="130"/>
                    </a:lnTo>
                    <a:lnTo>
                      <a:pt x="248" y="129"/>
                    </a:lnTo>
                    <a:lnTo>
                      <a:pt x="249" y="128"/>
                    </a:lnTo>
                    <a:lnTo>
                      <a:pt x="248" y="128"/>
                    </a:lnTo>
                    <a:lnTo>
                      <a:pt x="246" y="128"/>
                    </a:lnTo>
                    <a:lnTo>
                      <a:pt x="241" y="132"/>
                    </a:lnTo>
                    <a:lnTo>
                      <a:pt x="238" y="131"/>
                    </a:lnTo>
                    <a:lnTo>
                      <a:pt x="235" y="132"/>
                    </a:lnTo>
                    <a:lnTo>
                      <a:pt x="233" y="130"/>
                    </a:lnTo>
                    <a:lnTo>
                      <a:pt x="231" y="130"/>
                    </a:lnTo>
                    <a:lnTo>
                      <a:pt x="229" y="126"/>
                    </a:lnTo>
                    <a:lnTo>
                      <a:pt x="228" y="125"/>
                    </a:lnTo>
                    <a:lnTo>
                      <a:pt x="226" y="126"/>
                    </a:lnTo>
                    <a:lnTo>
                      <a:pt x="225" y="124"/>
                    </a:lnTo>
                    <a:lnTo>
                      <a:pt x="212" y="122"/>
                    </a:lnTo>
                    <a:lnTo>
                      <a:pt x="211" y="117"/>
                    </a:lnTo>
                    <a:lnTo>
                      <a:pt x="210" y="115"/>
                    </a:lnTo>
                    <a:lnTo>
                      <a:pt x="207" y="114"/>
                    </a:lnTo>
                    <a:lnTo>
                      <a:pt x="203" y="111"/>
                    </a:lnTo>
                    <a:lnTo>
                      <a:pt x="202" y="108"/>
                    </a:lnTo>
                    <a:lnTo>
                      <a:pt x="198" y="106"/>
                    </a:lnTo>
                    <a:lnTo>
                      <a:pt x="190" y="99"/>
                    </a:lnTo>
                    <a:lnTo>
                      <a:pt x="191" y="98"/>
                    </a:lnTo>
                    <a:lnTo>
                      <a:pt x="188" y="96"/>
                    </a:lnTo>
                    <a:lnTo>
                      <a:pt x="197" y="93"/>
                    </a:lnTo>
                    <a:lnTo>
                      <a:pt x="198" y="91"/>
                    </a:lnTo>
                    <a:lnTo>
                      <a:pt x="202" y="87"/>
                    </a:lnTo>
                    <a:lnTo>
                      <a:pt x="204" y="89"/>
                    </a:lnTo>
                    <a:lnTo>
                      <a:pt x="213" y="88"/>
                    </a:lnTo>
                    <a:lnTo>
                      <a:pt x="215" y="87"/>
                    </a:lnTo>
                    <a:lnTo>
                      <a:pt x="218" y="83"/>
                    </a:lnTo>
                    <a:lnTo>
                      <a:pt x="225" y="80"/>
                    </a:lnTo>
                    <a:lnTo>
                      <a:pt x="224" y="79"/>
                    </a:lnTo>
                    <a:lnTo>
                      <a:pt x="221" y="80"/>
                    </a:lnTo>
                    <a:lnTo>
                      <a:pt x="217" y="78"/>
                    </a:lnTo>
                    <a:lnTo>
                      <a:pt x="212" y="78"/>
                    </a:lnTo>
                    <a:lnTo>
                      <a:pt x="210" y="75"/>
                    </a:lnTo>
                    <a:lnTo>
                      <a:pt x="207" y="74"/>
                    </a:lnTo>
                    <a:lnTo>
                      <a:pt x="208" y="73"/>
                    </a:lnTo>
                    <a:lnTo>
                      <a:pt x="208" y="72"/>
                    </a:lnTo>
                    <a:lnTo>
                      <a:pt x="210" y="71"/>
                    </a:lnTo>
                    <a:lnTo>
                      <a:pt x="211" y="67"/>
                    </a:lnTo>
                    <a:lnTo>
                      <a:pt x="214" y="67"/>
                    </a:lnTo>
                    <a:lnTo>
                      <a:pt x="218" y="70"/>
                    </a:lnTo>
                    <a:lnTo>
                      <a:pt x="221" y="71"/>
                    </a:lnTo>
                    <a:lnTo>
                      <a:pt x="229" y="66"/>
                    </a:lnTo>
                    <a:lnTo>
                      <a:pt x="237" y="67"/>
                    </a:lnTo>
                    <a:lnTo>
                      <a:pt x="238" y="67"/>
                    </a:lnTo>
                    <a:lnTo>
                      <a:pt x="239" y="59"/>
                    </a:lnTo>
                    <a:lnTo>
                      <a:pt x="242" y="57"/>
                    </a:lnTo>
                    <a:lnTo>
                      <a:pt x="245" y="52"/>
                    </a:lnTo>
                    <a:lnTo>
                      <a:pt x="245" y="49"/>
                    </a:lnTo>
                    <a:lnTo>
                      <a:pt x="245" y="47"/>
                    </a:lnTo>
                    <a:lnTo>
                      <a:pt x="246" y="45"/>
                    </a:lnTo>
                    <a:lnTo>
                      <a:pt x="248" y="43"/>
                    </a:lnTo>
                    <a:lnTo>
                      <a:pt x="247" y="43"/>
                    </a:lnTo>
                    <a:lnTo>
                      <a:pt x="249" y="41"/>
                    </a:lnTo>
                    <a:lnTo>
                      <a:pt x="247" y="40"/>
                    </a:lnTo>
                    <a:lnTo>
                      <a:pt x="251" y="34"/>
                    </a:lnTo>
                    <a:lnTo>
                      <a:pt x="255" y="34"/>
                    </a:lnTo>
                    <a:lnTo>
                      <a:pt x="257" y="34"/>
                    </a:lnTo>
                    <a:lnTo>
                      <a:pt x="260" y="34"/>
                    </a:lnTo>
                    <a:lnTo>
                      <a:pt x="259" y="34"/>
                    </a:lnTo>
                    <a:lnTo>
                      <a:pt x="260" y="32"/>
                    </a:lnTo>
                    <a:lnTo>
                      <a:pt x="266" y="25"/>
                    </a:lnTo>
                    <a:lnTo>
                      <a:pt x="278" y="18"/>
                    </a:lnTo>
                    <a:lnTo>
                      <a:pt x="283" y="16"/>
                    </a:lnTo>
                    <a:lnTo>
                      <a:pt x="285" y="16"/>
                    </a:lnTo>
                    <a:lnTo>
                      <a:pt x="285" y="15"/>
                    </a:lnTo>
                    <a:lnTo>
                      <a:pt x="283" y="12"/>
                    </a:lnTo>
                    <a:lnTo>
                      <a:pt x="279" y="12"/>
                    </a:lnTo>
                    <a:lnTo>
                      <a:pt x="275" y="10"/>
                    </a:lnTo>
                    <a:lnTo>
                      <a:pt x="274" y="11"/>
                    </a:lnTo>
                    <a:lnTo>
                      <a:pt x="272" y="10"/>
                    </a:lnTo>
                    <a:lnTo>
                      <a:pt x="268" y="9"/>
                    </a:lnTo>
                    <a:lnTo>
                      <a:pt x="265" y="6"/>
                    </a:lnTo>
                    <a:lnTo>
                      <a:pt x="265" y="4"/>
                    </a:lnTo>
                    <a:lnTo>
                      <a:pt x="260" y="2"/>
                    </a:lnTo>
                    <a:lnTo>
                      <a:pt x="254" y="1"/>
                    </a:lnTo>
                    <a:lnTo>
                      <a:pt x="251" y="0"/>
                    </a:lnTo>
                    <a:lnTo>
                      <a:pt x="249" y="0"/>
                    </a:lnTo>
                    <a:lnTo>
                      <a:pt x="248" y="0"/>
                    </a:lnTo>
                    <a:lnTo>
                      <a:pt x="254" y="4"/>
                    </a:lnTo>
                    <a:lnTo>
                      <a:pt x="251" y="4"/>
                    </a:lnTo>
                    <a:lnTo>
                      <a:pt x="254" y="7"/>
                    </a:lnTo>
                    <a:lnTo>
                      <a:pt x="259" y="9"/>
                    </a:lnTo>
                    <a:lnTo>
                      <a:pt x="259" y="10"/>
                    </a:lnTo>
                    <a:lnTo>
                      <a:pt x="252" y="10"/>
                    </a:lnTo>
                    <a:lnTo>
                      <a:pt x="252" y="9"/>
                    </a:lnTo>
                    <a:lnTo>
                      <a:pt x="254" y="9"/>
                    </a:lnTo>
                    <a:lnTo>
                      <a:pt x="251" y="6"/>
                    </a:lnTo>
                    <a:lnTo>
                      <a:pt x="249" y="9"/>
                    </a:lnTo>
                    <a:lnTo>
                      <a:pt x="245" y="10"/>
                    </a:lnTo>
                    <a:lnTo>
                      <a:pt x="242" y="9"/>
                    </a:lnTo>
                    <a:lnTo>
                      <a:pt x="242" y="10"/>
                    </a:lnTo>
                    <a:lnTo>
                      <a:pt x="238" y="10"/>
                    </a:lnTo>
                    <a:lnTo>
                      <a:pt x="239" y="12"/>
                    </a:lnTo>
                    <a:lnTo>
                      <a:pt x="238" y="14"/>
                    </a:lnTo>
                    <a:lnTo>
                      <a:pt x="238" y="15"/>
                    </a:lnTo>
                    <a:lnTo>
                      <a:pt x="237" y="16"/>
                    </a:lnTo>
                    <a:lnTo>
                      <a:pt x="236" y="18"/>
                    </a:lnTo>
                    <a:lnTo>
                      <a:pt x="239" y="20"/>
                    </a:lnTo>
                    <a:lnTo>
                      <a:pt x="243" y="25"/>
                    </a:lnTo>
                    <a:lnTo>
                      <a:pt x="243" y="28"/>
                    </a:lnTo>
                    <a:lnTo>
                      <a:pt x="242" y="30"/>
                    </a:lnTo>
                    <a:lnTo>
                      <a:pt x="243" y="34"/>
                    </a:lnTo>
                    <a:lnTo>
                      <a:pt x="239" y="36"/>
                    </a:lnTo>
                    <a:lnTo>
                      <a:pt x="238" y="37"/>
                    </a:lnTo>
                    <a:lnTo>
                      <a:pt x="235" y="38"/>
                    </a:lnTo>
                    <a:lnTo>
                      <a:pt x="229" y="43"/>
                    </a:lnTo>
                    <a:lnTo>
                      <a:pt x="229" y="42"/>
                    </a:lnTo>
                    <a:lnTo>
                      <a:pt x="231" y="39"/>
                    </a:lnTo>
                    <a:lnTo>
                      <a:pt x="235" y="36"/>
                    </a:lnTo>
                    <a:lnTo>
                      <a:pt x="235" y="35"/>
                    </a:lnTo>
                    <a:lnTo>
                      <a:pt x="234" y="34"/>
                    </a:lnTo>
                    <a:lnTo>
                      <a:pt x="230" y="35"/>
                    </a:lnTo>
                    <a:lnTo>
                      <a:pt x="230" y="34"/>
                    </a:lnTo>
                    <a:lnTo>
                      <a:pt x="233" y="33"/>
                    </a:lnTo>
                    <a:lnTo>
                      <a:pt x="235" y="31"/>
                    </a:lnTo>
                    <a:lnTo>
                      <a:pt x="238" y="30"/>
                    </a:lnTo>
                    <a:lnTo>
                      <a:pt x="238" y="28"/>
                    </a:lnTo>
                    <a:lnTo>
                      <a:pt x="239" y="27"/>
                    </a:lnTo>
                    <a:lnTo>
                      <a:pt x="238" y="25"/>
                    </a:lnTo>
                    <a:lnTo>
                      <a:pt x="237" y="24"/>
                    </a:lnTo>
                    <a:lnTo>
                      <a:pt x="235" y="21"/>
                    </a:lnTo>
                    <a:lnTo>
                      <a:pt x="232" y="21"/>
                    </a:lnTo>
                    <a:lnTo>
                      <a:pt x="231" y="19"/>
                    </a:lnTo>
                    <a:lnTo>
                      <a:pt x="231" y="18"/>
                    </a:lnTo>
                    <a:lnTo>
                      <a:pt x="232" y="16"/>
                    </a:lnTo>
                    <a:lnTo>
                      <a:pt x="232" y="15"/>
                    </a:lnTo>
                    <a:lnTo>
                      <a:pt x="230" y="10"/>
                    </a:lnTo>
                    <a:lnTo>
                      <a:pt x="226" y="12"/>
                    </a:lnTo>
                    <a:lnTo>
                      <a:pt x="225" y="14"/>
                    </a:lnTo>
                    <a:lnTo>
                      <a:pt x="221" y="13"/>
                    </a:lnTo>
                    <a:lnTo>
                      <a:pt x="220" y="15"/>
                    </a:lnTo>
                    <a:lnTo>
                      <a:pt x="218" y="16"/>
                    </a:lnTo>
                    <a:lnTo>
                      <a:pt x="218" y="18"/>
                    </a:lnTo>
                    <a:lnTo>
                      <a:pt x="219" y="19"/>
                    </a:lnTo>
                    <a:lnTo>
                      <a:pt x="220" y="19"/>
                    </a:lnTo>
                    <a:lnTo>
                      <a:pt x="222" y="18"/>
                    </a:lnTo>
                    <a:lnTo>
                      <a:pt x="222" y="20"/>
                    </a:lnTo>
                    <a:lnTo>
                      <a:pt x="222" y="21"/>
                    </a:lnTo>
                    <a:lnTo>
                      <a:pt x="224" y="21"/>
                    </a:lnTo>
                    <a:lnTo>
                      <a:pt x="223" y="18"/>
                    </a:lnTo>
                    <a:lnTo>
                      <a:pt x="223" y="16"/>
                    </a:lnTo>
                    <a:lnTo>
                      <a:pt x="225" y="16"/>
                    </a:lnTo>
                    <a:lnTo>
                      <a:pt x="225" y="19"/>
                    </a:lnTo>
                    <a:lnTo>
                      <a:pt x="226" y="20"/>
                    </a:lnTo>
                    <a:lnTo>
                      <a:pt x="226" y="21"/>
                    </a:lnTo>
                    <a:lnTo>
                      <a:pt x="227" y="21"/>
                    </a:lnTo>
                    <a:lnTo>
                      <a:pt x="228" y="24"/>
                    </a:lnTo>
                    <a:lnTo>
                      <a:pt x="226" y="28"/>
                    </a:lnTo>
                    <a:lnTo>
                      <a:pt x="225" y="29"/>
                    </a:lnTo>
                    <a:lnTo>
                      <a:pt x="224" y="29"/>
                    </a:lnTo>
                    <a:lnTo>
                      <a:pt x="225" y="26"/>
                    </a:lnTo>
                    <a:lnTo>
                      <a:pt x="225" y="24"/>
                    </a:lnTo>
                    <a:lnTo>
                      <a:pt x="220" y="21"/>
                    </a:lnTo>
                    <a:lnTo>
                      <a:pt x="216" y="21"/>
                    </a:lnTo>
                    <a:lnTo>
                      <a:pt x="215" y="18"/>
                    </a:lnTo>
                    <a:lnTo>
                      <a:pt x="217" y="15"/>
                    </a:lnTo>
                    <a:lnTo>
                      <a:pt x="218" y="14"/>
                    </a:lnTo>
                    <a:lnTo>
                      <a:pt x="217" y="13"/>
                    </a:lnTo>
                    <a:lnTo>
                      <a:pt x="215" y="15"/>
                    </a:lnTo>
                    <a:lnTo>
                      <a:pt x="215" y="16"/>
                    </a:lnTo>
                    <a:lnTo>
                      <a:pt x="212" y="16"/>
                    </a:lnTo>
                    <a:lnTo>
                      <a:pt x="211" y="17"/>
                    </a:lnTo>
                    <a:lnTo>
                      <a:pt x="212" y="19"/>
                    </a:lnTo>
                    <a:lnTo>
                      <a:pt x="215" y="20"/>
                    </a:lnTo>
                    <a:lnTo>
                      <a:pt x="214" y="24"/>
                    </a:lnTo>
                    <a:lnTo>
                      <a:pt x="213" y="25"/>
                    </a:lnTo>
                    <a:lnTo>
                      <a:pt x="213" y="26"/>
                    </a:lnTo>
                    <a:lnTo>
                      <a:pt x="209" y="26"/>
                    </a:lnTo>
                    <a:lnTo>
                      <a:pt x="212" y="22"/>
                    </a:lnTo>
                    <a:lnTo>
                      <a:pt x="209" y="23"/>
                    </a:lnTo>
                    <a:lnTo>
                      <a:pt x="210" y="22"/>
                    </a:lnTo>
                    <a:lnTo>
                      <a:pt x="209" y="20"/>
                    </a:lnTo>
                    <a:lnTo>
                      <a:pt x="207" y="21"/>
                    </a:lnTo>
                    <a:lnTo>
                      <a:pt x="205" y="20"/>
                    </a:lnTo>
                    <a:lnTo>
                      <a:pt x="206" y="18"/>
                    </a:lnTo>
                    <a:lnTo>
                      <a:pt x="204" y="17"/>
                    </a:lnTo>
                    <a:lnTo>
                      <a:pt x="203" y="16"/>
                    </a:lnTo>
                    <a:lnTo>
                      <a:pt x="200" y="17"/>
                    </a:lnTo>
                    <a:lnTo>
                      <a:pt x="200" y="18"/>
                    </a:lnTo>
                    <a:lnTo>
                      <a:pt x="200" y="19"/>
                    </a:lnTo>
                    <a:lnTo>
                      <a:pt x="199" y="20"/>
                    </a:lnTo>
                    <a:lnTo>
                      <a:pt x="200" y="21"/>
                    </a:lnTo>
                    <a:lnTo>
                      <a:pt x="198" y="21"/>
                    </a:lnTo>
                    <a:lnTo>
                      <a:pt x="196" y="23"/>
                    </a:lnTo>
                    <a:lnTo>
                      <a:pt x="193" y="23"/>
                    </a:lnTo>
                    <a:lnTo>
                      <a:pt x="193" y="25"/>
                    </a:lnTo>
                    <a:lnTo>
                      <a:pt x="191" y="27"/>
                    </a:lnTo>
                    <a:lnTo>
                      <a:pt x="188" y="27"/>
                    </a:lnTo>
                    <a:lnTo>
                      <a:pt x="191" y="24"/>
                    </a:lnTo>
                    <a:lnTo>
                      <a:pt x="191" y="23"/>
                    </a:lnTo>
                    <a:lnTo>
                      <a:pt x="191" y="22"/>
                    </a:lnTo>
                    <a:lnTo>
                      <a:pt x="186" y="25"/>
                    </a:lnTo>
                    <a:lnTo>
                      <a:pt x="180" y="23"/>
                    </a:lnTo>
                    <a:lnTo>
                      <a:pt x="179" y="24"/>
                    </a:lnTo>
                    <a:lnTo>
                      <a:pt x="177" y="28"/>
                    </a:lnTo>
                    <a:lnTo>
                      <a:pt x="178" y="31"/>
                    </a:lnTo>
                    <a:lnTo>
                      <a:pt x="176" y="31"/>
                    </a:lnTo>
                    <a:lnTo>
                      <a:pt x="178" y="33"/>
                    </a:lnTo>
                    <a:lnTo>
                      <a:pt x="177" y="34"/>
                    </a:lnTo>
                    <a:lnTo>
                      <a:pt x="175" y="33"/>
                    </a:lnTo>
                    <a:lnTo>
                      <a:pt x="174" y="35"/>
                    </a:lnTo>
                    <a:lnTo>
                      <a:pt x="170" y="36"/>
                    </a:lnTo>
                    <a:lnTo>
                      <a:pt x="170" y="39"/>
                    </a:lnTo>
                    <a:lnTo>
                      <a:pt x="167" y="40"/>
                    </a:lnTo>
                    <a:lnTo>
                      <a:pt x="170" y="44"/>
                    </a:lnTo>
                    <a:lnTo>
                      <a:pt x="173" y="45"/>
                    </a:lnTo>
                    <a:lnTo>
                      <a:pt x="170" y="46"/>
                    </a:lnTo>
                    <a:lnTo>
                      <a:pt x="167" y="46"/>
                    </a:lnTo>
                    <a:lnTo>
                      <a:pt x="167" y="49"/>
                    </a:lnTo>
                    <a:lnTo>
                      <a:pt x="171" y="52"/>
                    </a:lnTo>
                    <a:lnTo>
                      <a:pt x="173" y="51"/>
                    </a:lnTo>
                    <a:lnTo>
                      <a:pt x="173" y="50"/>
                    </a:lnTo>
                    <a:lnTo>
                      <a:pt x="175" y="50"/>
                    </a:lnTo>
                    <a:lnTo>
                      <a:pt x="175" y="51"/>
                    </a:lnTo>
                    <a:lnTo>
                      <a:pt x="178" y="52"/>
                    </a:lnTo>
                    <a:lnTo>
                      <a:pt x="177" y="53"/>
                    </a:lnTo>
                    <a:lnTo>
                      <a:pt x="173" y="53"/>
                    </a:lnTo>
                    <a:lnTo>
                      <a:pt x="172" y="53"/>
                    </a:lnTo>
                    <a:lnTo>
                      <a:pt x="172" y="55"/>
                    </a:lnTo>
                    <a:lnTo>
                      <a:pt x="176" y="56"/>
                    </a:lnTo>
                    <a:lnTo>
                      <a:pt x="176" y="57"/>
                    </a:lnTo>
                    <a:lnTo>
                      <a:pt x="175" y="57"/>
                    </a:lnTo>
                    <a:lnTo>
                      <a:pt x="171" y="56"/>
                    </a:lnTo>
                    <a:lnTo>
                      <a:pt x="167" y="57"/>
                    </a:lnTo>
                    <a:lnTo>
                      <a:pt x="164" y="56"/>
                    </a:lnTo>
                    <a:lnTo>
                      <a:pt x="162" y="57"/>
                    </a:lnTo>
                    <a:lnTo>
                      <a:pt x="159" y="57"/>
                    </a:lnTo>
                    <a:lnTo>
                      <a:pt x="159" y="59"/>
                    </a:lnTo>
                    <a:lnTo>
                      <a:pt x="161" y="59"/>
                    </a:lnTo>
                    <a:lnTo>
                      <a:pt x="165" y="61"/>
                    </a:lnTo>
                    <a:lnTo>
                      <a:pt x="166" y="61"/>
                    </a:lnTo>
                    <a:lnTo>
                      <a:pt x="168" y="63"/>
                    </a:lnTo>
                    <a:lnTo>
                      <a:pt x="170" y="64"/>
                    </a:lnTo>
                    <a:lnTo>
                      <a:pt x="170" y="65"/>
                    </a:lnTo>
                    <a:lnTo>
                      <a:pt x="168" y="65"/>
                    </a:lnTo>
                    <a:lnTo>
                      <a:pt x="165" y="63"/>
                    </a:lnTo>
                    <a:lnTo>
                      <a:pt x="159" y="63"/>
                    </a:lnTo>
                    <a:lnTo>
                      <a:pt x="165" y="64"/>
                    </a:lnTo>
                    <a:lnTo>
                      <a:pt x="167" y="65"/>
                    </a:lnTo>
                    <a:lnTo>
                      <a:pt x="162" y="65"/>
                    </a:lnTo>
                    <a:lnTo>
                      <a:pt x="161" y="64"/>
                    </a:lnTo>
                    <a:lnTo>
                      <a:pt x="158" y="64"/>
                    </a:lnTo>
                    <a:lnTo>
                      <a:pt x="150" y="64"/>
                    </a:lnTo>
                    <a:lnTo>
                      <a:pt x="146" y="67"/>
                    </a:lnTo>
                    <a:lnTo>
                      <a:pt x="144" y="68"/>
                    </a:lnTo>
                    <a:lnTo>
                      <a:pt x="143" y="70"/>
                    </a:lnTo>
                    <a:lnTo>
                      <a:pt x="139" y="71"/>
                    </a:lnTo>
                    <a:lnTo>
                      <a:pt x="139" y="72"/>
                    </a:lnTo>
                    <a:lnTo>
                      <a:pt x="140" y="73"/>
                    </a:lnTo>
                    <a:lnTo>
                      <a:pt x="140" y="75"/>
                    </a:lnTo>
                    <a:lnTo>
                      <a:pt x="148" y="79"/>
                    </a:lnTo>
                    <a:lnTo>
                      <a:pt x="149" y="80"/>
                    </a:lnTo>
                    <a:lnTo>
                      <a:pt x="153" y="79"/>
                    </a:lnTo>
                    <a:lnTo>
                      <a:pt x="157" y="81"/>
                    </a:lnTo>
                    <a:lnTo>
                      <a:pt x="164" y="79"/>
                    </a:lnTo>
                    <a:lnTo>
                      <a:pt x="164" y="81"/>
                    </a:lnTo>
                    <a:lnTo>
                      <a:pt x="165" y="81"/>
                    </a:lnTo>
                    <a:lnTo>
                      <a:pt x="167" y="79"/>
                    </a:lnTo>
                    <a:lnTo>
                      <a:pt x="171" y="79"/>
                    </a:lnTo>
                    <a:lnTo>
                      <a:pt x="172" y="80"/>
                    </a:lnTo>
                    <a:lnTo>
                      <a:pt x="171" y="81"/>
                    </a:lnTo>
                    <a:lnTo>
                      <a:pt x="167" y="83"/>
                    </a:lnTo>
                    <a:lnTo>
                      <a:pt x="166" y="86"/>
                    </a:lnTo>
                    <a:lnTo>
                      <a:pt x="167" y="85"/>
                    </a:lnTo>
                    <a:lnTo>
                      <a:pt x="168" y="83"/>
                    </a:lnTo>
                    <a:lnTo>
                      <a:pt x="172" y="83"/>
                    </a:lnTo>
                    <a:lnTo>
                      <a:pt x="173" y="81"/>
                    </a:lnTo>
                    <a:lnTo>
                      <a:pt x="178" y="77"/>
                    </a:lnTo>
                    <a:lnTo>
                      <a:pt x="179" y="77"/>
                    </a:lnTo>
                    <a:lnTo>
                      <a:pt x="180" y="78"/>
                    </a:lnTo>
                    <a:lnTo>
                      <a:pt x="178" y="81"/>
                    </a:lnTo>
                    <a:lnTo>
                      <a:pt x="179" y="81"/>
                    </a:lnTo>
                    <a:lnTo>
                      <a:pt x="180" y="81"/>
                    </a:lnTo>
                    <a:lnTo>
                      <a:pt x="188" y="78"/>
                    </a:lnTo>
                    <a:lnTo>
                      <a:pt x="190" y="78"/>
                    </a:lnTo>
                    <a:lnTo>
                      <a:pt x="191" y="77"/>
                    </a:lnTo>
                    <a:lnTo>
                      <a:pt x="192" y="77"/>
                    </a:lnTo>
                    <a:lnTo>
                      <a:pt x="191" y="78"/>
                    </a:lnTo>
                    <a:lnTo>
                      <a:pt x="193" y="80"/>
                    </a:lnTo>
                    <a:lnTo>
                      <a:pt x="191" y="81"/>
                    </a:lnTo>
                    <a:lnTo>
                      <a:pt x="190" y="79"/>
                    </a:lnTo>
                    <a:lnTo>
                      <a:pt x="189" y="81"/>
                    </a:lnTo>
                    <a:lnTo>
                      <a:pt x="188" y="83"/>
                    </a:lnTo>
                    <a:lnTo>
                      <a:pt x="185" y="85"/>
                    </a:lnTo>
                    <a:lnTo>
                      <a:pt x="185" y="87"/>
                    </a:lnTo>
                    <a:lnTo>
                      <a:pt x="181" y="89"/>
                    </a:lnTo>
                    <a:lnTo>
                      <a:pt x="182" y="91"/>
                    </a:lnTo>
                    <a:lnTo>
                      <a:pt x="180" y="95"/>
                    </a:lnTo>
                    <a:lnTo>
                      <a:pt x="168" y="97"/>
                    </a:lnTo>
                    <a:lnTo>
                      <a:pt x="167" y="96"/>
                    </a:lnTo>
                    <a:lnTo>
                      <a:pt x="165" y="96"/>
                    </a:lnTo>
                    <a:lnTo>
                      <a:pt x="164" y="97"/>
                    </a:lnTo>
                    <a:lnTo>
                      <a:pt x="165" y="99"/>
                    </a:lnTo>
                    <a:lnTo>
                      <a:pt x="160" y="103"/>
                    </a:lnTo>
                    <a:lnTo>
                      <a:pt x="158" y="102"/>
                    </a:lnTo>
                    <a:lnTo>
                      <a:pt x="157" y="104"/>
                    </a:lnTo>
                    <a:lnTo>
                      <a:pt x="153" y="105"/>
                    </a:lnTo>
                    <a:lnTo>
                      <a:pt x="153" y="106"/>
                    </a:lnTo>
                    <a:lnTo>
                      <a:pt x="150" y="106"/>
                    </a:lnTo>
                    <a:lnTo>
                      <a:pt x="149" y="108"/>
                    </a:lnTo>
                    <a:lnTo>
                      <a:pt x="149" y="109"/>
                    </a:lnTo>
                    <a:lnTo>
                      <a:pt x="151" y="109"/>
                    </a:lnTo>
                    <a:lnTo>
                      <a:pt x="151" y="111"/>
                    </a:lnTo>
                    <a:lnTo>
                      <a:pt x="156" y="109"/>
                    </a:lnTo>
                    <a:lnTo>
                      <a:pt x="159" y="109"/>
                    </a:lnTo>
                    <a:lnTo>
                      <a:pt x="162" y="111"/>
                    </a:lnTo>
                    <a:lnTo>
                      <a:pt x="162" y="112"/>
                    </a:lnTo>
                    <a:lnTo>
                      <a:pt x="159" y="112"/>
                    </a:lnTo>
                    <a:lnTo>
                      <a:pt x="158" y="110"/>
                    </a:lnTo>
                    <a:lnTo>
                      <a:pt x="157" y="111"/>
                    </a:lnTo>
                    <a:lnTo>
                      <a:pt x="157" y="112"/>
                    </a:lnTo>
                    <a:lnTo>
                      <a:pt x="163" y="114"/>
                    </a:lnTo>
                    <a:lnTo>
                      <a:pt x="165" y="115"/>
                    </a:lnTo>
                    <a:lnTo>
                      <a:pt x="165" y="116"/>
                    </a:lnTo>
                    <a:lnTo>
                      <a:pt x="157" y="116"/>
                    </a:lnTo>
                    <a:lnTo>
                      <a:pt x="156" y="115"/>
                    </a:lnTo>
                    <a:lnTo>
                      <a:pt x="154" y="118"/>
                    </a:lnTo>
                    <a:lnTo>
                      <a:pt x="156" y="118"/>
                    </a:lnTo>
                    <a:lnTo>
                      <a:pt x="159" y="121"/>
                    </a:lnTo>
                    <a:lnTo>
                      <a:pt x="162" y="122"/>
                    </a:lnTo>
                    <a:lnTo>
                      <a:pt x="162" y="123"/>
                    </a:lnTo>
                    <a:lnTo>
                      <a:pt x="158" y="123"/>
                    </a:lnTo>
                    <a:lnTo>
                      <a:pt x="157" y="124"/>
                    </a:lnTo>
                    <a:lnTo>
                      <a:pt x="156" y="122"/>
                    </a:lnTo>
                    <a:lnTo>
                      <a:pt x="152" y="120"/>
                    </a:lnTo>
                    <a:lnTo>
                      <a:pt x="151" y="117"/>
                    </a:lnTo>
                    <a:lnTo>
                      <a:pt x="148" y="116"/>
                    </a:lnTo>
                    <a:lnTo>
                      <a:pt x="145" y="117"/>
                    </a:lnTo>
                    <a:lnTo>
                      <a:pt x="142" y="116"/>
                    </a:lnTo>
                    <a:lnTo>
                      <a:pt x="139" y="118"/>
                    </a:lnTo>
                    <a:lnTo>
                      <a:pt x="136" y="118"/>
                    </a:lnTo>
                    <a:lnTo>
                      <a:pt x="128" y="114"/>
                    </a:lnTo>
                    <a:lnTo>
                      <a:pt x="120" y="114"/>
                    </a:lnTo>
                    <a:lnTo>
                      <a:pt x="119" y="115"/>
                    </a:lnTo>
                    <a:lnTo>
                      <a:pt x="118" y="117"/>
                    </a:lnTo>
                    <a:lnTo>
                      <a:pt x="116" y="122"/>
                    </a:lnTo>
                    <a:lnTo>
                      <a:pt x="115" y="123"/>
                    </a:lnTo>
                    <a:lnTo>
                      <a:pt x="115" y="124"/>
                    </a:lnTo>
                    <a:lnTo>
                      <a:pt x="114" y="126"/>
                    </a:lnTo>
                    <a:lnTo>
                      <a:pt x="113" y="127"/>
                    </a:lnTo>
                    <a:lnTo>
                      <a:pt x="110" y="124"/>
                    </a:lnTo>
                    <a:lnTo>
                      <a:pt x="107" y="122"/>
                    </a:lnTo>
                    <a:lnTo>
                      <a:pt x="108" y="121"/>
                    </a:lnTo>
                    <a:lnTo>
                      <a:pt x="109" y="120"/>
                    </a:lnTo>
                    <a:lnTo>
                      <a:pt x="107" y="119"/>
                    </a:lnTo>
                    <a:lnTo>
                      <a:pt x="107" y="116"/>
                    </a:lnTo>
                    <a:lnTo>
                      <a:pt x="107" y="115"/>
                    </a:lnTo>
                    <a:lnTo>
                      <a:pt x="104" y="116"/>
                    </a:lnTo>
                    <a:lnTo>
                      <a:pt x="104" y="114"/>
                    </a:lnTo>
                    <a:lnTo>
                      <a:pt x="103" y="113"/>
                    </a:lnTo>
                    <a:lnTo>
                      <a:pt x="97" y="111"/>
                    </a:lnTo>
                    <a:lnTo>
                      <a:pt x="94" y="114"/>
                    </a:lnTo>
                    <a:lnTo>
                      <a:pt x="92" y="112"/>
                    </a:lnTo>
                    <a:lnTo>
                      <a:pt x="88" y="113"/>
                    </a:lnTo>
                    <a:lnTo>
                      <a:pt x="84" y="112"/>
                    </a:lnTo>
                    <a:lnTo>
                      <a:pt x="83" y="112"/>
                    </a:lnTo>
                    <a:lnTo>
                      <a:pt x="73" y="111"/>
                    </a:lnTo>
                    <a:lnTo>
                      <a:pt x="71" y="112"/>
                    </a:lnTo>
                    <a:lnTo>
                      <a:pt x="64" y="109"/>
                    </a:lnTo>
                    <a:lnTo>
                      <a:pt x="61" y="109"/>
                    </a:lnTo>
                    <a:lnTo>
                      <a:pt x="57" y="111"/>
                    </a:lnTo>
                    <a:lnTo>
                      <a:pt x="55" y="113"/>
                    </a:lnTo>
                    <a:lnTo>
                      <a:pt x="57" y="114"/>
                    </a:lnTo>
                    <a:lnTo>
                      <a:pt x="61" y="114"/>
                    </a:lnTo>
                    <a:lnTo>
                      <a:pt x="62" y="114"/>
                    </a:lnTo>
                    <a:lnTo>
                      <a:pt x="61" y="115"/>
                    </a:lnTo>
                    <a:lnTo>
                      <a:pt x="64" y="117"/>
                    </a:lnTo>
                    <a:lnTo>
                      <a:pt x="64" y="118"/>
                    </a:lnTo>
                    <a:lnTo>
                      <a:pt x="62" y="118"/>
                    </a:lnTo>
                    <a:lnTo>
                      <a:pt x="60" y="115"/>
                    </a:lnTo>
                    <a:lnTo>
                      <a:pt x="57" y="115"/>
                    </a:lnTo>
                    <a:lnTo>
                      <a:pt x="55" y="118"/>
                    </a:lnTo>
                    <a:lnTo>
                      <a:pt x="54" y="120"/>
                    </a:lnTo>
                    <a:lnTo>
                      <a:pt x="55" y="120"/>
                    </a:lnTo>
                    <a:lnTo>
                      <a:pt x="54" y="121"/>
                    </a:lnTo>
                    <a:lnTo>
                      <a:pt x="54" y="122"/>
                    </a:lnTo>
                    <a:lnTo>
                      <a:pt x="49" y="122"/>
                    </a:lnTo>
                    <a:lnTo>
                      <a:pt x="47" y="122"/>
                    </a:lnTo>
                    <a:lnTo>
                      <a:pt x="46" y="120"/>
                    </a:lnTo>
                    <a:lnTo>
                      <a:pt x="47" y="120"/>
                    </a:lnTo>
                    <a:lnTo>
                      <a:pt x="50" y="122"/>
                    </a:lnTo>
                    <a:lnTo>
                      <a:pt x="53" y="120"/>
                    </a:lnTo>
                    <a:lnTo>
                      <a:pt x="53" y="118"/>
                    </a:lnTo>
                    <a:lnTo>
                      <a:pt x="51" y="117"/>
                    </a:lnTo>
                    <a:lnTo>
                      <a:pt x="49" y="117"/>
                    </a:lnTo>
                    <a:lnTo>
                      <a:pt x="48" y="117"/>
                    </a:lnTo>
                    <a:lnTo>
                      <a:pt x="46" y="113"/>
                    </a:lnTo>
                    <a:lnTo>
                      <a:pt x="44" y="113"/>
                    </a:lnTo>
                    <a:lnTo>
                      <a:pt x="43" y="115"/>
                    </a:lnTo>
                    <a:lnTo>
                      <a:pt x="39" y="118"/>
                    </a:lnTo>
                    <a:lnTo>
                      <a:pt x="38" y="120"/>
                    </a:lnTo>
                    <a:lnTo>
                      <a:pt x="37" y="120"/>
                    </a:lnTo>
                    <a:lnTo>
                      <a:pt x="38" y="122"/>
                    </a:lnTo>
                    <a:lnTo>
                      <a:pt x="41" y="122"/>
                    </a:lnTo>
                    <a:lnTo>
                      <a:pt x="38" y="124"/>
                    </a:lnTo>
                    <a:lnTo>
                      <a:pt x="38" y="126"/>
                    </a:lnTo>
                    <a:lnTo>
                      <a:pt x="35" y="132"/>
                    </a:lnTo>
                    <a:lnTo>
                      <a:pt x="35" y="134"/>
                    </a:lnTo>
                    <a:lnTo>
                      <a:pt x="40" y="135"/>
                    </a:lnTo>
                    <a:lnTo>
                      <a:pt x="40" y="134"/>
                    </a:lnTo>
                    <a:lnTo>
                      <a:pt x="38" y="132"/>
                    </a:lnTo>
                    <a:lnTo>
                      <a:pt x="40" y="132"/>
                    </a:lnTo>
                    <a:lnTo>
                      <a:pt x="40" y="131"/>
                    </a:lnTo>
                    <a:lnTo>
                      <a:pt x="41" y="130"/>
                    </a:lnTo>
                    <a:lnTo>
                      <a:pt x="38" y="128"/>
                    </a:lnTo>
                    <a:lnTo>
                      <a:pt x="42" y="127"/>
                    </a:lnTo>
                    <a:lnTo>
                      <a:pt x="41" y="126"/>
                    </a:lnTo>
                    <a:lnTo>
                      <a:pt x="44" y="126"/>
                    </a:lnTo>
                    <a:lnTo>
                      <a:pt x="44" y="124"/>
                    </a:lnTo>
                    <a:lnTo>
                      <a:pt x="43" y="123"/>
                    </a:lnTo>
                    <a:lnTo>
                      <a:pt x="44" y="122"/>
                    </a:lnTo>
                    <a:lnTo>
                      <a:pt x="46" y="122"/>
                    </a:lnTo>
                    <a:lnTo>
                      <a:pt x="48" y="124"/>
                    </a:lnTo>
                    <a:lnTo>
                      <a:pt x="50" y="125"/>
                    </a:lnTo>
                    <a:lnTo>
                      <a:pt x="49" y="127"/>
                    </a:lnTo>
                    <a:lnTo>
                      <a:pt x="47" y="126"/>
                    </a:lnTo>
                    <a:lnTo>
                      <a:pt x="50" y="129"/>
                    </a:lnTo>
                    <a:lnTo>
                      <a:pt x="49" y="129"/>
                    </a:lnTo>
                    <a:lnTo>
                      <a:pt x="49" y="130"/>
                    </a:lnTo>
                    <a:lnTo>
                      <a:pt x="52" y="132"/>
                    </a:lnTo>
                    <a:lnTo>
                      <a:pt x="52" y="133"/>
                    </a:lnTo>
                    <a:lnTo>
                      <a:pt x="46" y="134"/>
                    </a:lnTo>
                    <a:lnTo>
                      <a:pt x="49" y="138"/>
                    </a:lnTo>
                    <a:lnTo>
                      <a:pt x="54" y="136"/>
                    </a:lnTo>
                    <a:lnTo>
                      <a:pt x="54" y="134"/>
                    </a:lnTo>
                    <a:lnTo>
                      <a:pt x="55" y="134"/>
                    </a:lnTo>
                    <a:lnTo>
                      <a:pt x="55" y="133"/>
                    </a:lnTo>
                    <a:lnTo>
                      <a:pt x="58" y="133"/>
                    </a:lnTo>
                    <a:lnTo>
                      <a:pt x="57" y="134"/>
                    </a:lnTo>
                    <a:lnTo>
                      <a:pt x="57" y="136"/>
                    </a:lnTo>
                    <a:lnTo>
                      <a:pt x="55" y="136"/>
                    </a:lnTo>
                    <a:lnTo>
                      <a:pt x="55" y="137"/>
                    </a:lnTo>
                    <a:lnTo>
                      <a:pt x="57" y="138"/>
                    </a:lnTo>
                    <a:lnTo>
                      <a:pt x="55" y="139"/>
                    </a:lnTo>
                    <a:lnTo>
                      <a:pt x="54" y="139"/>
                    </a:lnTo>
                    <a:lnTo>
                      <a:pt x="53" y="143"/>
                    </a:lnTo>
                    <a:lnTo>
                      <a:pt x="54" y="143"/>
                    </a:lnTo>
                    <a:lnTo>
                      <a:pt x="54" y="144"/>
                    </a:lnTo>
                    <a:lnTo>
                      <a:pt x="57" y="145"/>
                    </a:lnTo>
                    <a:lnTo>
                      <a:pt x="57" y="146"/>
                    </a:lnTo>
                    <a:lnTo>
                      <a:pt x="58" y="147"/>
                    </a:lnTo>
                    <a:lnTo>
                      <a:pt x="58" y="149"/>
                    </a:lnTo>
                    <a:lnTo>
                      <a:pt x="59" y="150"/>
                    </a:lnTo>
                    <a:lnTo>
                      <a:pt x="59" y="148"/>
                    </a:lnTo>
                    <a:lnTo>
                      <a:pt x="60" y="148"/>
                    </a:lnTo>
                    <a:lnTo>
                      <a:pt x="62" y="150"/>
                    </a:lnTo>
                    <a:lnTo>
                      <a:pt x="62" y="152"/>
                    </a:lnTo>
                    <a:lnTo>
                      <a:pt x="62" y="153"/>
                    </a:lnTo>
                    <a:lnTo>
                      <a:pt x="61" y="154"/>
                    </a:lnTo>
                    <a:lnTo>
                      <a:pt x="60" y="152"/>
                    </a:lnTo>
                    <a:lnTo>
                      <a:pt x="60" y="151"/>
                    </a:lnTo>
                    <a:lnTo>
                      <a:pt x="56" y="150"/>
                    </a:lnTo>
                    <a:lnTo>
                      <a:pt x="52" y="150"/>
                    </a:lnTo>
                    <a:lnTo>
                      <a:pt x="52" y="152"/>
                    </a:lnTo>
                    <a:lnTo>
                      <a:pt x="52" y="153"/>
                    </a:lnTo>
                    <a:lnTo>
                      <a:pt x="51" y="154"/>
                    </a:lnTo>
                    <a:lnTo>
                      <a:pt x="51" y="157"/>
                    </a:lnTo>
                    <a:lnTo>
                      <a:pt x="50" y="158"/>
                    </a:lnTo>
                    <a:lnTo>
                      <a:pt x="52" y="160"/>
                    </a:lnTo>
                    <a:lnTo>
                      <a:pt x="58" y="158"/>
                    </a:lnTo>
                    <a:lnTo>
                      <a:pt x="61" y="158"/>
                    </a:lnTo>
                    <a:lnTo>
                      <a:pt x="64" y="156"/>
                    </a:lnTo>
                    <a:lnTo>
                      <a:pt x="66" y="156"/>
                    </a:lnTo>
                    <a:lnTo>
                      <a:pt x="70" y="156"/>
                    </a:lnTo>
                    <a:lnTo>
                      <a:pt x="75" y="156"/>
                    </a:lnTo>
                    <a:lnTo>
                      <a:pt x="79" y="156"/>
                    </a:lnTo>
                    <a:lnTo>
                      <a:pt x="79" y="158"/>
                    </a:lnTo>
                    <a:lnTo>
                      <a:pt x="78" y="158"/>
                    </a:lnTo>
                    <a:lnTo>
                      <a:pt x="80" y="159"/>
                    </a:lnTo>
                    <a:lnTo>
                      <a:pt x="78" y="161"/>
                    </a:lnTo>
                    <a:lnTo>
                      <a:pt x="76" y="162"/>
                    </a:lnTo>
                    <a:lnTo>
                      <a:pt x="77" y="163"/>
                    </a:lnTo>
                    <a:lnTo>
                      <a:pt x="75" y="164"/>
                    </a:lnTo>
                    <a:lnTo>
                      <a:pt x="78" y="166"/>
                    </a:lnTo>
                    <a:lnTo>
                      <a:pt x="81" y="166"/>
                    </a:lnTo>
                    <a:lnTo>
                      <a:pt x="77" y="168"/>
                    </a:lnTo>
                    <a:lnTo>
                      <a:pt x="74" y="168"/>
                    </a:lnTo>
                    <a:lnTo>
                      <a:pt x="72" y="168"/>
                    </a:lnTo>
                    <a:lnTo>
                      <a:pt x="71" y="168"/>
                    </a:lnTo>
                    <a:lnTo>
                      <a:pt x="63" y="169"/>
                    </a:lnTo>
                    <a:lnTo>
                      <a:pt x="63" y="168"/>
                    </a:lnTo>
                    <a:lnTo>
                      <a:pt x="53" y="170"/>
                    </a:lnTo>
                    <a:lnTo>
                      <a:pt x="53" y="174"/>
                    </a:lnTo>
                    <a:lnTo>
                      <a:pt x="51" y="178"/>
                    </a:lnTo>
                    <a:lnTo>
                      <a:pt x="52" y="179"/>
                    </a:lnTo>
                    <a:lnTo>
                      <a:pt x="52" y="182"/>
                    </a:lnTo>
                    <a:lnTo>
                      <a:pt x="54" y="183"/>
                    </a:lnTo>
                    <a:lnTo>
                      <a:pt x="55" y="186"/>
                    </a:lnTo>
                    <a:lnTo>
                      <a:pt x="51" y="187"/>
                    </a:lnTo>
                    <a:lnTo>
                      <a:pt x="46" y="186"/>
                    </a:lnTo>
                    <a:lnTo>
                      <a:pt x="41" y="186"/>
                    </a:lnTo>
                    <a:lnTo>
                      <a:pt x="42" y="189"/>
                    </a:lnTo>
                    <a:lnTo>
                      <a:pt x="45" y="190"/>
                    </a:lnTo>
                    <a:lnTo>
                      <a:pt x="41" y="190"/>
                    </a:lnTo>
                    <a:lnTo>
                      <a:pt x="37" y="190"/>
                    </a:lnTo>
                    <a:lnTo>
                      <a:pt x="37" y="191"/>
                    </a:lnTo>
                    <a:lnTo>
                      <a:pt x="37" y="192"/>
                    </a:lnTo>
                    <a:lnTo>
                      <a:pt x="32" y="192"/>
                    </a:lnTo>
                    <a:lnTo>
                      <a:pt x="30" y="193"/>
                    </a:lnTo>
                    <a:lnTo>
                      <a:pt x="34" y="193"/>
                    </a:lnTo>
                    <a:lnTo>
                      <a:pt x="34" y="195"/>
                    </a:lnTo>
                    <a:lnTo>
                      <a:pt x="36" y="195"/>
                    </a:lnTo>
                    <a:lnTo>
                      <a:pt x="35" y="196"/>
                    </a:lnTo>
                    <a:lnTo>
                      <a:pt x="36" y="197"/>
                    </a:lnTo>
                    <a:lnTo>
                      <a:pt x="35" y="198"/>
                    </a:lnTo>
                    <a:lnTo>
                      <a:pt x="38" y="199"/>
                    </a:lnTo>
                    <a:lnTo>
                      <a:pt x="40" y="201"/>
                    </a:lnTo>
                    <a:lnTo>
                      <a:pt x="41" y="202"/>
                    </a:lnTo>
                    <a:lnTo>
                      <a:pt x="39" y="204"/>
                    </a:lnTo>
                    <a:lnTo>
                      <a:pt x="35" y="202"/>
                    </a:lnTo>
                    <a:lnTo>
                      <a:pt x="32" y="205"/>
                    </a:lnTo>
                    <a:lnTo>
                      <a:pt x="31" y="207"/>
                    </a:lnTo>
                    <a:lnTo>
                      <a:pt x="32" y="207"/>
                    </a:lnTo>
                    <a:lnTo>
                      <a:pt x="33" y="207"/>
                    </a:lnTo>
                    <a:lnTo>
                      <a:pt x="34" y="206"/>
                    </a:lnTo>
                    <a:lnTo>
                      <a:pt x="35" y="207"/>
                    </a:lnTo>
                    <a:lnTo>
                      <a:pt x="36" y="208"/>
                    </a:lnTo>
                    <a:lnTo>
                      <a:pt x="36" y="207"/>
                    </a:lnTo>
                    <a:lnTo>
                      <a:pt x="37" y="207"/>
                    </a:lnTo>
                    <a:lnTo>
                      <a:pt x="40" y="206"/>
                    </a:lnTo>
                    <a:lnTo>
                      <a:pt x="41" y="206"/>
                    </a:lnTo>
                    <a:lnTo>
                      <a:pt x="41" y="207"/>
                    </a:lnTo>
                    <a:lnTo>
                      <a:pt x="42" y="207"/>
                    </a:lnTo>
                    <a:lnTo>
                      <a:pt x="43" y="209"/>
                    </a:lnTo>
                    <a:lnTo>
                      <a:pt x="44" y="210"/>
                    </a:lnTo>
                    <a:lnTo>
                      <a:pt x="47" y="210"/>
                    </a:lnTo>
                    <a:lnTo>
                      <a:pt x="47" y="211"/>
                    </a:lnTo>
                    <a:lnTo>
                      <a:pt x="49" y="211"/>
                    </a:lnTo>
                    <a:lnTo>
                      <a:pt x="51" y="210"/>
                    </a:lnTo>
                    <a:lnTo>
                      <a:pt x="51" y="209"/>
                    </a:lnTo>
                    <a:lnTo>
                      <a:pt x="52" y="207"/>
                    </a:lnTo>
                    <a:lnTo>
                      <a:pt x="52" y="206"/>
                    </a:lnTo>
                    <a:lnTo>
                      <a:pt x="57" y="206"/>
                    </a:lnTo>
                    <a:lnTo>
                      <a:pt x="56" y="206"/>
                    </a:lnTo>
                    <a:lnTo>
                      <a:pt x="55" y="207"/>
                    </a:lnTo>
                    <a:lnTo>
                      <a:pt x="54" y="207"/>
                    </a:lnTo>
                    <a:lnTo>
                      <a:pt x="55" y="209"/>
                    </a:lnTo>
                    <a:lnTo>
                      <a:pt x="56" y="208"/>
                    </a:lnTo>
                    <a:lnTo>
                      <a:pt x="58" y="207"/>
                    </a:lnTo>
                    <a:lnTo>
                      <a:pt x="59" y="206"/>
                    </a:lnTo>
                    <a:lnTo>
                      <a:pt x="61" y="206"/>
                    </a:lnTo>
                    <a:lnTo>
                      <a:pt x="61" y="207"/>
                    </a:lnTo>
                    <a:lnTo>
                      <a:pt x="60" y="207"/>
                    </a:lnTo>
                    <a:lnTo>
                      <a:pt x="59" y="208"/>
                    </a:lnTo>
                    <a:lnTo>
                      <a:pt x="60" y="209"/>
                    </a:lnTo>
                    <a:lnTo>
                      <a:pt x="62" y="208"/>
                    </a:lnTo>
                    <a:lnTo>
                      <a:pt x="62" y="209"/>
                    </a:lnTo>
                    <a:lnTo>
                      <a:pt x="54" y="213"/>
                    </a:lnTo>
                    <a:lnTo>
                      <a:pt x="53" y="216"/>
                    </a:lnTo>
                    <a:lnTo>
                      <a:pt x="54" y="217"/>
                    </a:lnTo>
                    <a:lnTo>
                      <a:pt x="55" y="217"/>
                    </a:lnTo>
                    <a:lnTo>
                      <a:pt x="57" y="216"/>
                    </a:lnTo>
                    <a:lnTo>
                      <a:pt x="60" y="217"/>
                    </a:lnTo>
                    <a:lnTo>
                      <a:pt x="61" y="219"/>
                    </a:lnTo>
                    <a:lnTo>
                      <a:pt x="63" y="219"/>
                    </a:lnTo>
                    <a:lnTo>
                      <a:pt x="65" y="218"/>
                    </a:lnTo>
                    <a:lnTo>
                      <a:pt x="67" y="218"/>
                    </a:lnTo>
                    <a:lnTo>
                      <a:pt x="67" y="216"/>
                    </a:lnTo>
                    <a:lnTo>
                      <a:pt x="69" y="213"/>
                    </a:lnTo>
                    <a:lnTo>
                      <a:pt x="73" y="210"/>
                    </a:lnTo>
                    <a:lnTo>
                      <a:pt x="75" y="211"/>
                    </a:lnTo>
                    <a:lnTo>
                      <a:pt x="73" y="214"/>
                    </a:lnTo>
                    <a:lnTo>
                      <a:pt x="72" y="215"/>
                    </a:lnTo>
                    <a:lnTo>
                      <a:pt x="73" y="216"/>
                    </a:lnTo>
                    <a:lnTo>
                      <a:pt x="77" y="215"/>
                    </a:lnTo>
                    <a:lnTo>
                      <a:pt x="76" y="214"/>
                    </a:lnTo>
                    <a:lnTo>
                      <a:pt x="77" y="213"/>
                    </a:lnTo>
                    <a:lnTo>
                      <a:pt x="79" y="214"/>
                    </a:lnTo>
                    <a:lnTo>
                      <a:pt x="78" y="216"/>
                    </a:lnTo>
                    <a:lnTo>
                      <a:pt x="75" y="217"/>
                    </a:lnTo>
                    <a:lnTo>
                      <a:pt x="76" y="221"/>
                    </a:lnTo>
                    <a:lnTo>
                      <a:pt x="75" y="223"/>
                    </a:lnTo>
                    <a:lnTo>
                      <a:pt x="75" y="224"/>
                    </a:lnTo>
                    <a:lnTo>
                      <a:pt x="76" y="225"/>
                    </a:lnTo>
                    <a:lnTo>
                      <a:pt x="78" y="225"/>
                    </a:lnTo>
                    <a:lnTo>
                      <a:pt x="79" y="223"/>
                    </a:lnTo>
                    <a:lnTo>
                      <a:pt x="79" y="222"/>
                    </a:lnTo>
                    <a:lnTo>
                      <a:pt x="80" y="221"/>
                    </a:lnTo>
                    <a:lnTo>
                      <a:pt x="81" y="222"/>
                    </a:lnTo>
                    <a:lnTo>
                      <a:pt x="80" y="223"/>
                    </a:lnTo>
                    <a:lnTo>
                      <a:pt x="81" y="225"/>
                    </a:lnTo>
                    <a:lnTo>
                      <a:pt x="85" y="227"/>
                    </a:lnTo>
                    <a:lnTo>
                      <a:pt x="110" y="225"/>
                    </a:lnTo>
                    <a:lnTo>
                      <a:pt x="117" y="224"/>
                    </a:lnTo>
                    <a:lnTo>
                      <a:pt x="122" y="222"/>
                    </a:lnTo>
                    <a:lnTo>
                      <a:pt x="125" y="223"/>
                    </a:lnTo>
                    <a:lnTo>
                      <a:pt x="128" y="222"/>
                    </a:lnTo>
                    <a:lnTo>
                      <a:pt x="129" y="222"/>
                    </a:lnTo>
                    <a:lnTo>
                      <a:pt x="129" y="223"/>
                    </a:lnTo>
                    <a:lnTo>
                      <a:pt x="126" y="224"/>
                    </a:lnTo>
                    <a:lnTo>
                      <a:pt x="125" y="225"/>
                    </a:lnTo>
                    <a:lnTo>
                      <a:pt x="126" y="225"/>
                    </a:lnTo>
                    <a:lnTo>
                      <a:pt x="123" y="227"/>
                    </a:lnTo>
                    <a:lnTo>
                      <a:pt x="127" y="229"/>
                    </a:lnTo>
                    <a:lnTo>
                      <a:pt x="131" y="227"/>
                    </a:lnTo>
                    <a:lnTo>
                      <a:pt x="129" y="229"/>
                    </a:lnTo>
                    <a:lnTo>
                      <a:pt x="128" y="232"/>
                    </a:lnTo>
                    <a:lnTo>
                      <a:pt x="129" y="235"/>
                    </a:lnTo>
                    <a:lnTo>
                      <a:pt x="130" y="235"/>
                    </a:lnTo>
                    <a:lnTo>
                      <a:pt x="130" y="236"/>
                    </a:lnTo>
                    <a:lnTo>
                      <a:pt x="126" y="234"/>
                    </a:lnTo>
                    <a:lnTo>
                      <a:pt x="126" y="232"/>
                    </a:lnTo>
                    <a:lnTo>
                      <a:pt x="118" y="233"/>
                    </a:lnTo>
                    <a:lnTo>
                      <a:pt x="124" y="235"/>
                    </a:lnTo>
                    <a:lnTo>
                      <a:pt x="122" y="235"/>
                    </a:lnTo>
                    <a:lnTo>
                      <a:pt x="120" y="234"/>
                    </a:lnTo>
                    <a:lnTo>
                      <a:pt x="115" y="234"/>
                    </a:lnTo>
                    <a:lnTo>
                      <a:pt x="113" y="235"/>
                    </a:lnTo>
                    <a:lnTo>
                      <a:pt x="116" y="235"/>
                    </a:lnTo>
                    <a:lnTo>
                      <a:pt x="116" y="236"/>
                    </a:lnTo>
                    <a:lnTo>
                      <a:pt x="113" y="237"/>
                    </a:lnTo>
                    <a:lnTo>
                      <a:pt x="112" y="237"/>
                    </a:lnTo>
                    <a:lnTo>
                      <a:pt x="110" y="237"/>
                    </a:lnTo>
                    <a:lnTo>
                      <a:pt x="104" y="234"/>
                    </a:lnTo>
                    <a:lnTo>
                      <a:pt x="102" y="235"/>
                    </a:lnTo>
                    <a:lnTo>
                      <a:pt x="101" y="236"/>
                    </a:lnTo>
                    <a:lnTo>
                      <a:pt x="101" y="237"/>
                    </a:lnTo>
                    <a:lnTo>
                      <a:pt x="100" y="239"/>
                    </a:lnTo>
                    <a:lnTo>
                      <a:pt x="96" y="243"/>
                    </a:lnTo>
                    <a:lnTo>
                      <a:pt x="93" y="249"/>
                    </a:lnTo>
                    <a:lnTo>
                      <a:pt x="92" y="251"/>
                    </a:lnTo>
                    <a:lnTo>
                      <a:pt x="90" y="254"/>
                    </a:lnTo>
                    <a:lnTo>
                      <a:pt x="87" y="256"/>
                    </a:lnTo>
                    <a:lnTo>
                      <a:pt x="87" y="257"/>
                    </a:lnTo>
                    <a:lnTo>
                      <a:pt x="90" y="257"/>
                    </a:lnTo>
                    <a:lnTo>
                      <a:pt x="93" y="258"/>
                    </a:lnTo>
                    <a:lnTo>
                      <a:pt x="96" y="257"/>
                    </a:lnTo>
                    <a:lnTo>
                      <a:pt x="93" y="261"/>
                    </a:lnTo>
                    <a:lnTo>
                      <a:pt x="90" y="264"/>
                    </a:lnTo>
                    <a:lnTo>
                      <a:pt x="89" y="264"/>
                    </a:lnTo>
                    <a:lnTo>
                      <a:pt x="90" y="265"/>
                    </a:lnTo>
                    <a:lnTo>
                      <a:pt x="89" y="267"/>
                    </a:lnTo>
                    <a:lnTo>
                      <a:pt x="90" y="267"/>
                    </a:lnTo>
                    <a:lnTo>
                      <a:pt x="86" y="271"/>
                    </a:lnTo>
                    <a:lnTo>
                      <a:pt x="86" y="273"/>
                    </a:lnTo>
                    <a:lnTo>
                      <a:pt x="85" y="274"/>
                    </a:lnTo>
                    <a:lnTo>
                      <a:pt x="85" y="276"/>
                    </a:lnTo>
                    <a:lnTo>
                      <a:pt x="84" y="277"/>
                    </a:lnTo>
                    <a:lnTo>
                      <a:pt x="82" y="278"/>
                    </a:lnTo>
                    <a:lnTo>
                      <a:pt x="80" y="277"/>
                    </a:lnTo>
                    <a:lnTo>
                      <a:pt x="76" y="277"/>
                    </a:lnTo>
                    <a:lnTo>
                      <a:pt x="76" y="279"/>
                    </a:lnTo>
                    <a:lnTo>
                      <a:pt x="74" y="279"/>
                    </a:lnTo>
                    <a:lnTo>
                      <a:pt x="75" y="281"/>
                    </a:lnTo>
                    <a:lnTo>
                      <a:pt x="72" y="282"/>
                    </a:lnTo>
                    <a:lnTo>
                      <a:pt x="72" y="284"/>
                    </a:lnTo>
                    <a:lnTo>
                      <a:pt x="69" y="285"/>
                    </a:lnTo>
                    <a:lnTo>
                      <a:pt x="66" y="288"/>
                    </a:lnTo>
                    <a:lnTo>
                      <a:pt x="61" y="291"/>
                    </a:lnTo>
                    <a:lnTo>
                      <a:pt x="60" y="293"/>
                    </a:lnTo>
                    <a:lnTo>
                      <a:pt x="52" y="296"/>
                    </a:lnTo>
                    <a:lnTo>
                      <a:pt x="50" y="296"/>
                    </a:lnTo>
                    <a:lnTo>
                      <a:pt x="50" y="297"/>
                    </a:lnTo>
                    <a:lnTo>
                      <a:pt x="54" y="298"/>
                    </a:lnTo>
                    <a:lnTo>
                      <a:pt x="57" y="296"/>
                    </a:lnTo>
                    <a:lnTo>
                      <a:pt x="64" y="296"/>
                    </a:lnTo>
                    <a:lnTo>
                      <a:pt x="66" y="294"/>
                    </a:lnTo>
                    <a:lnTo>
                      <a:pt x="68" y="295"/>
                    </a:lnTo>
                    <a:lnTo>
                      <a:pt x="69" y="294"/>
                    </a:lnTo>
                    <a:lnTo>
                      <a:pt x="68" y="293"/>
                    </a:lnTo>
                    <a:lnTo>
                      <a:pt x="69" y="292"/>
                    </a:lnTo>
                    <a:lnTo>
                      <a:pt x="76" y="291"/>
                    </a:lnTo>
                    <a:lnTo>
                      <a:pt x="79" y="289"/>
                    </a:lnTo>
                    <a:lnTo>
                      <a:pt x="80" y="288"/>
                    </a:lnTo>
                    <a:lnTo>
                      <a:pt x="78" y="286"/>
                    </a:lnTo>
                    <a:lnTo>
                      <a:pt x="81" y="286"/>
                    </a:lnTo>
                    <a:lnTo>
                      <a:pt x="82" y="288"/>
                    </a:lnTo>
                    <a:lnTo>
                      <a:pt x="83" y="289"/>
                    </a:lnTo>
                    <a:lnTo>
                      <a:pt x="91" y="292"/>
                    </a:lnTo>
                    <a:lnTo>
                      <a:pt x="102" y="289"/>
                    </a:lnTo>
                    <a:lnTo>
                      <a:pt x="98" y="292"/>
                    </a:lnTo>
                    <a:lnTo>
                      <a:pt x="98" y="293"/>
                    </a:lnTo>
                    <a:lnTo>
                      <a:pt x="99" y="294"/>
                    </a:lnTo>
                    <a:lnTo>
                      <a:pt x="101" y="294"/>
                    </a:lnTo>
                    <a:lnTo>
                      <a:pt x="104" y="291"/>
                    </a:lnTo>
                    <a:lnTo>
                      <a:pt x="111" y="290"/>
                    </a:lnTo>
                    <a:lnTo>
                      <a:pt x="113" y="289"/>
                    </a:lnTo>
                    <a:lnTo>
                      <a:pt x="121" y="279"/>
                    </a:lnTo>
                    <a:lnTo>
                      <a:pt x="121" y="277"/>
                    </a:lnTo>
                    <a:lnTo>
                      <a:pt x="126" y="275"/>
                    </a:lnTo>
                    <a:lnTo>
                      <a:pt x="127" y="276"/>
                    </a:lnTo>
                    <a:lnTo>
                      <a:pt x="128" y="278"/>
                    </a:lnTo>
                    <a:lnTo>
                      <a:pt x="128" y="279"/>
                    </a:lnTo>
                    <a:lnTo>
                      <a:pt x="129" y="280"/>
                    </a:lnTo>
                    <a:lnTo>
                      <a:pt x="128" y="282"/>
                    </a:lnTo>
                    <a:lnTo>
                      <a:pt x="127" y="283"/>
                    </a:lnTo>
                    <a:lnTo>
                      <a:pt x="134" y="282"/>
                    </a:lnTo>
                    <a:lnTo>
                      <a:pt x="144" y="285"/>
                    </a:lnTo>
                    <a:lnTo>
                      <a:pt x="141" y="286"/>
                    </a:lnTo>
                    <a:lnTo>
                      <a:pt x="140" y="287"/>
                    </a:lnTo>
                    <a:lnTo>
                      <a:pt x="137" y="286"/>
                    </a:lnTo>
                    <a:lnTo>
                      <a:pt x="127" y="287"/>
                    </a:lnTo>
                    <a:lnTo>
                      <a:pt x="125" y="289"/>
                    </a:lnTo>
                    <a:lnTo>
                      <a:pt x="124" y="290"/>
                    </a:lnTo>
                    <a:lnTo>
                      <a:pt x="123" y="291"/>
                    </a:lnTo>
                    <a:lnTo>
                      <a:pt x="121" y="290"/>
                    </a:lnTo>
                    <a:lnTo>
                      <a:pt x="121" y="291"/>
                    </a:lnTo>
                    <a:lnTo>
                      <a:pt x="120" y="291"/>
                    </a:lnTo>
                    <a:lnTo>
                      <a:pt x="119" y="289"/>
                    </a:lnTo>
                    <a:lnTo>
                      <a:pt x="117" y="291"/>
                    </a:lnTo>
                    <a:lnTo>
                      <a:pt x="111" y="292"/>
                    </a:lnTo>
                    <a:lnTo>
                      <a:pt x="101" y="296"/>
                    </a:lnTo>
                    <a:lnTo>
                      <a:pt x="96" y="296"/>
                    </a:lnTo>
                    <a:lnTo>
                      <a:pt x="95" y="294"/>
                    </a:lnTo>
                    <a:lnTo>
                      <a:pt x="89" y="295"/>
                    </a:lnTo>
                    <a:lnTo>
                      <a:pt x="87" y="297"/>
                    </a:lnTo>
                    <a:lnTo>
                      <a:pt x="78" y="296"/>
                    </a:lnTo>
                    <a:lnTo>
                      <a:pt x="73" y="296"/>
                    </a:lnTo>
                    <a:lnTo>
                      <a:pt x="71" y="298"/>
                    </a:lnTo>
                    <a:lnTo>
                      <a:pt x="71" y="299"/>
                    </a:lnTo>
                    <a:lnTo>
                      <a:pt x="71" y="300"/>
                    </a:lnTo>
                    <a:lnTo>
                      <a:pt x="70" y="302"/>
                    </a:lnTo>
                    <a:lnTo>
                      <a:pt x="71" y="302"/>
                    </a:lnTo>
                    <a:lnTo>
                      <a:pt x="70" y="304"/>
                    </a:lnTo>
                    <a:lnTo>
                      <a:pt x="73" y="304"/>
                    </a:lnTo>
                    <a:lnTo>
                      <a:pt x="74" y="306"/>
                    </a:lnTo>
                    <a:lnTo>
                      <a:pt x="71" y="305"/>
                    </a:lnTo>
                    <a:lnTo>
                      <a:pt x="68" y="305"/>
                    </a:lnTo>
                    <a:lnTo>
                      <a:pt x="66" y="306"/>
                    </a:lnTo>
                    <a:lnTo>
                      <a:pt x="64" y="309"/>
                    </a:lnTo>
                    <a:lnTo>
                      <a:pt x="58" y="310"/>
                    </a:lnTo>
                    <a:lnTo>
                      <a:pt x="51" y="311"/>
                    </a:lnTo>
                    <a:lnTo>
                      <a:pt x="49" y="312"/>
                    </a:lnTo>
                    <a:lnTo>
                      <a:pt x="51" y="314"/>
                    </a:lnTo>
                    <a:lnTo>
                      <a:pt x="58" y="316"/>
                    </a:lnTo>
                    <a:lnTo>
                      <a:pt x="58" y="322"/>
                    </a:lnTo>
                    <a:lnTo>
                      <a:pt x="57" y="324"/>
                    </a:lnTo>
                    <a:lnTo>
                      <a:pt x="54" y="324"/>
                    </a:lnTo>
                    <a:lnTo>
                      <a:pt x="55" y="327"/>
                    </a:lnTo>
                    <a:lnTo>
                      <a:pt x="57" y="327"/>
                    </a:lnTo>
                    <a:lnTo>
                      <a:pt x="59" y="326"/>
                    </a:lnTo>
                    <a:lnTo>
                      <a:pt x="65" y="328"/>
                    </a:lnTo>
                    <a:lnTo>
                      <a:pt x="66" y="330"/>
                    </a:lnTo>
                    <a:lnTo>
                      <a:pt x="60" y="330"/>
                    </a:lnTo>
                    <a:lnTo>
                      <a:pt x="59" y="330"/>
                    </a:lnTo>
                    <a:lnTo>
                      <a:pt x="60" y="329"/>
                    </a:lnTo>
                    <a:lnTo>
                      <a:pt x="59" y="328"/>
                    </a:lnTo>
                    <a:lnTo>
                      <a:pt x="56" y="331"/>
                    </a:lnTo>
                    <a:lnTo>
                      <a:pt x="49" y="331"/>
                    </a:lnTo>
                    <a:lnTo>
                      <a:pt x="44" y="328"/>
                    </a:lnTo>
                    <a:lnTo>
                      <a:pt x="44" y="326"/>
                    </a:lnTo>
                    <a:lnTo>
                      <a:pt x="44" y="325"/>
                    </a:lnTo>
                    <a:lnTo>
                      <a:pt x="44" y="323"/>
                    </a:lnTo>
                    <a:lnTo>
                      <a:pt x="43" y="324"/>
                    </a:lnTo>
                    <a:lnTo>
                      <a:pt x="41" y="323"/>
                    </a:lnTo>
                    <a:lnTo>
                      <a:pt x="41" y="324"/>
                    </a:lnTo>
                    <a:lnTo>
                      <a:pt x="43" y="325"/>
                    </a:lnTo>
                    <a:lnTo>
                      <a:pt x="43" y="326"/>
                    </a:lnTo>
                    <a:lnTo>
                      <a:pt x="41" y="328"/>
                    </a:lnTo>
                    <a:lnTo>
                      <a:pt x="40" y="330"/>
                    </a:lnTo>
                    <a:lnTo>
                      <a:pt x="32" y="331"/>
                    </a:lnTo>
                    <a:lnTo>
                      <a:pt x="33" y="326"/>
                    </a:lnTo>
                    <a:lnTo>
                      <a:pt x="32" y="325"/>
                    </a:lnTo>
                    <a:lnTo>
                      <a:pt x="30" y="326"/>
                    </a:lnTo>
                    <a:lnTo>
                      <a:pt x="29" y="327"/>
                    </a:lnTo>
                    <a:lnTo>
                      <a:pt x="26" y="327"/>
                    </a:lnTo>
                    <a:lnTo>
                      <a:pt x="24" y="328"/>
                    </a:lnTo>
                    <a:lnTo>
                      <a:pt x="21" y="331"/>
                    </a:lnTo>
                    <a:lnTo>
                      <a:pt x="17" y="331"/>
                    </a:lnTo>
                    <a:lnTo>
                      <a:pt x="16" y="333"/>
                    </a:lnTo>
                    <a:lnTo>
                      <a:pt x="17" y="334"/>
                    </a:lnTo>
                    <a:lnTo>
                      <a:pt x="16" y="336"/>
                    </a:lnTo>
                    <a:lnTo>
                      <a:pt x="16" y="338"/>
                    </a:lnTo>
                    <a:lnTo>
                      <a:pt x="13" y="337"/>
                    </a:lnTo>
                    <a:lnTo>
                      <a:pt x="13" y="334"/>
                    </a:lnTo>
                    <a:lnTo>
                      <a:pt x="9" y="336"/>
                    </a:lnTo>
                    <a:lnTo>
                      <a:pt x="9" y="337"/>
                    </a:lnTo>
                    <a:lnTo>
                      <a:pt x="10" y="338"/>
                    </a:lnTo>
                    <a:lnTo>
                      <a:pt x="8" y="340"/>
                    </a:lnTo>
                    <a:lnTo>
                      <a:pt x="9" y="344"/>
                    </a:lnTo>
                    <a:lnTo>
                      <a:pt x="8" y="344"/>
                    </a:lnTo>
                    <a:lnTo>
                      <a:pt x="11" y="346"/>
                    </a:lnTo>
                    <a:lnTo>
                      <a:pt x="17" y="344"/>
                    </a:lnTo>
                    <a:lnTo>
                      <a:pt x="18" y="344"/>
                    </a:lnTo>
                    <a:lnTo>
                      <a:pt x="17" y="344"/>
                    </a:lnTo>
                    <a:lnTo>
                      <a:pt x="17" y="342"/>
                    </a:lnTo>
                    <a:lnTo>
                      <a:pt x="21" y="344"/>
                    </a:lnTo>
                    <a:lnTo>
                      <a:pt x="24" y="344"/>
                    </a:lnTo>
                    <a:lnTo>
                      <a:pt x="22" y="342"/>
                    </a:lnTo>
                    <a:lnTo>
                      <a:pt x="24" y="342"/>
                    </a:lnTo>
                    <a:lnTo>
                      <a:pt x="25" y="342"/>
                    </a:lnTo>
                    <a:lnTo>
                      <a:pt x="26" y="343"/>
                    </a:lnTo>
                    <a:lnTo>
                      <a:pt x="28" y="342"/>
                    </a:lnTo>
                    <a:lnTo>
                      <a:pt x="31" y="344"/>
                    </a:lnTo>
                    <a:lnTo>
                      <a:pt x="46" y="341"/>
                    </a:lnTo>
                    <a:lnTo>
                      <a:pt x="47" y="342"/>
                    </a:lnTo>
                    <a:lnTo>
                      <a:pt x="49" y="344"/>
                    </a:lnTo>
                    <a:lnTo>
                      <a:pt x="50" y="344"/>
                    </a:lnTo>
                    <a:lnTo>
                      <a:pt x="49" y="342"/>
                    </a:lnTo>
                    <a:lnTo>
                      <a:pt x="49" y="340"/>
                    </a:lnTo>
                    <a:lnTo>
                      <a:pt x="54" y="340"/>
                    </a:lnTo>
                    <a:lnTo>
                      <a:pt x="57" y="340"/>
                    </a:lnTo>
                    <a:lnTo>
                      <a:pt x="58" y="341"/>
                    </a:lnTo>
                    <a:lnTo>
                      <a:pt x="61" y="341"/>
                    </a:lnTo>
                    <a:lnTo>
                      <a:pt x="63" y="342"/>
                    </a:lnTo>
                    <a:lnTo>
                      <a:pt x="60" y="342"/>
                    </a:lnTo>
                    <a:lnTo>
                      <a:pt x="55" y="344"/>
                    </a:lnTo>
                    <a:lnTo>
                      <a:pt x="54" y="344"/>
                    </a:lnTo>
                    <a:lnTo>
                      <a:pt x="53" y="342"/>
                    </a:lnTo>
                    <a:lnTo>
                      <a:pt x="52" y="344"/>
                    </a:lnTo>
                    <a:lnTo>
                      <a:pt x="51" y="346"/>
                    </a:lnTo>
                    <a:lnTo>
                      <a:pt x="51" y="348"/>
                    </a:lnTo>
                    <a:lnTo>
                      <a:pt x="51" y="349"/>
                    </a:lnTo>
                    <a:lnTo>
                      <a:pt x="50" y="348"/>
                    </a:lnTo>
                    <a:lnTo>
                      <a:pt x="49" y="349"/>
                    </a:lnTo>
                    <a:lnTo>
                      <a:pt x="48" y="346"/>
                    </a:lnTo>
                    <a:lnTo>
                      <a:pt x="47" y="349"/>
                    </a:lnTo>
                    <a:lnTo>
                      <a:pt x="46" y="351"/>
                    </a:lnTo>
                    <a:lnTo>
                      <a:pt x="38" y="352"/>
                    </a:lnTo>
                    <a:lnTo>
                      <a:pt x="37" y="353"/>
                    </a:lnTo>
                    <a:lnTo>
                      <a:pt x="35" y="353"/>
                    </a:lnTo>
                    <a:lnTo>
                      <a:pt x="30" y="355"/>
                    </a:lnTo>
                    <a:lnTo>
                      <a:pt x="29" y="357"/>
                    </a:lnTo>
                    <a:lnTo>
                      <a:pt x="25" y="357"/>
                    </a:lnTo>
                    <a:lnTo>
                      <a:pt x="25" y="359"/>
                    </a:lnTo>
                    <a:lnTo>
                      <a:pt x="21" y="360"/>
                    </a:lnTo>
                    <a:lnTo>
                      <a:pt x="24" y="362"/>
                    </a:lnTo>
                    <a:lnTo>
                      <a:pt x="24" y="363"/>
                    </a:lnTo>
                    <a:lnTo>
                      <a:pt x="26" y="364"/>
                    </a:lnTo>
                    <a:lnTo>
                      <a:pt x="26" y="366"/>
                    </a:lnTo>
                    <a:lnTo>
                      <a:pt x="24" y="365"/>
                    </a:lnTo>
                    <a:lnTo>
                      <a:pt x="18" y="368"/>
                    </a:lnTo>
                    <a:lnTo>
                      <a:pt x="14" y="369"/>
                    </a:lnTo>
                    <a:lnTo>
                      <a:pt x="15" y="369"/>
                    </a:lnTo>
                    <a:lnTo>
                      <a:pt x="15" y="372"/>
                    </a:lnTo>
                    <a:lnTo>
                      <a:pt x="19" y="372"/>
                    </a:lnTo>
                    <a:lnTo>
                      <a:pt x="19" y="375"/>
                    </a:lnTo>
                    <a:lnTo>
                      <a:pt x="18" y="376"/>
                    </a:lnTo>
                    <a:lnTo>
                      <a:pt x="19" y="379"/>
                    </a:lnTo>
                    <a:lnTo>
                      <a:pt x="24" y="375"/>
                    </a:lnTo>
                    <a:lnTo>
                      <a:pt x="24" y="374"/>
                    </a:lnTo>
                    <a:lnTo>
                      <a:pt x="26" y="373"/>
                    </a:lnTo>
                    <a:lnTo>
                      <a:pt x="30" y="372"/>
                    </a:lnTo>
                    <a:lnTo>
                      <a:pt x="32" y="375"/>
                    </a:lnTo>
                    <a:lnTo>
                      <a:pt x="31" y="379"/>
                    </a:lnTo>
                    <a:lnTo>
                      <a:pt x="28" y="379"/>
                    </a:lnTo>
                    <a:lnTo>
                      <a:pt x="31" y="379"/>
                    </a:lnTo>
                    <a:lnTo>
                      <a:pt x="33" y="381"/>
                    </a:lnTo>
                    <a:lnTo>
                      <a:pt x="36" y="381"/>
                    </a:lnTo>
                    <a:lnTo>
                      <a:pt x="35" y="383"/>
                    </a:lnTo>
                    <a:lnTo>
                      <a:pt x="38" y="382"/>
                    </a:lnTo>
                    <a:lnTo>
                      <a:pt x="41" y="381"/>
                    </a:lnTo>
                    <a:lnTo>
                      <a:pt x="41" y="380"/>
                    </a:lnTo>
                    <a:lnTo>
                      <a:pt x="43" y="379"/>
                    </a:lnTo>
                    <a:lnTo>
                      <a:pt x="44" y="379"/>
                    </a:lnTo>
                    <a:lnTo>
                      <a:pt x="49" y="376"/>
                    </a:lnTo>
                    <a:lnTo>
                      <a:pt x="53" y="376"/>
                    </a:lnTo>
                    <a:lnTo>
                      <a:pt x="54" y="375"/>
                    </a:lnTo>
                    <a:lnTo>
                      <a:pt x="55" y="375"/>
                    </a:lnTo>
                    <a:lnTo>
                      <a:pt x="56" y="376"/>
                    </a:lnTo>
                    <a:lnTo>
                      <a:pt x="58" y="375"/>
                    </a:lnTo>
                    <a:lnTo>
                      <a:pt x="61" y="374"/>
                    </a:lnTo>
                    <a:lnTo>
                      <a:pt x="61" y="375"/>
                    </a:lnTo>
                    <a:lnTo>
                      <a:pt x="64" y="373"/>
                    </a:lnTo>
                    <a:lnTo>
                      <a:pt x="68" y="370"/>
                    </a:lnTo>
                    <a:lnTo>
                      <a:pt x="79" y="369"/>
                    </a:lnTo>
                    <a:lnTo>
                      <a:pt x="72" y="372"/>
                    </a:lnTo>
                    <a:lnTo>
                      <a:pt x="66" y="373"/>
                    </a:lnTo>
                    <a:lnTo>
                      <a:pt x="60" y="379"/>
                    </a:lnTo>
                    <a:lnTo>
                      <a:pt x="61" y="379"/>
                    </a:lnTo>
                    <a:lnTo>
                      <a:pt x="62" y="379"/>
                    </a:lnTo>
                    <a:lnTo>
                      <a:pt x="62" y="380"/>
                    </a:lnTo>
                    <a:lnTo>
                      <a:pt x="58" y="381"/>
                    </a:lnTo>
                    <a:lnTo>
                      <a:pt x="57" y="380"/>
                    </a:lnTo>
                    <a:lnTo>
                      <a:pt x="57" y="382"/>
                    </a:lnTo>
                    <a:lnTo>
                      <a:pt x="54" y="383"/>
                    </a:lnTo>
                    <a:lnTo>
                      <a:pt x="54" y="381"/>
                    </a:lnTo>
                    <a:lnTo>
                      <a:pt x="53" y="381"/>
                    </a:lnTo>
                    <a:lnTo>
                      <a:pt x="50" y="383"/>
                    </a:lnTo>
                    <a:lnTo>
                      <a:pt x="47" y="384"/>
                    </a:lnTo>
                    <a:lnTo>
                      <a:pt x="46" y="385"/>
                    </a:lnTo>
                    <a:lnTo>
                      <a:pt x="47" y="387"/>
                    </a:lnTo>
                    <a:lnTo>
                      <a:pt x="49" y="386"/>
                    </a:lnTo>
                    <a:lnTo>
                      <a:pt x="47" y="389"/>
                    </a:lnTo>
                    <a:lnTo>
                      <a:pt x="44" y="390"/>
                    </a:lnTo>
                    <a:lnTo>
                      <a:pt x="38" y="391"/>
                    </a:lnTo>
                    <a:lnTo>
                      <a:pt x="41" y="393"/>
                    </a:lnTo>
                    <a:lnTo>
                      <a:pt x="41" y="395"/>
                    </a:lnTo>
                    <a:lnTo>
                      <a:pt x="36" y="397"/>
                    </a:lnTo>
                    <a:lnTo>
                      <a:pt x="34" y="396"/>
                    </a:lnTo>
                    <a:lnTo>
                      <a:pt x="34" y="397"/>
                    </a:lnTo>
                    <a:lnTo>
                      <a:pt x="33" y="400"/>
                    </a:lnTo>
                    <a:lnTo>
                      <a:pt x="38" y="397"/>
                    </a:lnTo>
                    <a:lnTo>
                      <a:pt x="40" y="397"/>
                    </a:lnTo>
                    <a:lnTo>
                      <a:pt x="42" y="399"/>
                    </a:lnTo>
                    <a:lnTo>
                      <a:pt x="47" y="396"/>
                    </a:lnTo>
                    <a:lnTo>
                      <a:pt x="49" y="397"/>
                    </a:lnTo>
                    <a:lnTo>
                      <a:pt x="50" y="396"/>
                    </a:lnTo>
                    <a:lnTo>
                      <a:pt x="50" y="394"/>
                    </a:lnTo>
                    <a:lnTo>
                      <a:pt x="52" y="393"/>
                    </a:lnTo>
                    <a:lnTo>
                      <a:pt x="58" y="392"/>
                    </a:lnTo>
                    <a:lnTo>
                      <a:pt x="60" y="392"/>
                    </a:lnTo>
                    <a:lnTo>
                      <a:pt x="68" y="390"/>
                    </a:lnTo>
                    <a:lnTo>
                      <a:pt x="71" y="390"/>
                    </a:lnTo>
                    <a:lnTo>
                      <a:pt x="76" y="389"/>
                    </a:lnTo>
                    <a:lnTo>
                      <a:pt x="78" y="387"/>
                    </a:lnTo>
                    <a:lnTo>
                      <a:pt x="81" y="385"/>
                    </a:lnTo>
                    <a:lnTo>
                      <a:pt x="80" y="384"/>
                    </a:lnTo>
                    <a:lnTo>
                      <a:pt x="80" y="381"/>
                    </a:lnTo>
                    <a:lnTo>
                      <a:pt x="82" y="383"/>
                    </a:lnTo>
                    <a:lnTo>
                      <a:pt x="83" y="385"/>
                    </a:lnTo>
                    <a:lnTo>
                      <a:pt x="84" y="386"/>
                    </a:lnTo>
                    <a:lnTo>
                      <a:pt x="86" y="386"/>
                    </a:lnTo>
                    <a:lnTo>
                      <a:pt x="87" y="385"/>
                    </a:lnTo>
                    <a:lnTo>
                      <a:pt x="88" y="385"/>
                    </a:lnTo>
                    <a:lnTo>
                      <a:pt x="89" y="386"/>
                    </a:lnTo>
                    <a:lnTo>
                      <a:pt x="88" y="387"/>
                    </a:lnTo>
                    <a:lnTo>
                      <a:pt x="89" y="388"/>
                    </a:lnTo>
                    <a:lnTo>
                      <a:pt x="87" y="390"/>
                    </a:lnTo>
                    <a:lnTo>
                      <a:pt x="78" y="392"/>
                    </a:lnTo>
                    <a:lnTo>
                      <a:pt x="69" y="397"/>
                    </a:lnTo>
                    <a:lnTo>
                      <a:pt x="65" y="398"/>
                    </a:lnTo>
                    <a:lnTo>
                      <a:pt x="63" y="399"/>
                    </a:lnTo>
                    <a:lnTo>
                      <a:pt x="62" y="401"/>
                    </a:lnTo>
                    <a:lnTo>
                      <a:pt x="57" y="403"/>
                    </a:lnTo>
                    <a:lnTo>
                      <a:pt x="58" y="404"/>
                    </a:lnTo>
                    <a:lnTo>
                      <a:pt x="61" y="404"/>
                    </a:lnTo>
                    <a:lnTo>
                      <a:pt x="65" y="401"/>
                    </a:lnTo>
                    <a:lnTo>
                      <a:pt x="66" y="401"/>
                    </a:lnTo>
                    <a:lnTo>
                      <a:pt x="67" y="401"/>
                    </a:lnTo>
                    <a:lnTo>
                      <a:pt x="73" y="399"/>
                    </a:lnTo>
                    <a:lnTo>
                      <a:pt x="74" y="398"/>
                    </a:lnTo>
                    <a:lnTo>
                      <a:pt x="78" y="396"/>
                    </a:lnTo>
                    <a:lnTo>
                      <a:pt x="81" y="396"/>
                    </a:lnTo>
                    <a:lnTo>
                      <a:pt x="81" y="397"/>
                    </a:lnTo>
                    <a:lnTo>
                      <a:pt x="78" y="397"/>
                    </a:lnTo>
                    <a:lnTo>
                      <a:pt x="77" y="399"/>
                    </a:lnTo>
                    <a:lnTo>
                      <a:pt x="73" y="401"/>
                    </a:lnTo>
                    <a:lnTo>
                      <a:pt x="73" y="403"/>
                    </a:lnTo>
                    <a:lnTo>
                      <a:pt x="68" y="405"/>
                    </a:lnTo>
                    <a:lnTo>
                      <a:pt x="66" y="405"/>
                    </a:lnTo>
                    <a:lnTo>
                      <a:pt x="66" y="407"/>
                    </a:lnTo>
                    <a:lnTo>
                      <a:pt x="63" y="407"/>
                    </a:lnTo>
                    <a:lnTo>
                      <a:pt x="63" y="408"/>
                    </a:lnTo>
                    <a:lnTo>
                      <a:pt x="58" y="410"/>
                    </a:lnTo>
                    <a:lnTo>
                      <a:pt x="58" y="411"/>
                    </a:lnTo>
                    <a:lnTo>
                      <a:pt x="60" y="411"/>
                    </a:lnTo>
                    <a:lnTo>
                      <a:pt x="60" y="414"/>
                    </a:lnTo>
                    <a:lnTo>
                      <a:pt x="62" y="413"/>
                    </a:lnTo>
                    <a:lnTo>
                      <a:pt x="63" y="412"/>
                    </a:lnTo>
                    <a:lnTo>
                      <a:pt x="64" y="413"/>
                    </a:lnTo>
                    <a:lnTo>
                      <a:pt x="63" y="413"/>
                    </a:lnTo>
                    <a:lnTo>
                      <a:pt x="64" y="414"/>
                    </a:lnTo>
                    <a:lnTo>
                      <a:pt x="69" y="412"/>
                    </a:lnTo>
                    <a:lnTo>
                      <a:pt x="68" y="411"/>
                    </a:lnTo>
                    <a:lnTo>
                      <a:pt x="69" y="409"/>
                    </a:lnTo>
                    <a:lnTo>
                      <a:pt x="72" y="408"/>
                    </a:lnTo>
                    <a:lnTo>
                      <a:pt x="72" y="407"/>
                    </a:lnTo>
                    <a:lnTo>
                      <a:pt x="73" y="407"/>
                    </a:lnTo>
                    <a:lnTo>
                      <a:pt x="74" y="408"/>
                    </a:lnTo>
                    <a:lnTo>
                      <a:pt x="75" y="409"/>
                    </a:lnTo>
                    <a:lnTo>
                      <a:pt x="77" y="409"/>
                    </a:lnTo>
                    <a:lnTo>
                      <a:pt x="77" y="408"/>
                    </a:lnTo>
                    <a:lnTo>
                      <a:pt x="81" y="407"/>
                    </a:lnTo>
                    <a:lnTo>
                      <a:pt x="81" y="405"/>
                    </a:lnTo>
                    <a:lnTo>
                      <a:pt x="83" y="407"/>
                    </a:lnTo>
                    <a:lnTo>
                      <a:pt x="89" y="405"/>
                    </a:lnTo>
                    <a:lnTo>
                      <a:pt x="89" y="404"/>
                    </a:lnTo>
                    <a:lnTo>
                      <a:pt x="88" y="403"/>
                    </a:lnTo>
                    <a:lnTo>
                      <a:pt x="89" y="402"/>
                    </a:lnTo>
                    <a:lnTo>
                      <a:pt x="93" y="404"/>
                    </a:lnTo>
                    <a:lnTo>
                      <a:pt x="91" y="407"/>
                    </a:lnTo>
                    <a:lnTo>
                      <a:pt x="92" y="407"/>
                    </a:lnTo>
                    <a:lnTo>
                      <a:pt x="92" y="409"/>
                    </a:lnTo>
                    <a:lnTo>
                      <a:pt x="94" y="410"/>
                    </a:lnTo>
                    <a:lnTo>
                      <a:pt x="93" y="411"/>
                    </a:lnTo>
                    <a:lnTo>
                      <a:pt x="95" y="411"/>
                    </a:lnTo>
                    <a:lnTo>
                      <a:pt x="100" y="410"/>
                    </a:lnTo>
                    <a:lnTo>
                      <a:pt x="101" y="409"/>
                    </a:lnTo>
                    <a:lnTo>
                      <a:pt x="100" y="408"/>
                    </a:lnTo>
                    <a:lnTo>
                      <a:pt x="103" y="408"/>
                    </a:lnTo>
                    <a:lnTo>
                      <a:pt x="103" y="410"/>
                    </a:lnTo>
                    <a:lnTo>
                      <a:pt x="104" y="409"/>
                    </a:lnTo>
                    <a:lnTo>
                      <a:pt x="105" y="411"/>
                    </a:lnTo>
                    <a:lnTo>
                      <a:pt x="106" y="410"/>
                    </a:lnTo>
                    <a:lnTo>
                      <a:pt x="107" y="408"/>
                    </a:lnTo>
                    <a:lnTo>
                      <a:pt x="109" y="408"/>
                    </a:lnTo>
                    <a:lnTo>
                      <a:pt x="109" y="407"/>
                    </a:lnTo>
                    <a:lnTo>
                      <a:pt x="109" y="405"/>
                    </a:lnTo>
                    <a:lnTo>
                      <a:pt x="111" y="407"/>
                    </a:lnTo>
                    <a:lnTo>
                      <a:pt x="115" y="404"/>
                    </a:lnTo>
                    <a:lnTo>
                      <a:pt x="115" y="403"/>
                    </a:lnTo>
                    <a:lnTo>
                      <a:pt x="113" y="402"/>
                    </a:lnTo>
                    <a:lnTo>
                      <a:pt x="113" y="401"/>
                    </a:lnTo>
                    <a:lnTo>
                      <a:pt x="118" y="403"/>
                    </a:lnTo>
                    <a:lnTo>
                      <a:pt x="124" y="401"/>
                    </a:lnTo>
                    <a:lnTo>
                      <a:pt x="127" y="403"/>
                    </a:lnTo>
                    <a:lnTo>
                      <a:pt x="128" y="405"/>
                    </a:lnTo>
                    <a:lnTo>
                      <a:pt x="129" y="403"/>
                    </a:lnTo>
                    <a:lnTo>
                      <a:pt x="132" y="403"/>
                    </a:lnTo>
                    <a:lnTo>
                      <a:pt x="132" y="401"/>
                    </a:lnTo>
                    <a:lnTo>
                      <a:pt x="134" y="400"/>
                    </a:lnTo>
                    <a:lnTo>
                      <a:pt x="134" y="399"/>
                    </a:lnTo>
                    <a:lnTo>
                      <a:pt x="138" y="399"/>
                    </a:lnTo>
                    <a:lnTo>
                      <a:pt x="140" y="399"/>
                    </a:lnTo>
                    <a:lnTo>
                      <a:pt x="142" y="399"/>
                    </a:lnTo>
                    <a:lnTo>
                      <a:pt x="143" y="399"/>
                    </a:lnTo>
                    <a:lnTo>
                      <a:pt x="143" y="401"/>
                    </a:lnTo>
                    <a:lnTo>
                      <a:pt x="144" y="400"/>
                    </a:lnTo>
                    <a:lnTo>
                      <a:pt x="148" y="401"/>
                    </a:lnTo>
                    <a:lnTo>
                      <a:pt x="148" y="400"/>
                    </a:lnTo>
                    <a:lnTo>
                      <a:pt x="148" y="397"/>
                    </a:lnTo>
                    <a:lnTo>
                      <a:pt x="149" y="397"/>
                    </a:lnTo>
                    <a:lnTo>
                      <a:pt x="148" y="395"/>
                    </a:lnTo>
                    <a:lnTo>
                      <a:pt x="149" y="394"/>
                    </a:lnTo>
                    <a:lnTo>
                      <a:pt x="157" y="394"/>
                    </a:lnTo>
                    <a:lnTo>
                      <a:pt x="159" y="396"/>
                    </a:lnTo>
                    <a:lnTo>
                      <a:pt x="160" y="397"/>
                    </a:lnTo>
                    <a:lnTo>
                      <a:pt x="159" y="395"/>
                    </a:lnTo>
                    <a:lnTo>
                      <a:pt x="159" y="393"/>
                    </a:lnTo>
                    <a:lnTo>
                      <a:pt x="160" y="389"/>
                    </a:lnTo>
                    <a:lnTo>
                      <a:pt x="162" y="389"/>
                    </a:lnTo>
                    <a:lnTo>
                      <a:pt x="160" y="387"/>
                    </a:lnTo>
                    <a:lnTo>
                      <a:pt x="162" y="387"/>
                    </a:lnTo>
                    <a:lnTo>
                      <a:pt x="163" y="389"/>
                    </a:lnTo>
                    <a:lnTo>
                      <a:pt x="165" y="389"/>
                    </a:lnTo>
                    <a:lnTo>
                      <a:pt x="165" y="387"/>
                    </a:lnTo>
                    <a:lnTo>
                      <a:pt x="167" y="389"/>
                    </a:lnTo>
                    <a:lnTo>
                      <a:pt x="168" y="387"/>
                    </a:lnTo>
                    <a:lnTo>
                      <a:pt x="170" y="387"/>
                    </a:lnTo>
                    <a:lnTo>
                      <a:pt x="171" y="386"/>
                    </a:lnTo>
                    <a:lnTo>
                      <a:pt x="175" y="385"/>
                    </a:lnTo>
                    <a:lnTo>
                      <a:pt x="175" y="383"/>
                    </a:lnTo>
                    <a:lnTo>
                      <a:pt x="177" y="383"/>
                    </a:lnTo>
                    <a:lnTo>
                      <a:pt x="179" y="380"/>
                    </a:lnTo>
                    <a:lnTo>
                      <a:pt x="178" y="379"/>
                    </a:lnTo>
                    <a:lnTo>
                      <a:pt x="177" y="379"/>
                    </a:lnTo>
                    <a:lnTo>
                      <a:pt x="180" y="376"/>
                    </a:lnTo>
                    <a:lnTo>
                      <a:pt x="179" y="375"/>
                    </a:lnTo>
                    <a:lnTo>
                      <a:pt x="178" y="375"/>
                    </a:lnTo>
                    <a:lnTo>
                      <a:pt x="178" y="373"/>
                    </a:lnTo>
                    <a:lnTo>
                      <a:pt x="177" y="373"/>
                    </a:lnTo>
                    <a:lnTo>
                      <a:pt x="176" y="370"/>
                    </a:lnTo>
                    <a:lnTo>
                      <a:pt x="170" y="369"/>
                    </a:lnTo>
                    <a:lnTo>
                      <a:pt x="171" y="369"/>
                    </a:lnTo>
                    <a:lnTo>
                      <a:pt x="171" y="367"/>
                    </a:lnTo>
                    <a:lnTo>
                      <a:pt x="176" y="369"/>
                    </a:lnTo>
                    <a:lnTo>
                      <a:pt x="178" y="370"/>
                    </a:lnTo>
                    <a:lnTo>
                      <a:pt x="181" y="369"/>
                    </a:lnTo>
                    <a:lnTo>
                      <a:pt x="188" y="368"/>
                    </a:lnTo>
                    <a:lnTo>
                      <a:pt x="187" y="370"/>
                    </a:lnTo>
                    <a:lnTo>
                      <a:pt x="184" y="373"/>
                    </a:lnTo>
                    <a:lnTo>
                      <a:pt x="183" y="374"/>
                    </a:lnTo>
                    <a:lnTo>
                      <a:pt x="182" y="374"/>
                    </a:lnTo>
                    <a:lnTo>
                      <a:pt x="180" y="375"/>
                    </a:lnTo>
                    <a:lnTo>
                      <a:pt x="182" y="376"/>
                    </a:lnTo>
                    <a:lnTo>
                      <a:pt x="188" y="376"/>
                    </a:lnTo>
                    <a:lnTo>
                      <a:pt x="188" y="377"/>
                    </a:lnTo>
                    <a:lnTo>
                      <a:pt x="191" y="376"/>
                    </a:lnTo>
                    <a:lnTo>
                      <a:pt x="200" y="374"/>
                    </a:lnTo>
                    <a:lnTo>
                      <a:pt x="199" y="373"/>
                    </a:lnTo>
                    <a:lnTo>
                      <a:pt x="201" y="370"/>
                    </a:lnTo>
                    <a:lnTo>
                      <a:pt x="211" y="369"/>
                    </a:lnTo>
                    <a:lnTo>
                      <a:pt x="210" y="367"/>
                    </a:lnTo>
                    <a:lnTo>
                      <a:pt x="208" y="366"/>
                    </a:lnTo>
                    <a:lnTo>
                      <a:pt x="207" y="365"/>
                    </a:lnTo>
                    <a:lnTo>
                      <a:pt x="209" y="365"/>
                    </a:lnTo>
                    <a:lnTo>
                      <a:pt x="210" y="364"/>
                    </a:lnTo>
                    <a:lnTo>
                      <a:pt x="212" y="360"/>
                    </a:lnTo>
                    <a:lnTo>
                      <a:pt x="215" y="361"/>
                    </a:lnTo>
                    <a:lnTo>
                      <a:pt x="218" y="360"/>
                    </a:lnTo>
                    <a:lnTo>
                      <a:pt x="220" y="362"/>
                    </a:lnTo>
                    <a:lnTo>
                      <a:pt x="223" y="362"/>
                    </a:lnTo>
                    <a:lnTo>
                      <a:pt x="223" y="359"/>
                    </a:lnTo>
                    <a:lnTo>
                      <a:pt x="224" y="358"/>
                    </a:lnTo>
                    <a:lnTo>
                      <a:pt x="228" y="358"/>
                    </a:lnTo>
                    <a:lnTo>
                      <a:pt x="234" y="355"/>
                    </a:lnTo>
                    <a:lnTo>
                      <a:pt x="234" y="353"/>
                    </a:lnTo>
                    <a:lnTo>
                      <a:pt x="237" y="350"/>
                    </a:lnTo>
                    <a:lnTo>
                      <a:pt x="233" y="349"/>
                    </a:lnTo>
                    <a:lnTo>
                      <a:pt x="231" y="347"/>
                    </a:lnTo>
                    <a:lnTo>
                      <a:pt x="233" y="346"/>
                    </a:lnTo>
                    <a:lnTo>
                      <a:pt x="236" y="347"/>
                    </a:lnTo>
                    <a:lnTo>
                      <a:pt x="238" y="345"/>
                    </a:lnTo>
                    <a:lnTo>
                      <a:pt x="240" y="345"/>
                    </a:lnTo>
                    <a:lnTo>
                      <a:pt x="246" y="342"/>
                    </a:lnTo>
                    <a:lnTo>
                      <a:pt x="249" y="342"/>
                    </a:lnTo>
                    <a:lnTo>
                      <a:pt x="251" y="341"/>
                    </a:lnTo>
                    <a:lnTo>
                      <a:pt x="256" y="342"/>
                    </a:lnTo>
                    <a:lnTo>
                      <a:pt x="257" y="341"/>
                    </a:lnTo>
                    <a:lnTo>
                      <a:pt x="265" y="342"/>
                    </a:lnTo>
                    <a:lnTo>
                      <a:pt x="268" y="339"/>
                    </a:lnTo>
                    <a:lnTo>
                      <a:pt x="271" y="340"/>
                    </a:lnTo>
                    <a:lnTo>
                      <a:pt x="270" y="338"/>
                    </a:lnTo>
                    <a:lnTo>
                      <a:pt x="271" y="338"/>
                    </a:lnTo>
                    <a:lnTo>
                      <a:pt x="274" y="339"/>
                    </a:lnTo>
                    <a:lnTo>
                      <a:pt x="271" y="342"/>
                    </a:lnTo>
                    <a:lnTo>
                      <a:pt x="279" y="341"/>
                    </a:lnTo>
                    <a:lnTo>
                      <a:pt x="281" y="338"/>
                    </a:lnTo>
                    <a:lnTo>
                      <a:pt x="283" y="336"/>
                    </a:lnTo>
                    <a:lnTo>
                      <a:pt x="281" y="336"/>
                    </a:lnTo>
                    <a:lnTo>
                      <a:pt x="282" y="332"/>
                    </a:lnTo>
                    <a:lnTo>
                      <a:pt x="281" y="330"/>
                    </a:lnTo>
                    <a:lnTo>
                      <a:pt x="280" y="328"/>
                    </a:lnTo>
                    <a:lnTo>
                      <a:pt x="280" y="326"/>
                    </a:lnTo>
                    <a:lnTo>
                      <a:pt x="281" y="326"/>
                    </a:lnTo>
                    <a:lnTo>
                      <a:pt x="282" y="330"/>
                    </a:lnTo>
                    <a:lnTo>
                      <a:pt x="284" y="331"/>
                    </a:lnTo>
                    <a:lnTo>
                      <a:pt x="286" y="334"/>
                    </a:lnTo>
                    <a:lnTo>
                      <a:pt x="286" y="336"/>
                    </a:lnTo>
                    <a:lnTo>
                      <a:pt x="287" y="338"/>
                    </a:lnTo>
                    <a:lnTo>
                      <a:pt x="287" y="339"/>
                    </a:lnTo>
                    <a:lnTo>
                      <a:pt x="284" y="341"/>
                    </a:lnTo>
                    <a:lnTo>
                      <a:pt x="284" y="342"/>
                    </a:lnTo>
                    <a:lnTo>
                      <a:pt x="285" y="343"/>
                    </a:lnTo>
                    <a:lnTo>
                      <a:pt x="286" y="342"/>
                    </a:lnTo>
                    <a:lnTo>
                      <a:pt x="289" y="339"/>
                    </a:lnTo>
                    <a:lnTo>
                      <a:pt x="293" y="337"/>
                    </a:lnTo>
                    <a:lnTo>
                      <a:pt x="293" y="336"/>
                    </a:lnTo>
                    <a:lnTo>
                      <a:pt x="293" y="335"/>
                    </a:lnTo>
                    <a:lnTo>
                      <a:pt x="294" y="334"/>
                    </a:lnTo>
                    <a:lnTo>
                      <a:pt x="294" y="333"/>
                    </a:lnTo>
                    <a:lnTo>
                      <a:pt x="292" y="333"/>
                    </a:lnTo>
                    <a:lnTo>
                      <a:pt x="293" y="332"/>
                    </a:lnTo>
                    <a:lnTo>
                      <a:pt x="293" y="331"/>
                    </a:lnTo>
                    <a:lnTo>
                      <a:pt x="295" y="331"/>
                    </a:lnTo>
                    <a:lnTo>
                      <a:pt x="296" y="330"/>
                    </a:lnTo>
                    <a:lnTo>
                      <a:pt x="297" y="330"/>
                    </a:lnTo>
                    <a:lnTo>
                      <a:pt x="298" y="328"/>
                    </a:lnTo>
                    <a:lnTo>
                      <a:pt x="298" y="330"/>
                    </a:lnTo>
                    <a:lnTo>
                      <a:pt x="296" y="332"/>
                    </a:lnTo>
                    <a:lnTo>
                      <a:pt x="295" y="333"/>
                    </a:lnTo>
                    <a:lnTo>
                      <a:pt x="296" y="334"/>
                    </a:lnTo>
                    <a:lnTo>
                      <a:pt x="303" y="333"/>
                    </a:lnTo>
                    <a:lnTo>
                      <a:pt x="308" y="334"/>
                    </a:lnTo>
                    <a:lnTo>
                      <a:pt x="312" y="338"/>
                    </a:lnTo>
                    <a:lnTo>
                      <a:pt x="315" y="336"/>
                    </a:lnTo>
                    <a:lnTo>
                      <a:pt x="319" y="335"/>
                    </a:lnTo>
                    <a:lnTo>
                      <a:pt x="320" y="334"/>
                    </a:lnTo>
                    <a:lnTo>
                      <a:pt x="323" y="334"/>
                    </a:lnTo>
                    <a:lnTo>
                      <a:pt x="321" y="336"/>
                    </a:lnTo>
                    <a:lnTo>
                      <a:pt x="325" y="335"/>
                    </a:lnTo>
                    <a:lnTo>
                      <a:pt x="327" y="334"/>
                    </a:lnTo>
                    <a:lnTo>
                      <a:pt x="328" y="334"/>
                    </a:lnTo>
                    <a:lnTo>
                      <a:pt x="326" y="336"/>
                    </a:lnTo>
                    <a:lnTo>
                      <a:pt x="330" y="336"/>
                    </a:lnTo>
                    <a:lnTo>
                      <a:pt x="331" y="333"/>
                    </a:lnTo>
                    <a:lnTo>
                      <a:pt x="332" y="332"/>
                    </a:lnTo>
                    <a:lnTo>
                      <a:pt x="333" y="330"/>
                    </a:lnTo>
                    <a:lnTo>
                      <a:pt x="328" y="327"/>
                    </a:lnTo>
                    <a:lnTo>
                      <a:pt x="327" y="325"/>
                    </a:lnTo>
                    <a:lnTo>
                      <a:pt x="328" y="321"/>
                    </a:lnTo>
                    <a:lnTo>
                      <a:pt x="327" y="324"/>
                    </a:lnTo>
                    <a:lnTo>
                      <a:pt x="326" y="324"/>
                    </a:lnTo>
                    <a:lnTo>
                      <a:pt x="323" y="322"/>
                    </a:lnTo>
                    <a:lnTo>
                      <a:pt x="323" y="319"/>
                    </a:lnTo>
                    <a:lnTo>
                      <a:pt x="324" y="318"/>
                    </a:lnTo>
                    <a:lnTo>
                      <a:pt x="325" y="318"/>
                    </a:lnTo>
                    <a:lnTo>
                      <a:pt x="328" y="318"/>
                    </a:lnTo>
                    <a:lnTo>
                      <a:pt x="329" y="320"/>
                    </a:lnTo>
                    <a:lnTo>
                      <a:pt x="329" y="317"/>
                    </a:lnTo>
                    <a:lnTo>
                      <a:pt x="330" y="312"/>
                    </a:lnTo>
                    <a:lnTo>
                      <a:pt x="342" y="298"/>
                    </a:lnTo>
                    <a:lnTo>
                      <a:pt x="342" y="294"/>
                    </a:lnTo>
                    <a:lnTo>
                      <a:pt x="340" y="289"/>
                    </a:lnTo>
                    <a:lnTo>
                      <a:pt x="341" y="286"/>
                    </a:lnTo>
                    <a:lnTo>
                      <a:pt x="343" y="282"/>
                    </a:lnTo>
                    <a:lnTo>
                      <a:pt x="346" y="279"/>
                    </a:lnTo>
                    <a:lnTo>
                      <a:pt x="347" y="276"/>
                    </a:lnTo>
                    <a:lnTo>
                      <a:pt x="346" y="273"/>
                    </a:lnTo>
                    <a:lnTo>
                      <a:pt x="348" y="268"/>
                    </a:lnTo>
                    <a:lnTo>
                      <a:pt x="352" y="265"/>
                    </a:lnTo>
                    <a:lnTo>
                      <a:pt x="354" y="261"/>
                    </a:lnTo>
                    <a:lnTo>
                      <a:pt x="358" y="254"/>
                    </a:lnTo>
                    <a:lnTo>
                      <a:pt x="358" y="253"/>
                    </a:lnTo>
                    <a:close/>
                    <a:moveTo>
                      <a:pt x="62" y="394"/>
                    </a:moveTo>
                    <a:lnTo>
                      <a:pt x="60" y="395"/>
                    </a:lnTo>
                    <a:lnTo>
                      <a:pt x="58" y="396"/>
                    </a:lnTo>
                    <a:lnTo>
                      <a:pt x="52" y="397"/>
                    </a:lnTo>
                    <a:lnTo>
                      <a:pt x="52" y="396"/>
                    </a:lnTo>
                    <a:lnTo>
                      <a:pt x="52" y="395"/>
                    </a:lnTo>
                    <a:lnTo>
                      <a:pt x="55" y="394"/>
                    </a:lnTo>
                    <a:lnTo>
                      <a:pt x="58" y="394"/>
                    </a:lnTo>
                    <a:lnTo>
                      <a:pt x="60" y="395"/>
                    </a:lnTo>
                    <a:lnTo>
                      <a:pt x="62" y="393"/>
                    </a:lnTo>
                    <a:lnTo>
                      <a:pt x="62" y="394"/>
                    </a:lnTo>
                    <a:close/>
                    <a:moveTo>
                      <a:pt x="33" y="398"/>
                    </a:moveTo>
                    <a:lnTo>
                      <a:pt x="29" y="400"/>
                    </a:lnTo>
                    <a:lnTo>
                      <a:pt x="27" y="400"/>
                    </a:lnTo>
                    <a:lnTo>
                      <a:pt x="31" y="397"/>
                    </a:lnTo>
                    <a:lnTo>
                      <a:pt x="33" y="397"/>
                    </a:lnTo>
                    <a:lnTo>
                      <a:pt x="33" y="398"/>
                    </a:lnTo>
                    <a:close/>
                    <a:moveTo>
                      <a:pt x="22" y="364"/>
                    </a:moveTo>
                    <a:lnTo>
                      <a:pt x="18" y="367"/>
                    </a:lnTo>
                    <a:lnTo>
                      <a:pt x="12" y="368"/>
                    </a:lnTo>
                    <a:lnTo>
                      <a:pt x="14" y="366"/>
                    </a:lnTo>
                    <a:lnTo>
                      <a:pt x="17" y="364"/>
                    </a:lnTo>
                    <a:lnTo>
                      <a:pt x="18" y="363"/>
                    </a:lnTo>
                    <a:lnTo>
                      <a:pt x="19" y="363"/>
                    </a:lnTo>
                    <a:lnTo>
                      <a:pt x="21" y="364"/>
                    </a:lnTo>
                    <a:lnTo>
                      <a:pt x="22" y="363"/>
                    </a:lnTo>
                    <a:lnTo>
                      <a:pt x="22" y="364"/>
                    </a:lnTo>
                    <a:close/>
                    <a:moveTo>
                      <a:pt x="164" y="40"/>
                    </a:moveTo>
                    <a:lnTo>
                      <a:pt x="164" y="43"/>
                    </a:lnTo>
                    <a:lnTo>
                      <a:pt x="162" y="43"/>
                    </a:lnTo>
                    <a:lnTo>
                      <a:pt x="158" y="42"/>
                    </a:lnTo>
                    <a:lnTo>
                      <a:pt x="159" y="40"/>
                    </a:lnTo>
                    <a:lnTo>
                      <a:pt x="159" y="38"/>
                    </a:lnTo>
                    <a:lnTo>
                      <a:pt x="159" y="37"/>
                    </a:lnTo>
                    <a:lnTo>
                      <a:pt x="164" y="39"/>
                    </a:lnTo>
                    <a:lnTo>
                      <a:pt x="164" y="40"/>
                    </a:lnTo>
                    <a:close/>
                    <a:moveTo>
                      <a:pt x="49" y="144"/>
                    </a:moveTo>
                    <a:lnTo>
                      <a:pt x="50" y="146"/>
                    </a:lnTo>
                    <a:lnTo>
                      <a:pt x="49" y="146"/>
                    </a:lnTo>
                    <a:lnTo>
                      <a:pt x="49" y="147"/>
                    </a:lnTo>
                    <a:lnTo>
                      <a:pt x="49" y="150"/>
                    </a:lnTo>
                    <a:lnTo>
                      <a:pt x="49" y="149"/>
                    </a:lnTo>
                    <a:lnTo>
                      <a:pt x="51" y="150"/>
                    </a:lnTo>
                    <a:lnTo>
                      <a:pt x="50" y="152"/>
                    </a:lnTo>
                    <a:lnTo>
                      <a:pt x="51" y="152"/>
                    </a:lnTo>
                    <a:lnTo>
                      <a:pt x="50" y="154"/>
                    </a:lnTo>
                    <a:lnTo>
                      <a:pt x="50" y="157"/>
                    </a:lnTo>
                    <a:lnTo>
                      <a:pt x="49" y="158"/>
                    </a:lnTo>
                    <a:lnTo>
                      <a:pt x="46" y="157"/>
                    </a:lnTo>
                    <a:lnTo>
                      <a:pt x="46" y="156"/>
                    </a:lnTo>
                    <a:lnTo>
                      <a:pt x="43" y="154"/>
                    </a:lnTo>
                    <a:lnTo>
                      <a:pt x="41" y="154"/>
                    </a:lnTo>
                    <a:lnTo>
                      <a:pt x="41" y="152"/>
                    </a:lnTo>
                    <a:lnTo>
                      <a:pt x="41" y="150"/>
                    </a:lnTo>
                    <a:lnTo>
                      <a:pt x="40" y="148"/>
                    </a:lnTo>
                    <a:lnTo>
                      <a:pt x="31" y="149"/>
                    </a:lnTo>
                    <a:lnTo>
                      <a:pt x="27" y="148"/>
                    </a:lnTo>
                    <a:lnTo>
                      <a:pt x="25" y="148"/>
                    </a:lnTo>
                    <a:lnTo>
                      <a:pt x="25" y="147"/>
                    </a:lnTo>
                    <a:lnTo>
                      <a:pt x="29" y="146"/>
                    </a:lnTo>
                    <a:lnTo>
                      <a:pt x="30" y="145"/>
                    </a:lnTo>
                    <a:lnTo>
                      <a:pt x="30" y="144"/>
                    </a:lnTo>
                    <a:lnTo>
                      <a:pt x="31" y="144"/>
                    </a:lnTo>
                    <a:lnTo>
                      <a:pt x="38" y="145"/>
                    </a:lnTo>
                    <a:lnTo>
                      <a:pt x="38" y="144"/>
                    </a:lnTo>
                    <a:lnTo>
                      <a:pt x="40" y="142"/>
                    </a:lnTo>
                    <a:lnTo>
                      <a:pt x="42" y="142"/>
                    </a:lnTo>
                    <a:lnTo>
                      <a:pt x="43" y="144"/>
                    </a:lnTo>
                    <a:lnTo>
                      <a:pt x="46" y="144"/>
                    </a:lnTo>
                    <a:lnTo>
                      <a:pt x="47" y="142"/>
                    </a:lnTo>
                    <a:lnTo>
                      <a:pt x="49" y="142"/>
                    </a:lnTo>
                    <a:lnTo>
                      <a:pt x="49" y="144"/>
                    </a:lnTo>
                    <a:close/>
                    <a:moveTo>
                      <a:pt x="80" y="241"/>
                    </a:moveTo>
                    <a:lnTo>
                      <a:pt x="80" y="241"/>
                    </a:lnTo>
                    <a:lnTo>
                      <a:pt x="78" y="243"/>
                    </a:lnTo>
                    <a:lnTo>
                      <a:pt x="76" y="243"/>
                    </a:lnTo>
                    <a:lnTo>
                      <a:pt x="77" y="241"/>
                    </a:lnTo>
                    <a:lnTo>
                      <a:pt x="79" y="240"/>
                    </a:lnTo>
                    <a:lnTo>
                      <a:pt x="80" y="241"/>
                    </a:lnTo>
                    <a:close/>
                    <a:moveTo>
                      <a:pt x="6" y="345"/>
                    </a:moveTo>
                    <a:lnTo>
                      <a:pt x="5" y="346"/>
                    </a:lnTo>
                    <a:lnTo>
                      <a:pt x="1" y="348"/>
                    </a:lnTo>
                    <a:lnTo>
                      <a:pt x="0" y="348"/>
                    </a:lnTo>
                    <a:lnTo>
                      <a:pt x="4" y="346"/>
                    </a:lnTo>
                    <a:lnTo>
                      <a:pt x="5" y="344"/>
                    </a:lnTo>
                    <a:lnTo>
                      <a:pt x="6" y="344"/>
                    </a:lnTo>
                    <a:lnTo>
                      <a:pt x="6" y="345"/>
                    </a:lnTo>
                    <a:close/>
                    <a:moveTo>
                      <a:pt x="84" y="245"/>
                    </a:moveTo>
                    <a:lnTo>
                      <a:pt x="83" y="246"/>
                    </a:lnTo>
                    <a:lnTo>
                      <a:pt x="80" y="245"/>
                    </a:lnTo>
                    <a:lnTo>
                      <a:pt x="82" y="243"/>
                    </a:lnTo>
                    <a:lnTo>
                      <a:pt x="84" y="244"/>
                    </a:lnTo>
                    <a:lnTo>
                      <a:pt x="84" y="245"/>
                    </a:lnTo>
                    <a:close/>
                    <a:moveTo>
                      <a:pt x="75" y="239"/>
                    </a:moveTo>
                    <a:lnTo>
                      <a:pt x="74" y="241"/>
                    </a:lnTo>
                    <a:lnTo>
                      <a:pt x="73" y="241"/>
                    </a:lnTo>
                    <a:lnTo>
                      <a:pt x="65" y="237"/>
                    </a:lnTo>
                    <a:lnTo>
                      <a:pt x="58" y="235"/>
                    </a:lnTo>
                    <a:lnTo>
                      <a:pt x="60" y="234"/>
                    </a:lnTo>
                    <a:lnTo>
                      <a:pt x="62" y="235"/>
                    </a:lnTo>
                    <a:lnTo>
                      <a:pt x="64" y="235"/>
                    </a:lnTo>
                    <a:lnTo>
                      <a:pt x="66" y="237"/>
                    </a:lnTo>
                    <a:lnTo>
                      <a:pt x="68" y="235"/>
                    </a:lnTo>
                    <a:lnTo>
                      <a:pt x="71" y="237"/>
                    </a:lnTo>
                    <a:lnTo>
                      <a:pt x="72" y="239"/>
                    </a:lnTo>
                    <a:lnTo>
                      <a:pt x="75" y="238"/>
                    </a:lnTo>
                    <a:lnTo>
                      <a:pt x="75" y="239"/>
                    </a:lnTo>
                    <a:close/>
                    <a:moveTo>
                      <a:pt x="73" y="222"/>
                    </a:moveTo>
                    <a:lnTo>
                      <a:pt x="74" y="224"/>
                    </a:lnTo>
                    <a:lnTo>
                      <a:pt x="72" y="227"/>
                    </a:lnTo>
                    <a:lnTo>
                      <a:pt x="68" y="226"/>
                    </a:lnTo>
                    <a:lnTo>
                      <a:pt x="68" y="224"/>
                    </a:lnTo>
                    <a:lnTo>
                      <a:pt x="68" y="223"/>
                    </a:lnTo>
                    <a:lnTo>
                      <a:pt x="72" y="221"/>
                    </a:lnTo>
                    <a:lnTo>
                      <a:pt x="73" y="221"/>
                    </a:lnTo>
                    <a:lnTo>
                      <a:pt x="73" y="222"/>
                    </a:lnTo>
                    <a:close/>
                    <a:moveTo>
                      <a:pt x="31" y="183"/>
                    </a:moveTo>
                    <a:lnTo>
                      <a:pt x="31" y="184"/>
                    </a:lnTo>
                    <a:lnTo>
                      <a:pt x="32" y="185"/>
                    </a:lnTo>
                    <a:lnTo>
                      <a:pt x="30" y="186"/>
                    </a:lnTo>
                    <a:lnTo>
                      <a:pt x="27" y="186"/>
                    </a:lnTo>
                    <a:lnTo>
                      <a:pt x="25" y="185"/>
                    </a:lnTo>
                    <a:lnTo>
                      <a:pt x="26" y="184"/>
                    </a:lnTo>
                    <a:lnTo>
                      <a:pt x="30" y="183"/>
                    </a:lnTo>
                    <a:lnTo>
                      <a:pt x="31" y="183"/>
                    </a:lnTo>
                    <a:close/>
                    <a:moveTo>
                      <a:pt x="49" y="166"/>
                    </a:moveTo>
                    <a:lnTo>
                      <a:pt x="47" y="167"/>
                    </a:lnTo>
                    <a:lnTo>
                      <a:pt x="41" y="167"/>
                    </a:lnTo>
                    <a:lnTo>
                      <a:pt x="42" y="166"/>
                    </a:lnTo>
                    <a:lnTo>
                      <a:pt x="46" y="163"/>
                    </a:lnTo>
                    <a:lnTo>
                      <a:pt x="49" y="165"/>
                    </a:lnTo>
                    <a:lnTo>
                      <a:pt x="49" y="166"/>
                    </a:lnTo>
                    <a:close/>
                  </a:path>
                </a:pathLst>
              </a:custGeom>
              <a:solidFill>
                <a:schemeClr val="tx1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69" name="Luxembourg">
                <a:extLst>
                  <a:ext uri="{FF2B5EF4-FFF2-40B4-BE49-F238E27FC236}">
                    <a16:creationId xmlns:a16="http://schemas.microsoft.com/office/drawing/2014/main" id="{81674967-ADD0-44CA-9B57-8DEBD553D60B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339628" y="3529451"/>
                <a:ext cx="70644" cy="100017"/>
              </a:xfrm>
              <a:custGeom>
                <a:avLst/>
                <a:gdLst>
                  <a:gd name="T0" fmla="*/ 60 w 62"/>
                  <a:gd name="T1" fmla="*/ 50 h 78"/>
                  <a:gd name="T2" fmla="*/ 55 w 62"/>
                  <a:gd name="T3" fmla="*/ 56 h 78"/>
                  <a:gd name="T4" fmla="*/ 52 w 62"/>
                  <a:gd name="T5" fmla="*/ 62 h 78"/>
                  <a:gd name="T6" fmla="*/ 51 w 62"/>
                  <a:gd name="T7" fmla="*/ 64 h 78"/>
                  <a:gd name="T8" fmla="*/ 51 w 62"/>
                  <a:gd name="T9" fmla="*/ 66 h 78"/>
                  <a:gd name="T10" fmla="*/ 49 w 62"/>
                  <a:gd name="T11" fmla="*/ 77 h 78"/>
                  <a:gd name="T12" fmla="*/ 44 w 62"/>
                  <a:gd name="T13" fmla="*/ 73 h 78"/>
                  <a:gd name="T14" fmla="*/ 33 w 62"/>
                  <a:gd name="T15" fmla="*/ 72 h 78"/>
                  <a:gd name="T16" fmla="*/ 31 w 62"/>
                  <a:gd name="T17" fmla="*/ 73 h 78"/>
                  <a:gd name="T18" fmla="*/ 29 w 62"/>
                  <a:gd name="T19" fmla="*/ 76 h 78"/>
                  <a:gd name="T20" fmla="*/ 26 w 62"/>
                  <a:gd name="T21" fmla="*/ 76 h 78"/>
                  <a:gd name="T22" fmla="*/ 21 w 62"/>
                  <a:gd name="T23" fmla="*/ 77 h 78"/>
                  <a:gd name="T24" fmla="*/ 20 w 62"/>
                  <a:gd name="T25" fmla="*/ 77 h 78"/>
                  <a:gd name="T26" fmla="*/ 15 w 62"/>
                  <a:gd name="T27" fmla="*/ 72 h 78"/>
                  <a:gd name="T28" fmla="*/ 8 w 62"/>
                  <a:gd name="T29" fmla="*/ 70 h 78"/>
                  <a:gd name="T30" fmla="*/ 8 w 62"/>
                  <a:gd name="T31" fmla="*/ 68 h 78"/>
                  <a:gd name="T32" fmla="*/ 6 w 62"/>
                  <a:gd name="T33" fmla="*/ 67 h 78"/>
                  <a:gd name="T34" fmla="*/ 10 w 62"/>
                  <a:gd name="T35" fmla="*/ 64 h 78"/>
                  <a:gd name="T36" fmla="*/ 9 w 62"/>
                  <a:gd name="T37" fmla="*/ 62 h 78"/>
                  <a:gd name="T38" fmla="*/ 11 w 62"/>
                  <a:gd name="T39" fmla="*/ 59 h 78"/>
                  <a:gd name="T40" fmla="*/ 13 w 62"/>
                  <a:gd name="T41" fmla="*/ 55 h 78"/>
                  <a:gd name="T42" fmla="*/ 11 w 62"/>
                  <a:gd name="T43" fmla="*/ 50 h 78"/>
                  <a:gd name="T44" fmla="*/ 7 w 62"/>
                  <a:gd name="T45" fmla="*/ 48 h 78"/>
                  <a:gd name="T46" fmla="*/ 5 w 62"/>
                  <a:gd name="T47" fmla="*/ 43 h 78"/>
                  <a:gd name="T48" fmla="*/ 3 w 62"/>
                  <a:gd name="T49" fmla="*/ 42 h 78"/>
                  <a:gd name="T50" fmla="*/ 0 w 62"/>
                  <a:gd name="T51" fmla="*/ 37 h 78"/>
                  <a:gd name="T52" fmla="*/ 1 w 62"/>
                  <a:gd name="T53" fmla="*/ 35 h 78"/>
                  <a:gd name="T54" fmla="*/ 2 w 62"/>
                  <a:gd name="T55" fmla="*/ 34 h 78"/>
                  <a:gd name="T56" fmla="*/ 3 w 62"/>
                  <a:gd name="T57" fmla="*/ 32 h 78"/>
                  <a:gd name="T58" fmla="*/ 0 w 62"/>
                  <a:gd name="T59" fmla="*/ 30 h 78"/>
                  <a:gd name="T60" fmla="*/ 3 w 62"/>
                  <a:gd name="T61" fmla="*/ 24 h 78"/>
                  <a:gd name="T62" fmla="*/ 6 w 62"/>
                  <a:gd name="T63" fmla="*/ 23 h 78"/>
                  <a:gd name="T64" fmla="*/ 8 w 62"/>
                  <a:gd name="T65" fmla="*/ 22 h 78"/>
                  <a:gd name="T66" fmla="*/ 10 w 62"/>
                  <a:gd name="T67" fmla="*/ 17 h 78"/>
                  <a:gd name="T68" fmla="*/ 10 w 62"/>
                  <a:gd name="T69" fmla="*/ 13 h 78"/>
                  <a:gd name="T70" fmla="*/ 13 w 62"/>
                  <a:gd name="T71" fmla="*/ 8 h 78"/>
                  <a:gd name="T72" fmla="*/ 19 w 62"/>
                  <a:gd name="T73" fmla="*/ 2 h 78"/>
                  <a:gd name="T74" fmla="*/ 24 w 62"/>
                  <a:gd name="T75" fmla="*/ 2 h 78"/>
                  <a:gd name="T76" fmla="*/ 27 w 62"/>
                  <a:gd name="T77" fmla="*/ 3 h 78"/>
                  <a:gd name="T78" fmla="*/ 29 w 62"/>
                  <a:gd name="T79" fmla="*/ 2 h 78"/>
                  <a:gd name="T80" fmla="*/ 30 w 62"/>
                  <a:gd name="T81" fmla="*/ 5 h 78"/>
                  <a:gd name="T82" fmla="*/ 31 w 62"/>
                  <a:gd name="T83" fmla="*/ 10 h 78"/>
                  <a:gd name="T84" fmla="*/ 30 w 62"/>
                  <a:gd name="T85" fmla="*/ 12 h 78"/>
                  <a:gd name="T86" fmla="*/ 30 w 62"/>
                  <a:gd name="T87" fmla="*/ 14 h 78"/>
                  <a:gd name="T88" fmla="*/ 31 w 62"/>
                  <a:gd name="T89" fmla="*/ 17 h 78"/>
                  <a:gd name="T90" fmla="*/ 31 w 62"/>
                  <a:gd name="T91" fmla="*/ 17 h 78"/>
                  <a:gd name="T92" fmla="*/ 32 w 62"/>
                  <a:gd name="T93" fmla="*/ 20 h 78"/>
                  <a:gd name="T94" fmla="*/ 34 w 62"/>
                  <a:gd name="T95" fmla="*/ 22 h 78"/>
                  <a:gd name="T96" fmla="*/ 35 w 62"/>
                  <a:gd name="T97" fmla="*/ 24 h 78"/>
                  <a:gd name="T98" fmla="*/ 36 w 62"/>
                  <a:gd name="T99" fmla="*/ 23 h 78"/>
                  <a:gd name="T100" fmla="*/ 38 w 62"/>
                  <a:gd name="T101" fmla="*/ 25 h 78"/>
                  <a:gd name="T102" fmla="*/ 41 w 62"/>
                  <a:gd name="T103" fmla="*/ 32 h 78"/>
                  <a:gd name="T104" fmla="*/ 46 w 62"/>
                  <a:gd name="T105" fmla="*/ 35 h 78"/>
                  <a:gd name="T106" fmla="*/ 48 w 62"/>
                  <a:gd name="T107" fmla="*/ 35 h 78"/>
                  <a:gd name="T108" fmla="*/ 52 w 62"/>
                  <a:gd name="T109" fmla="*/ 39 h 78"/>
                  <a:gd name="T110" fmla="*/ 57 w 62"/>
                  <a:gd name="T111" fmla="*/ 39 h 78"/>
                  <a:gd name="T112" fmla="*/ 61 w 62"/>
                  <a:gd name="T113" fmla="*/ 40 h 78"/>
                  <a:gd name="T114" fmla="*/ 62 w 62"/>
                  <a:gd name="T115" fmla="*/ 41 h 78"/>
                  <a:gd name="T116" fmla="*/ 61 w 62"/>
                  <a:gd name="T117" fmla="*/ 45 h 78"/>
                  <a:gd name="T118" fmla="*/ 60 w 62"/>
                  <a:gd name="T119" fmla="*/ 48 h 78"/>
                  <a:gd name="T120" fmla="*/ 60 w 62"/>
                  <a:gd name="T121" fmla="*/ 48 h 78"/>
                  <a:gd name="T122" fmla="*/ 61 w 62"/>
                  <a:gd name="T123" fmla="*/ 50 h 7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62"/>
                  <a:gd name="T187" fmla="*/ 0 h 78"/>
                  <a:gd name="T188" fmla="*/ 62 w 62"/>
                  <a:gd name="T189" fmla="*/ 78 h 7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62" h="78">
                    <a:moveTo>
                      <a:pt x="61" y="50"/>
                    </a:moveTo>
                    <a:lnTo>
                      <a:pt x="60" y="50"/>
                    </a:lnTo>
                    <a:lnTo>
                      <a:pt x="54" y="54"/>
                    </a:lnTo>
                    <a:lnTo>
                      <a:pt x="55" y="56"/>
                    </a:lnTo>
                    <a:lnTo>
                      <a:pt x="55" y="57"/>
                    </a:lnTo>
                    <a:lnTo>
                      <a:pt x="52" y="62"/>
                    </a:lnTo>
                    <a:lnTo>
                      <a:pt x="50" y="62"/>
                    </a:lnTo>
                    <a:lnTo>
                      <a:pt x="51" y="64"/>
                    </a:lnTo>
                    <a:lnTo>
                      <a:pt x="49" y="64"/>
                    </a:lnTo>
                    <a:lnTo>
                      <a:pt x="51" y="66"/>
                    </a:lnTo>
                    <a:lnTo>
                      <a:pt x="49" y="69"/>
                    </a:lnTo>
                    <a:lnTo>
                      <a:pt x="49" y="77"/>
                    </a:lnTo>
                    <a:lnTo>
                      <a:pt x="45" y="74"/>
                    </a:lnTo>
                    <a:lnTo>
                      <a:pt x="44" y="73"/>
                    </a:lnTo>
                    <a:lnTo>
                      <a:pt x="39" y="71"/>
                    </a:lnTo>
                    <a:lnTo>
                      <a:pt x="33" y="72"/>
                    </a:lnTo>
                    <a:lnTo>
                      <a:pt x="34" y="73"/>
                    </a:lnTo>
                    <a:lnTo>
                      <a:pt x="31" y="73"/>
                    </a:lnTo>
                    <a:lnTo>
                      <a:pt x="31" y="75"/>
                    </a:lnTo>
                    <a:lnTo>
                      <a:pt x="29" y="76"/>
                    </a:lnTo>
                    <a:lnTo>
                      <a:pt x="28" y="77"/>
                    </a:lnTo>
                    <a:lnTo>
                      <a:pt x="26" y="76"/>
                    </a:lnTo>
                    <a:lnTo>
                      <a:pt x="24" y="78"/>
                    </a:lnTo>
                    <a:lnTo>
                      <a:pt x="21" y="77"/>
                    </a:lnTo>
                    <a:lnTo>
                      <a:pt x="19" y="78"/>
                    </a:lnTo>
                    <a:lnTo>
                      <a:pt x="20" y="77"/>
                    </a:lnTo>
                    <a:lnTo>
                      <a:pt x="18" y="73"/>
                    </a:lnTo>
                    <a:lnTo>
                      <a:pt x="15" y="72"/>
                    </a:lnTo>
                    <a:lnTo>
                      <a:pt x="10" y="72"/>
                    </a:lnTo>
                    <a:lnTo>
                      <a:pt x="8" y="70"/>
                    </a:lnTo>
                    <a:lnTo>
                      <a:pt x="8" y="69"/>
                    </a:lnTo>
                    <a:lnTo>
                      <a:pt x="8" y="68"/>
                    </a:lnTo>
                    <a:lnTo>
                      <a:pt x="6" y="68"/>
                    </a:lnTo>
                    <a:lnTo>
                      <a:pt x="6" y="67"/>
                    </a:lnTo>
                    <a:lnTo>
                      <a:pt x="8" y="67"/>
                    </a:lnTo>
                    <a:lnTo>
                      <a:pt x="10" y="64"/>
                    </a:lnTo>
                    <a:lnTo>
                      <a:pt x="11" y="63"/>
                    </a:lnTo>
                    <a:lnTo>
                      <a:pt x="9" y="62"/>
                    </a:lnTo>
                    <a:lnTo>
                      <a:pt x="11" y="61"/>
                    </a:lnTo>
                    <a:lnTo>
                      <a:pt x="11" y="59"/>
                    </a:lnTo>
                    <a:lnTo>
                      <a:pt x="13" y="58"/>
                    </a:lnTo>
                    <a:lnTo>
                      <a:pt x="13" y="55"/>
                    </a:lnTo>
                    <a:lnTo>
                      <a:pt x="10" y="54"/>
                    </a:lnTo>
                    <a:lnTo>
                      <a:pt x="11" y="50"/>
                    </a:lnTo>
                    <a:lnTo>
                      <a:pt x="11" y="49"/>
                    </a:lnTo>
                    <a:lnTo>
                      <a:pt x="7" y="48"/>
                    </a:lnTo>
                    <a:lnTo>
                      <a:pt x="7" y="46"/>
                    </a:lnTo>
                    <a:lnTo>
                      <a:pt x="5" y="43"/>
                    </a:lnTo>
                    <a:lnTo>
                      <a:pt x="5" y="41"/>
                    </a:lnTo>
                    <a:lnTo>
                      <a:pt x="3" y="42"/>
                    </a:lnTo>
                    <a:lnTo>
                      <a:pt x="2" y="41"/>
                    </a:lnTo>
                    <a:lnTo>
                      <a:pt x="0" y="37"/>
                    </a:lnTo>
                    <a:lnTo>
                      <a:pt x="2" y="35"/>
                    </a:lnTo>
                    <a:lnTo>
                      <a:pt x="1" y="35"/>
                    </a:lnTo>
                    <a:lnTo>
                      <a:pt x="2" y="35"/>
                    </a:lnTo>
                    <a:lnTo>
                      <a:pt x="2" y="34"/>
                    </a:lnTo>
                    <a:lnTo>
                      <a:pt x="3" y="34"/>
                    </a:lnTo>
                    <a:lnTo>
                      <a:pt x="3" y="32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3" y="26"/>
                    </a:lnTo>
                    <a:lnTo>
                      <a:pt x="3" y="24"/>
                    </a:lnTo>
                    <a:lnTo>
                      <a:pt x="5" y="23"/>
                    </a:lnTo>
                    <a:lnTo>
                      <a:pt x="6" y="23"/>
                    </a:lnTo>
                    <a:lnTo>
                      <a:pt x="8" y="22"/>
                    </a:lnTo>
                    <a:lnTo>
                      <a:pt x="7" y="19"/>
                    </a:lnTo>
                    <a:lnTo>
                      <a:pt x="10" y="17"/>
                    </a:lnTo>
                    <a:lnTo>
                      <a:pt x="10" y="15"/>
                    </a:lnTo>
                    <a:lnTo>
                      <a:pt x="10" y="13"/>
                    </a:lnTo>
                    <a:lnTo>
                      <a:pt x="12" y="11"/>
                    </a:lnTo>
                    <a:lnTo>
                      <a:pt x="13" y="8"/>
                    </a:lnTo>
                    <a:lnTo>
                      <a:pt x="17" y="6"/>
                    </a:lnTo>
                    <a:lnTo>
                      <a:pt x="19" y="2"/>
                    </a:lnTo>
                    <a:lnTo>
                      <a:pt x="23" y="0"/>
                    </a:lnTo>
                    <a:lnTo>
                      <a:pt x="24" y="2"/>
                    </a:lnTo>
                    <a:lnTo>
                      <a:pt x="26" y="3"/>
                    </a:lnTo>
                    <a:lnTo>
                      <a:pt x="27" y="3"/>
                    </a:lnTo>
                    <a:lnTo>
                      <a:pt x="28" y="2"/>
                    </a:lnTo>
                    <a:lnTo>
                      <a:pt x="29" y="2"/>
                    </a:lnTo>
                    <a:lnTo>
                      <a:pt x="30" y="2"/>
                    </a:lnTo>
                    <a:lnTo>
                      <a:pt x="30" y="5"/>
                    </a:lnTo>
                    <a:lnTo>
                      <a:pt x="32" y="6"/>
                    </a:lnTo>
                    <a:lnTo>
                      <a:pt x="31" y="10"/>
                    </a:lnTo>
                    <a:lnTo>
                      <a:pt x="30" y="10"/>
                    </a:lnTo>
                    <a:lnTo>
                      <a:pt x="30" y="12"/>
                    </a:lnTo>
                    <a:lnTo>
                      <a:pt x="31" y="12"/>
                    </a:lnTo>
                    <a:lnTo>
                      <a:pt x="30" y="14"/>
                    </a:lnTo>
                    <a:lnTo>
                      <a:pt x="31" y="14"/>
                    </a:lnTo>
                    <a:lnTo>
                      <a:pt x="31" y="17"/>
                    </a:lnTo>
                    <a:lnTo>
                      <a:pt x="32" y="17"/>
                    </a:lnTo>
                    <a:lnTo>
                      <a:pt x="31" y="17"/>
                    </a:lnTo>
                    <a:lnTo>
                      <a:pt x="32" y="19"/>
                    </a:lnTo>
                    <a:lnTo>
                      <a:pt x="32" y="20"/>
                    </a:lnTo>
                    <a:lnTo>
                      <a:pt x="34" y="22"/>
                    </a:lnTo>
                    <a:lnTo>
                      <a:pt x="35" y="24"/>
                    </a:lnTo>
                    <a:lnTo>
                      <a:pt x="35" y="23"/>
                    </a:lnTo>
                    <a:lnTo>
                      <a:pt x="36" y="23"/>
                    </a:lnTo>
                    <a:lnTo>
                      <a:pt x="36" y="24"/>
                    </a:lnTo>
                    <a:lnTo>
                      <a:pt x="38" y="25"/>
                    </a:lnTo>
                    <a:lnTo>
                      <a:pt x="40" y="30"/>
                    </a:lnTo>
                    <a:lnTo>
                      <a:pt x="41" y="32"/>
                    </a:lnTo>
                    <a:lnTo>
                      <a:pt x="45" y="34"/>
                    </a:lnTo>
                    <a:lnTo>
                      <a:pt x="46" y="35"/>
                    </a:lnTo>
                    <a:lnTo>
                      <a:pt x="46" y="36"/>
                    </a:lnTo>
                    <a:lnTo>
                      <a:pt x="48" y="35"/>
                    </a:lnTo>
                    <a:lnTo>
                      <a:pt x="49" y="35"/>
                    </a:lnTo>
                    <a:lnTo>
                      <a:pt x="52" y="39"/>
                    </a:lnTo>
                    <a:lnTo>
                      <a:pt x="55" y="40"/>
                    </a:lnTo>
                    <a:lnTo>
                      <a:pt x="57" y="39"/>
                    </a:lnTo>
                    <a:lnTo>
                      <a:pt x="57" y="38"/>
                    </a:lnTo>
                    <a:lnTo>
                      <a:pt x="61" y="40"/>
                    </a:lnTo>
                    <a:lnTo>
                      <a:pt x="62" y="40"/>
                    </a:lnTo>
                    <a:lnTo>
                      <a:pt x="62" y="41"/>
                    </a:lnTo>
                    <a:lnTo>
                      <a:pt x="61" y="42"/>
                    </a:lnTo>
                    <a:lnTo>
                      <a:pt x="61" y="45"/>
                    </a:lnTo>
                    <a:lnTo>
                      <a:pt x="60" y="46"/>
                    </a:lnTo>
                    <a:lnTo>
                      <a:pt x="60" y="48"/>
                    </a:lnTo>
                    <a:lnTo>
                      <a:pt x="61" y="49"/>
                    </a:lnTo>
                    <a:lnTo>
                      <a:pt x="60" y="48"/>
                    </a:lnTo>
                    <a:lnTo>
                      <a:pt x="60" y="49"/>
                    </a:lnTo>
                    <a:lnTo>
                      <a:pt x="61" y="50"/>
                    </a:lnTo>
                    <a:close/>
                  </a:path>
                </a:pathLst>
              </a:custGeom>
              <a:solidFill>
                <a:srgbClr val="E7E7E4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70" name="Lithuania">
                <a:extLst>
                  <a:ext uri="{FF2B5EF4-FFF2-40B4-BE49-F238E27FC236}">
                    <a16:creationId xmlns:a16="http://schemas.microsoft.com/office/drawing/2014/main" id="{F76F2B97-CE32-4C6B-BB61-0E8DB0AAA46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673632" y="2685977"/>
                <a:ext cx="519145" cy="345057"/>
              </a:xfrm>
              <a:custGeom>
                <a:avLst/>
                <a:gdLst>
                  <a:gd name="T0" fmla="*/ 393 w 463"/>
                  <a:gd name="T1" fmla="*/ 158 h 269"/>
                  <a:gd name="T2" fmla="*/ 376 w 463"/>
                  <a:gd name="T3" fmla="*/ 182 h 269"/>
                  <a:gd name="T4" fmla="*/ 366 w 463"/>
                  <a:gd name="T5" fmla="*/ 209 h 269"/>
                  <a:gd name="T6" fmla="*/ 363 w 463"/>
                  <a:gd name="T7" fmla="*/ 219 h 269"/>
                  <a:gd name="T8" fmla="*/ 374 w 463"/>
                  <a:gd name="T9" fmla="*/ 229 h 269"/>
                  <a:gd name="T10" fmla="*/ 379 w 463"/>
                  <a:gd name="T11" fmla="*/ 241 h 269"/>
                  <a:gd name="T12" fmla="*/ 362 w 463"/>
                  <a:gd name="T13" fmla="*/ 234 h 269"/>
                  <a:gd name="T14" fmla="*/ 352 w 463"/>
                  <a:gd name="T15" fmla="*/ 227 h 269"/>
                  <a:gd name="T16" fmla="*/ 317 w 463"/>
                  <a:gd name="T17" fmla="*/ 243 h 269"/>
                  <a:gd name="T18" fmla="*/ 304 w 463"/>
                  <a:gd name="T19" fmla="*/ 257 h 269"/>
                  <a:gd name="T20" fmla="*/ 295 w 463"/>
                  <a:gd name="T21" fmla="*/ 258 h 269"/>
                  <a:gd name="T22" fmla="*/ 258 w 463"/>
                  <a:gd name="T23" fmla="*/ 267 h 269"/>
                  <a:gd name="T24" fmla="*/ 238 w 463"/>
                  <a:gd name="T25" fmla="*/ 265 h 269"/>
                  <a:gd name="T26" fmla="*/ 224 w 463"/>
                  <a:gd name="T27" fmla="*/ 266 h 269"/>
                  <a:gd name="T28" fmla="*/ 210 w 463"/>
                  <a:gd name="T29" fmla="*/ 267 h 269"/>
                  <a:gd name="T30" fmla="*/ 199 w 463"/>
                  <a:gd name="T31" fmla="*/ 260 h 269"/>
                  <a:gd name="T32" fmla="*/ 189 w 463"/>
                  <a:gd name="T33" fmla="*/ 233 h 269"/>
                  <a:gd name="T34" fmla="*/ 167 w 463"/>
                  <a:gd name="T35" fmla="*/ 226 h 269"/>
                  <a:gd name="T36" fmla="*/ 158 w 463"/>
                  <a:gd name="T37" fmla="*/ 217 h 269"/>
                  <a:gd name="T38" fmla="*/ 138 w 463"/>
                  <a:gd name="T39" fmla="*/ 210 h 269"/>
                  <a:gd name="T40" fmla="*/ 141 w 463"/>
                  <a:gd name="T41" fmla="*/ 189 h 269"/>
                  <a:gd name="T42" fmla="*/ 149 w 463"/>
                  <a:gd name="T43" fmla="*/ 178 h 269"/>
                  <a:gd name="T44" fmla="*/ 151 w 463"/>
                  <a:gd name="T45" fmla="*/ 170 h 269"/>
                  <a:gd name="T46" fmla="*/ 144 w 463"/>
                  <a:gd name="T47" fmla="*/ 161 h 269"/>
                  <a:gd name="T48" fmla="*/ 137 w 463"/>
                  <a:gd name="T49" fmla="*/ 156 h 269"/>
                  <a:gd name="T50" fmla="*/ 128 w 463"/>
                  <a:gd name="T51" fmla="*/ 146 h 269"/>
                  <a:gd name="T52" fmla="*/ 88 w 463"/>
                  <a:gd name="T53" fmla="*/ 150 h 269"/>
                  <a:gd name="T54" fmla="*/ 69 w 463"/>
                  <a:gd name="T55" fmla="*/ 140 h 269"/>
                  <a:gd name="T56" fmla="*/ 37 w 463"/>
                  <a:gd name="T57" fmla="*/ 125 h 269"/>
                  <a:gd name="T58" fmla="*/ 28 w 463"/>
                  <a:gd name="T59" fmla="*/ 122 h 269"/>
                  <a:gd name="T60" fmla="*/ 25 w 463"/>
                  <a:gd name="T61" fmla="*/ 108 h 269"/>
                  <a:gd name="T62" fmla="*/ 16 w 463"/>
                  <a:gd name="T63" fmla="*/ 81 h 269"/>
                  <a:gd name="T64" fmla="*/ 16 w 463"/>
                  <a:gd name="T65" fmla="*/ 94 h 269"/>
                  <a:gd name="T66" fmla="*/ 9 w 463"/>
                  <a:gd name="T67" fmla="*/ 114 h 269"/>
                  <a:gd name="T68" fmla="*/ 0 w 463"/>
                  <a:gd name="T69" fmla="*/ 123 h 269"/>
                  <a:gd name="T70" fmla="*/ 11 w 463"/>
                  <a:gd name="T71" fmla="*/ 76 h 269"/>
                  <a:gd name="T72" fmla="*/ 14 w 463"/>
                  <a:gd name="T73" fmla="*/ 39 h 269"/>
                  <a:gd name="T74" fmla="*/ 25 w 463"/>
                  <a:gd name="T75" fmla="*/ 30 h 269"/>
                  <a:gd name="T76" fmla="*/ 51 w 463"/>
                  <a:gd name="T77" fmla="*/ 14 h 269"/>
                  <a:gd name="T78" fmla="*/ 82 w 463"/>
                  <a:gd name="T79" fmla="*/ 5 h 269"/>
                  <a:gd name="T80" fmla="*/ 111 w 463"/>
                  <a:gd name="T81" fmla="*/ 5 h 269"/>
                  <a:gd name="T82" fmla="*/ 136 w 463"/>
                  <a:gd name="T83" fmla="*/ 10 h 269"/>
                  <a:gd name="T84" fmla="*/ 161 w 463"/>
                  <a:gd name="T85" fmla="*/ 5 h 269"/>
                  <a:gd name="T86" fmla="*/ 175 w 463"/>
                  <a:gd name="T87" fmla="*/ 11 h 269"/>
                  <a:gd name="T88" fmla="*/ 219 w 463"/>
                  <a:gd name="T89" fmla="*/ 8 h 269"/>
                  <a:gd name="T90" fmla="*/ 233 w 463"/>
                  <a:gd name="T91" fmla="*/ 12 h 269"/>
                  <a:gd name="T92" fmla="*/ 262 w 463"/>
                  <a:gd name="T93" fmla="*/ 16 h 269"/>
                  <a:gd name="T94" fmla="*/ 284 w 463"/>
                  <a:gd name="T95" fmla="*/ 14 h 269"/>
                  <a:gd name="T96" fmla="*/ 305 w 463"/>
                  <a:gd name="T97" fmla="*/ 4 h 269"/>
                  <a:gd name="T98" fmla="*/ 314 w 463"/>
                  <a:gd name="T99" fmla="*/ 14 h 269"/>
                  <a:gd name="T100" fmla="*/ 335 w 463"/>
                  <a:gd name="T101" fmla="*/ 28 h 269"/>
                  <a:gd name="T102" fmla="*/ 357 w 463"/>
                  <a:gd name="T103" fmla="*/ 32 h 269"/>
                  <a:gd name="T104" fmla="*/ 370 w 463"/>
                  <a:gd name="T105" fmla="*/ 32 h 269"/>
                  <a:gd name="T106" fmla="*/ 388 w 463"/>
                  <a:gd name="T107" fmla="*/ 47 h 269"/>
                  <a:gd name="T108" fmla="*/ 419 w 463"/>
                  <a:gd name="T109" fmla="*/ 74 h 269"/>
                  <a:gd name="T110" fmla="*/ 444 w 463"/>
                  <a:gd name="T111" fmla="*/ 88 h 269"/>
                  <a:gd name="T112" fmla="*/ 439 w 463"/>
                  <a:gd name="T113" fmla="*/ 111 h 269"/>
                  <a:gd name="T114" fmla="*/ 447 w 463"/>
                  <a:gd name="T115" fmla="*/ 117 h 269"/>
                  <a:gd name="T116" fmla="*/ 452 w 463"/>
                  <a:gd name="T117" fmla="*/ 128 h 269"/>
                  <a:gd name="T118" fmla="*/ 438 w 463"/>
                  <a:gd name="T119" fmla="*/ 138 h 269"/>
                  <a:gd name="T120" fmla="*/ 415 w 463"/>
                  <a:gd name="T121" fmla="*/ 142 h 26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63"/>
                  <a:gd name="T184" fmla="*/ 0 h 269"/>
                  <a:gd name="T185" fmla="*/ 463 w 463"/>
                  <a:gd name="T186" fmla="*/ 269 h 26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63" h="269">
                    <a:moveTo>
                      <a:pt x="412" y="153"/>
                    </a:moveTo>
                    <a:lnTo>
                      <a:pt x="409" y="154"/>
                    </a:lnTo>
                    <a:lnTo>
                      <a:pt x="403" y="156"/>
                    </a:lnTo>
                    <a:lnTo>
                      <a:pt x="401" y="160"/>
                    </a:lnTo>
                    <a:lnTo>
                      <a:pt x="398" y="160"/>
                    </a:lnTo>
                    <a:lnTo>
                      <a:pt x="393" y="157"/>
                    </a:lnTo>
                    <a:lnTo>
                      <a:pt x="393" y="158"/>
                    </a:lnTo>
                    <a:lnTo>
                      <a:pt x="385" y="161"/>
                    </a:lnTo>
                    <a:lnTo>
                      <a:pt x="384" y="162"/>
                    </a:lnTo>
                    <a:lnTo>
                      <a:pt x="383" y="164"/>
                    </a:lnTo>
                    <a:lnTo>
                      <a:pt x="376" y="173"/>
                    </a:lnTo>
                    <a:lnTo>
                      <a:pt x="375" y="177"/>
                    </a:lnTo>
                    <a:lnTo>
                      <a:pt x="376" y="180"/>
                    </a:lnTo>
                    <a:lnTo>
                      <a:pt x="376" y="182"/>
                    </a:lnTo>
                    <a:lnTo>
                      <a:pt x="375" y="185"/>
                    </a:lnTo>
                    <a:lnTo>
                      <a:pt x="374" y="187"/>
                    </a:lnTo>
                    <a:lnTo>
                      <a:pt x="376" y="196"/>
                    </a:lnTo>
                    <a:lnTo>
                      <a:pt x="375" y="199"/>
                    </a:lnTo>
                    <a:lnTo>
                      <a:pt x="373" y="201"/>
                    </a:lnTo>
                    <a:lnTo>
                      <a:pt x="370" y="203"/>
                    </a:lnTo>
                    <a:lnTo>
                      <a:pt x="366" y="209"/>
                    </a:lnTo>
                    <a:lnTo>
                      <a:pt x="365" y="211"/>
                    </a:lnTo>
                    <a:lnTo>
                      <a:pt x="367" y="212"/>
                    </a:lnTo>
                    <a:lnTo>
                      <a:pt x="366" y="214"/>
                    </a:lnTo>
                    <a:lnTo>
                      <a:pt x="366" y="215"/>
                    </a:lnTo>
                    <a:lnTo>
                      <a:pt x="364" y="215"/>
                    </a:lnTo>
                    <a:lnTo>
                      <a:pt x="364" y="217"/>
                    </a:lnTo>
                    <a:lnTo>
                      <a:pt x="363" y="219"/>
                    </a:lnTo>
                    <a:lnTo>
                      <a:pt x="361" y="221"/>
                    </a:lnTo>
                    <a:lnTo>
                      <a:pt x="360" y="222"/>
                    </a:lnTo>
                    <a:lnTo>
                      <a:pt x="360" y="223"/>
                    </a:lnTo>
                    <a:lnTo>
                      <a:pt x="363" y="225"/>
                    </a:lnTo>
                    <a:lnTo>
                      <a:pt x="371" y="225"/>
                    </a:lnTo>
                    <a:lnTo>
                      <a:pt x="372" y="225"/>
                    </a:lnTo>
                    <a:lnTo>
                      <a:pt x="374" y="229"/>
                    </a:lnTo>
                    <a:lnTo>
                      <a:pt x="376" y="230"/>
                    </a:lnTo>
                    <a:lnTo>
                      <a:pt x="377" y="232"/>
                    </a:lnTo>
                    <a:lnTo>
                      <a:pt x="380" y="233"/>
                    </a:lnTo>
                    <a:lnTo>
                      <a:pt x="378" y="235"/>
                    </a:lnTo>
                    <a:lnTo>
                      <a:pt x="379" y="237"/>
                    </a:lnTo>
                    <a:lnTo>
                      <a:pt x="379" y="241"/>
                    </a:lnTo>
                    <a:lnTo>
                      <a:pt x="375" y="241"/>
                    </a:lnTo>
                    <a:lnTo>
                      <a:pt x="368" y="244"/>
                    </a:lnTo>
                    <a:lnTo>
                      <a:pt x="366" y="243"/>
                    </a:lnTo>
                    <a:lnTo>
                      <a:pt x="359" y="242"/>
                    </a:lnTo>
                    <a:lnTo>
                      <a:pt x="357" y="239"/>
                    </a:lnTo>
                    <a:lnTo>
                      <a:pt x="362" y="237"/>
                    </a:lnTo>
                    <a:lnTo>
                      <a:pt x="362" y="234"/>
                    </a:lnTo>
                    <a:lnTo>
                      <a:pt x="363" y="233"/>
                    </a:lnTo>
                    <a:lnTo>
                      <a:pt x="360" y="229"/>
                    </a:lnTo>
                    <a:lnTo>
                      <a:pt x="358" y="227"/>
                    </a:lnTo>
                    <a:lnTo>
                      <a:pt x="357" y="225"/>
                    </a:lnTo>
                    <a:lnTo>
                      <a:pt x="356" y="225"/>
                    </a:lnTo>
                    <a:lnTo>
                      <a:pt x="355" y="227"/>
                    </a:lnTo>
                    <a:lnTo>
                      <a:pt x="352" y="227"/>
                    </a:lnTo>
                    <a:lnTo>
                      <a:pt x="346" y="229"/>
                    </a:lnTo>
                    <a:lnTo>
                      <a:pt x="340" y="229"/>
                    </a:lnTo>
                    <a:lnTo>
                      <a:pt x="335" y="231"/>
                    </a:lnTo>
                    <a:lnTo>
                      <a:pt x="329" y="239"/>
                    </a:lnTo>
                    <a:lnTo>
                      <a:pt x="323" y="243"/>
                    </a:lnTo>
                    <a:lnTo>
                      <a:pt x="321" y="244"/>
                    </a:lnTo>
                    <a:lnTo>
                      <a:pt x="317" y="243"/>
                    </a:lnTo>
                    <a:lnTo>
                      <a:pt x="314" y="241"/>
                    </a:lnTo>
                    <a:lnTo>
                      <a:pt x="313" y="241"/>
                    </a:lnTo>
                    <a:lnTo>
                      <a:pt x="308" y="244"/>
                    </a:lnTo>
                    <a:lnTo>
                      <a:pt x="303" y="245"/>
                    </a:lnTo>
                    <a:lnTo>
                      <a:pt x="301" y="250"/>
                    </a:lnTo>
                    <a:lnTo>
                      <a:pt x="304" y="254"/>
                    </a:lnTo>
                    <a:lnTo>
                      <a:pt x="304" y="257"/>
                    </a:lnTo>
                    <a:lnTo>
                      <a:pt x="304" y="260"/>
                    </a:lnTo>
                    <a:lnTo>
                      <a:pt x="299" y="263"/>
                    </a:lnTo>
                    <a:lnTo>
                      <a:pt x="296" y="262"/>
                    </a:lnTo>
                    <a:lnTo>
                      <a:pt x="294" y="263"/>
                    </a:lnTo>
                    <a:lnTo>
                      <a:pt x="293" y="263"/>
                    </a:lnTo>
                    <a:lnTo>
                      <a:pt x="295" y="260"/>
                    </a:lnTo>
                    <a:lnTo>
                      <a:pt x="295" y="258"/>
                    </a:lnTo>
                    <a:lnTo>
                      <a:pt x="294" y="257"/>
                    </a:lnTo>
                    <a:lnTo>
                      <a:pt x="292" y="257"/>
                    </a:lnTo>
                    <a:lnTo>
                      <a:pt x="288" y="258"/>
                    </a:lnTo>
                    <a:lnTo>
                      <a:pt x="283" y="261"/>
                    </a:lnTo>
                    <a:lnTo>
                      <a:pt x="273" y="268"/>
                    </a:lnTo>
                    <a:lnTo>
                      <a:pt x="269" y="268"/>
                    </a:lnTo>
                    <a:lnTo>
                      <a:pt x="258" y="267"/>
                    </a:lnTo>
                    <a:lnTo>
                      <a:pt x="255" y="266"/>
                    </a:lnTo>
                    <a:lnTo>
                      <a:pt x="253" y="263"/>
                    </a:lnTo>
                    <a:lnTo>
                      <a:pt x="251" y="263"/>
                    </a:lnTo>
                    <a:lnTo>
                      <a:pt x="249" y="263"/>
                    </a:lnTo>
                    <a:lnTo>
                      <a:pt x="246" y="265"/>
                    </a:lnTo>
                    <a:lnTo>
                      <a:pt x="241" y="265"/>
                    </a:lnTo>
                    <a:lnTo>
                      <a:pt x="238" y="265"/>
                    </a:lnTo>
                    <a:lnTo>
                      <a:pt x="233" y="262"/>
                    </a:lnTo>
                    <a:lnTo>
                      <a:pt x="232" y="262"/>
                    </a:lnTo>
                    <a:lnTo>
                      <a:pt x="231" y="264"/>
                    </a:lnTo>
                    <a:lnTo>
                      <a:pt x="228" y="264"/>
                    </a:lnTo>
                    <a:lnTo>
                      <a:pt x="227" y="263"/>
                    </a:lnTo>
                    <a:lnTo>
                      <a:pt x="224" y="266"/>
                    </a:lnTo>
                    <a:lnTo>
                      <a:pt x="225" y="267"/>
                    </a:lnTo>
                    <a:lnTo>
                      <a:pt x="225" y="268"/>
                    </a:lnTo>
                    <a:lnTo>
                      <a:pt x="222" y="269"/>
                    </a:lnTo>
                    <a:lnTo>
                      <a:pt x="221" y="266"/>
                    </a:lnTo>
                    <a:lnTo>
                      <a:pt x="219" y="266"/>
                    </a:lnTo>
                    <a:lnTo>
                      <a:pt x="214" y="266"/>
                    </a:lnTo>
                    <a:lnTo>
                      <a:pt x="210" y="267"/>
                    </a:lnTo>
                    <a:lnTo>
                      <a:pt x="209" y="267"/>
                    </a:lnTo>
                    <a:lnTo>
                      <a:pt x="208" y="266"/>
                    </a:lnTo>
                    <a:lnTo>
                      <a:pt x="206" y="265"/>
                    </a:lnTo>
                    <a:lnTo>
                      <a:pt x="201" y="264"/>
                    </a:lnTo>
                    <a:lnTo>
                      <a:pt x="201" y="263"/>
                    </a:lnTo>
                    <a:lnTo>
                      <a:pt x="199" y="260"/>
                    </a:lnTo>
                    <a:lnTo>
                      <a:pt x="199" y="259"/>
                    </a:lnTo>
                    <a:lnTo>
                      <a:pt x="202" y="255"/>
                    </a:lnTo>
                    <a:lnTo>
                      <a:pt x="199" y="244"/>
                    </a:lnTo>
                    <a:lnTo>
                      <a:pt x="197" y="240"/>
                    </a:lnTo>
                    <a:lnTo>
                      <a:pt x="194" y="239"/>
                    </a:lnTo>
                    <a:lnTo>
                      <a:pt x="192" y="236"/>
                    </a:lnTo>
                    <a:lnTo>
                      <a:pt x="189" y="233"/>
                    </a:lnTo>
                    <a:lnTo>
                      <a:pt x="186" y="232"/>
                    </a:lnTo>
                    <a:lnTo>
                      <a:pt x="180" y="231"/>
                    </a:lnTo>
                    <a:lnTo>
                      <a:pt x="178" y="228"/>
                    </a:lnTo>
                    <a:lnTo>
                      <a:pt x="174" y="227"/>
                    </a:lnTo>
                    <a:lnTo>
                      <a:pt x="172" y="225"/>
                    </a:lnTo>
                    <a:lnTo>
                      <a:pt x="169" y="227"/>
                    </a:lnTo>
                    <a:lnTo>
                      <a:pt x="167" y="226"/>
                    </a:lnTo>
                    <a:lnTo>
                      <a:pt x="165" y="225"/>
                    </a:lnTo>
                    <a:lnTo>
                      <a:pt x="167" y="221"/>
                    </a:lnTo>
                    <a:lnTo>
                      <a:pt x="163" y="221"/>
                    </a:lnTo>
                    <a:lnTo>
                      <a:pt x="162" y="220"/>
                    </a:lnTo>
                    <a:lnTo>
                      <a:pt x="161" y="218"/>
                    </a:lnTo>
                    <a:lnTo>
                      <a:pt x="161" y="217"/>
                    </a:lnTo>
                    <a:lnTo>
                      <a:pt x="158" y="217"/>
                    </a:lnTo>
                    <a:lnTo>
                      <a:pt x="150" y="215"/>
                    </a:lnTo>
                    <a:lnTo>
                      <a:pt x="147" y="217"/>
                    </a:lnTo>
                    <a:lnTo>
                      <a:pt x="146" y="219"/>
                    </a:lnTo>
                    <a:lnTo>
                      <a:pt x="144" y="220"/>
                    </a:lnTo>
                    <a:lnTo>
                      <a:pt x="143" y="219"/>
                    </a:lnTo>
                    <a:lnTo>
                      <a:pt x="140" y="211"/>
                    </a:lnTo>
                    <a:lnTo>
                      <a:pt x="138" y="210"/>
                    </a:lnTo>
                    <a:lnTo>
                      <a:pt x="136" y="202"/>
                    </a:lnTo>
                    <a:lnTo>
                      <a:pt x="138" y="199"/>
                    </a:lnTo>
                    <a:lnTo>
                      <a:pt x="136" y="197"/>
                    </a:lnTo>
                    <a:lnTo>
                      <a:pt x="137" y="194"/>
                    </a:lnTo>
                    <a:lnTo>
                      <a:pt x="139" y="194"/>
                    </a:lnTo>
                    <a:lnTo>
                      <a:pt x="141" y="191"/>
                    </a:lnTo>
                    <a:lnTo>
                      <a:pt x="141" y="189"/>
                    </a:lnTo>
                    <a:lnTo>
                      <a:pt x="140" y="188"/>
                    </a:lnTo>
                    <a:lnTo>
                      <a:pt x="141" y="187"/>
                    </a:lnTo>
                    <a:lnTo>
                      <a:pt x="139" y="185"/>
                    </a:lnTo>
                    <a:lnTo>
                      <a:pt x="140" y="182"/>
                    </a:lnTo>
                    <a:lnTo>
                      <a:pt x="143" y="179"/>
                    </a:lnTo>
                    <a:lnTo>
                      <a:pt x="146" y="179"/>
                    </a:lnTo>
                    <a:lnTo>
                      <a:pt x="149" y="178"/>
                    </a:lnTo>
                    <a:lnTo>
                      <a:pt x="150" y="176"/>
                    </a:lnTo>
                    <a:lnTo>
                      <a:pt x="152" y="175"/>
                    </a:lnTo>
                    <a:lnTo>
                      <a:pt x="151" y="174"/>
                    </a:lnTo>
                    <a:lnTo>
                      <a:pt x="152" y="173"/>
                    </a:lnTo>
                    <a:lnTo>
                      <a:pt x="152" y="172"/>
                    </a:lnTo>
                    <a:lnTo>
                      <a:pt x="152" y="170"/>
                    </a:lnTo>
                    <a:lnTo>
                      <a:pt x="151" y="170"/>
                    </a:lnTo>
                    <a:lnTo>
                      <a:pt x="151" y="168"/>
                    </a:lnTo>
                    <a:lnTo>
                      <a:pt x="149" y="167"/>
                    </a:lnTo>
                    <a:lnTo>
                      <a:pt x="150" y="165"/>
                    </a:lnTo>
                    <a:lnTo>
                      <a:pt x="149" y="164"/>
                    </a:lnTo>
                    <a:lnTo>
                      <a:pt x="147" y="162"/>
                    </a:lnTo>
                    <a:lnTo>
                      <a:pt x="145" y="162"/>
                    </a:lnTo>
                    <a:lnTo>
                      <a:pt x="144" y="161"/>
                    </a:lnTo>
                    <a:lnTo>
                      <a:pt x="142" y="161"/>
                    </a:lnTo>
                    <a:lnTo>
                      <a:pt x="142" y="159"/>
                    </a:lnTo>
                    <a:lnTo>
                      <a:pt x="141" y="159"/>
                    </a:lnTo>
                    <a:lnTo>
                      <a:pt x="140" y="156"/>
                    </a:lnTo>
                    <a:lnTo>
                      <a:pt x="138" y="156"/>
                    </a:lnTo>
                    <a:lnTo>
                      <a:pt x="137" y="156"/>
                    </a:lnTo>
                    <a:lnTo>
                      <a:pt x="136" y="154"/>
                    </a:lnTo>
                    <a:lnTo>
                      <a:pt x="135" y="154"/>
                    </a:lnTo>
                    <a:lnTo>
                      <a:pt x="135" y="156"/>
                    </a:lnTo>
                    <a:lnTo>
                      <a:pt x="134" y="156"/>
                    </a:lnTo>
                    <a:lnTo>
                      <a:pt x="132" y="153"/>
                    </a:lnTo>
                    <a:lnTo>
                      <a:pt x="130" y="151"/>
                    </a:lnTo>
                    <a:lnTo>
                      <a:pt x="128" y="146"/>
                    </a:lnTo>
                    <a:lnTo>
                      <a:pt x="128" y="145"/>
                    </a:lnTo>
                    <a:lnTo>
                      <a:pt x="118" y="148"/>
                    </a:lnTo>
                    <a:lnTo>
                      <a:pt x="106" y="146"/>
                    </a:lnTo>
                    <a:lnTo>
                      <a:pt x="99" y="146"/>
                    </a:lnTo>
                    <a:lnTo>
                      <a:pt x="94" y="148"/>
                    </a:lnTo>
                    <a:lnTo>
                      <a:pt x="91" y="150"/>
                    </a:lnTo>
                    <a:lnTo>
                      <a:pt x="88" y="150"/>
                    </a:lnTo>
                    <a:lnTo>
                      <a:pt x="86" y="148"/>
                    </a:lnTo>
                    <a:lnTo>
                      <a:pt x="85" y="147"/>
                    </a:lnTo>
                    <a:lnTo>
                      <a:pt x="85" y="145"/>
                    </a:lnTo>
                    <a:lnTo>
                      <a:pt x="84" y="144"/>
                    </a:lnTo>
                    <a:lnTo>
                      <a:pt x="79" y="145"/>
                    </a:lnTo>
                    <a:lnTo>
                      <a:pt x="73" y="143"/>
                    </a:lnTo>
                    <a:lnTo>
                      <a:pt x="69" y="140"/>
                    </a:lnTo>
                    <a:lnTo>
                      <a:pt x="62" y="139"/>
                    </a:lnTo>
                    <a:lnTo>
                      <a:pt x="56" y="133"/>
                    </a:lnTo>
                    <a:lnTo>
                      <a:pt x="48" y="131"/>
                    </a:lnTo>
                    <a:lnTo>
                      <a:pt x="45" y="132"/>
                    </a:lnTo>
                    <a:lnTo>
                      <a:pt x="40" y="130"/>
                    </a:lnTo>
                    <a:lnTo>
                      <a:pt x="39" y="126"/>
                    </a:lnTo>
                    <a:lnTo>
                      <a:pt x="37" y="125"/>
                    </a:lnTo>
                    <a:lnTo>
                      <a:pt x="35" y="123"/>
                    </a:lnTo>
                    <a:lnTo>
                      <a:pt x="34" y="122"/>
                    </a:lnTo>
                    <a:lnTo>
                      <a:pt x="26" y="127"/>
                    </a:lnTo>
                    <a:lnTo>
                      <a:pt x="26" y="125"/>
                    </a:lnTo>
                    <a:lnTo>
                      <a:pt x="26" y="123"/>
                    </a:lnTo>
                    <a:lnTo>
                      <a:pt x="28" y="123"/>
                    </a:lnTo>
                    <a:lnTo>
                      <a:pt x="28" y="122"/>
                    </a:lnTo>
                    <a:lnTo>
                      <a:pt x="27" y="119"/>
                    </a:lnTo>
                    <a:lnTo>
                      <a:pt x="25" y="117"/>
                    </a:lnTo>
                    <a:lnTo>
                      <a:pt x="25" y="114"/>
                    </a:lnTo>
                    <a:lnTo>
                      <a:pt x="24" y="114"/>
                    </a:lnTo>
                    <a:lnTo>
                      <a:pt x="20" y="117"/>
                    </a:lnTo>
                    <a:lnTo>
                      <a:pt x="25" y="108"/>
                    </a:lnTo>
                    <a:lnTo>
                      <a:pt x="24" y="103"/>
                    </a:lnTo>
                    <a:lnTo>
                      <a:pt x="23" y="101"/>
                    </a:lnTo>
                    <a:lnTo>
                      <a:pt x="23" y="99"/>
                    </a:lnTo>
                    <a:lnTo>
                      <a:pt x="21" y="97"/>
                    </a:lnTo>
                    <a:lnTo>
                      <a:pt x="21" y="93"/>
                    </a:lnTo>
                    <a:lnTo>
                      <a:pt x="18" y="87"/>
                    </a:lnTo>
                    <a:lnTo>
                      <a:pt x="16" y="81"/>
                    </a:lnTo>
                    <a:lnTo>
                      <a:pt x="15" y="79"/>
                    </a:lnTo>
                    <a:lnTo>
                      <a:pt x="14" y="78"/>
                    </a:lnTo>
                    <a:lnTo>
                      <a:pt x="12" y="77"/>
                    </a:lnTo>
                    <a:lnTo>
                      <a:pt x="15" y="81"/>
                    </a:lnTo>
                    <a:lnTo>
                      <a:pt x="16" y="87"/>
                    </a:lnTo>
                    <a:lnTo>
                      <a:pt x="15" y="90"/>
                    </a:lnTo>
                    <a:lnTo>
                      <a:pt x="16" y="94"/>
                    </a:lnTo>
                    <a:lnTo>
                      <a:pt x="14" y="99"/>
                    </a:lnTo>
                    <a:lnTo>
                      <a:pt x="14" y="101"/>
                    </a:lnTo>
                    <a:lnTo>
                      <a:pt x="12" y="107"/>
                    </a:lnTo>
                    <a:lnTo>
                      <a:pt x="13" y="109"/>
                    </a:lnTo>
                    <a:lnTo>
                      <a:pt x="12" y="109"/>
                    </a:lnTo>
                    <a:lnTo>
                      <a:pt x="12" y="111"/>
                    </a:lnTo>
                    <a:lnTo>
                      <a:pt x="9" y="114"/>
                    </a:lnTo>
                    <a:lnTo>
                      <a:pt x="9" y="118"/>
                    </a:lnTo>
                    <a:lnTo>
                      <a:pt x="6" y="120"/>
                    </a:lnTo>
                    <a:lnTo>
                      <a:pt x="6" y="121"/>
                    </a:lnTo>
                    <a:lnTo>
                      <a:pt x="4" y="122"/>
                    </a:lnTo>
                    <a:lnTo>
                      <a:pt x="4" y="125"/>
                    </a:lnTo>
                    <a:lnTo>
                      <a:pt x="3" y="124"/>
                    </a:lnTo>
                    <a:lnTo>
                      <a:pt x="0" y="123"/>
                    </a:lnTo>
                    <a:lnTo>
                      <a:pt x="1" y="123"/>
                    </a:lnTo>
                    <a:lnTo>
                      <a:pt x="8" y="111"/>
                    </a:lnTo>
                    <a:lnTo>
                      <a:pt x="12" y="99"/>
                    </a:lnTo>
                    <a:lnTo>
                      <a:pt x="13" y="96"/>
                    </a:lnTo>
                    <a:lnTo>
                      <a:pt x="13" y="90"/>
                    </a:lnTo>
                    <a:lnTo>
                      <a:pt x="12" y="77"/>
                    </a:lnTo>
                    <a:lnTo>
                      <a:pt x="11" y="76"/>
                    </a:lnTo>
                    <a:lnTo>
                      <a:pt x="10" y="71"/>
                    </a:lnTo>
                    <a:lnTo>
                      <a:pt x="10" y="67"/>
                    </a:lnTo>
                    <a:lnTo>
                      <a:pt x="9" y="64"/>
                    </a:lnTo>
                    <a:lnTo>
                      <a:pt x="9" y="57"/>
                    </a:lnTo>
                    <a:lnTo>
                      <a:pt x="10" y="50"/>
                    </a:lnTo>
                    <a:lnTo>
                      <a:pt x="10" y="40"/>
                    </a:lnTo>
                    <a:lnTo>
                      <a:pt x="14" y="39"/>
                    </a:lnTo>
                    <a:lnTo>
                      <a:pt x="16" y="39"/>
                    </a:lnTo>
                    <a:lnTo>
                      <a:pt x="19" y="39"/>
                    </a:lnTo>
                    <a:lnTo>
                      <a:pt x="21" y="38"/>
                    </a:lnTo>
                    <a:lnTo>
                      <a:pt x="23" y="34"/>
                    </a:lnTo>
                    <a:lnTo>
                      <a:pt x="22" y="32"/>
                    </a:lnTo>
                    <a:lnTo>
                      <a:pt x="22" y="31"/>
                    </a:lnTo>
                    <a:lnTo>
                      <a:pt x="25" y="30"/>
                    </a:lnTo>
                    <a:lnTo>
                      <a:pt x="32" y="24"/>
                    </a:lnTo>
                    <a:lnTo>
                      <a:pt x="37" y="22"/>
                    </a:lnTo>
                    <a:lnTo>
                      <a:pt x="40" y="21"/>
                    </a:lnTo>
                    <a:lnTo>
                      <a:pt x="42" y="17"/>
                    </a:lnTo>
                    <a:lnTo>
                      <a:pt x="43" y="17"/>
                    </a:lnTo>
                    <a:lnTo>
                      <a:pt x="46" y="16"/>
                    </a:lnTo>
                    <a:lnTo>
                      <a:pt x="51" y="14"/>
                    </a:lnTo>
                    <a:lnTo>
                      <a:pt x="58" y="14"/>
                    </a:lnTo>
                    <a:lnTo>
                      <a:pt x="61" y="14"/>
                    </a:lnTo>
                    <a:lnTo>
                      <a:pt x="67" y="11"/>
                    </a:lnTo>
                    <a:lnTo>
                      <a:pt x="71" y="8"/>
                    </a:lnTo>
                    <a:lnTo>
                      <a:pt x="75" y="9"/>
                    </a:lnTo>
                    <a:lnTo>
                      <a:pt x="80" y="8"/>
                    </a:lnTo>
                    <a:lnTo>
                      <a:pt x="82" y="5"/>
                    </a:lnTo>
                    <a:lnTo>
                      <a:pt x="82" y="3"/>
                    </a:lnTo>
                    <a:lnTo>
                      <a:pt x="94" y="2"/>
                    </a:lnTo>
                    <a:lnTo>
                      <a:pt x="98" y="3"/>
                    </a:lnTo>
                    <a:lnTo>
                      <a:pt x="102" y="5"/>
                    </a:lnTo>
                    <a:lnTo>
                      <a:pt x="108" y="4"/>
                    </a:lnTo>
                    <a:lnTo>
                      <a:pt x="109" y="5"/>
                    </a:lnTo>
                    <a:lnTo>
                      <a:pt x="111" y="5"/>
                    </a:lnTo>
                    <a:lnTo>
                      <a:pt x="114" y="4"/>
                    </a:lnTo>
                    <a:lnTo>
                      <a:pt x="119" y="4"/>
                    </a:lnTo>
                    <a:lnTo>
                      <a:pt x="124" y="6"/>
                    </a:lnTo>
                    <a:lnTo>
                      <a:pt x="128" y="6"/>
                    </a:lnTo>
                    <a:lnTo>
                      <a:pt x="132" y="8"/>
                    </a:lnTo>
                    <a:lnTo>
                      <a:pt x="132" y="9"/>
                    </a:lnTo>
                    <a:lnTo>
                      <a:pt x="136" y="10"/>
                    </a:lnTo>
                    <a:lnTo>
                      <a:pt x="140" y="8"/>
                    </a:lnTo>
                    <a:lnTo>
                      <a:pt x="146" y="8"/>
                    </a:lnTo>
                    <a:lnTo>
                      <a:pt x="154" y="8"/>
                    </a:lnTo>
                    <a:lnTo>
                      <a:pt x="155" y="7"/>
                    </a:lnTo>
                    <a:lnTo>
                      <a:pt x="155" y="4"/>
                    </a:lnTo>
                    <a:lnTo>
                      <a:pt x="158" y="3"/>
                    </a:lnTo>
                    <a:lnTo>
                      <a:pt x="161" y="5"/>
                    </a:lnTo>
                    <a:lnTo>
                      <a:pt x="161" y="6"/>
                    </a:lnTo>
                    <a:lnTo>
                      <a:pt x="161" y="9"/>
                    </a:lnTo>
                    <a:lnTo>
                      <a:pt x="164" y="14"/>
                    </a:lnTo>
                    <a:lnTo>
                      <a:pt x="167" y="14"/>
                    </a:lnTo>
                    <a:lnTo>
                      <a:pt x="168" y="15"/>
                    </a:lnTo>
                    <a:lnTo>
                      <a:pt x="173" y="12"/>
                    </a:lnTo>
                    <a:lnTo>
                      <a:pt x="175" y="11"/>
                    </a:lnTo>
                    <a:lnTo>
                      <a:pt x="175" y="9"/>
                    </a:lnTo>
                    <a:lnTo>
                      <a:pt x="184" y="7"/>
                    </a:lnTo>
                    <a:lnTo>
                      <a:pt x="189" y="7"/>
                    </a:lnTo>
                    <a:lnTo>
                      <a:pt x="203" y="12"/>
                    </a:lnTo>
                    <a:lnTo>
                      <a:pt x="205" y="12"/>
                    </a:lnTo>
                    <a:lnTo>
                      <a:pt x="211" y="9"/>
                    </a:lnTo>
                    <a:lnTo>
                      <a:pt x="219" y="8"/>
                    </a:lnTo>
                    <a:lnTo>
                      <a:pt x="222" y="9"/>
                    </a:lnTo>
                    <a:lnTo>
                      <a:pt x="220" y="12"/>
                    </a:lnTo>
                    <a:lnTo>
                      <a:pt x="221" y="13"/>
                    </a:lnTo>
                    <a:lnTo>
                      <a:pt x="225" y="11"/>
                    </a:lnTo>
                    <a:lnTo>
                      <a:pt x="228" y="12"/>
                    </a:lnTo>
                    <a:lnTo>
                      <a:pt x="232" y="11"/>
                    </a:lnTo>
                    <a:lnTo>
                      <a:pt x="233" y="12"/>
                    </a:lnTo>
                    <a:lnTo>
                      <a:pt x="240" y="12"/>
                    </a:lnTo>
                    <a:lnTo>
                      <a:pt x="243" y="16"/>
                    </a:lnTo>
                    <a:lnTo>
                      <a:pt x="244" y="18"/>
                    </a:lnTo>
                    <a:lnTo>
                      <a:pt x="246" y="18"/>
                    </a:lnTo>
                    <a:lnTo>
                      <a:pt x="249" y="20"/>
                    </a:lnTo>
                    <a:lnTo>
                      <a:pt x="255" y="20"/>
                    </a:lnTo>
                    <a:lnTo>
                      <a:pt x="262" y="16"/>
                    </a:lnTo>
                    <a:lnTo>
                      <a:pt x="264" y="16"/>
                    </a:lnTo>
                    <a:lnTo>
                      <a:pt x="270" y="18"/>
                    </a:lnTo>
                    <a:lnTo>
                      <a:pt x="273" y="20"/>
                    </a:lnTo>
                    <a:lnTo>
                      <a:pt x="274" y="20"/>
                    </a:lnTo>
                    <a:lnTo>
                      <a:pt x="284" y="17"/>
                    </a:lnTo>
                    <a:lnTo>
                      <a:pt x="285" y="16"/>
                    </a:lnTo>
                    <a:lnTo>
                      <a:pt x="284" y="14"/>
                    </a:lnTo>
                    <a:lnTo>
                      <a:pt x="290" y="8"/>
                    </a:lnTo>
                    <a:lnTo>
                      <a:pt x="294" y="8"/>
                    </a:lnTo>
                    <a:lnTo>
                      <a:pt x="295" y="5"/>
                    </a:lnTo>
                    <a:lnTo>
                      <a:pt x="301" y="5"/>
                    </a:lnTo>
                    <a:lnTo>
                      <a:pt x="303" y="3"/>
                    </a:lnTo>
                    <a:lnTo>
                      <a:pt x="304" y="4"/>
                    </a:lnTo>
                    <a:lnTo>
                      <a:pt x="305" y="4"/>
                    </a:lnTo>
                    <a:lnTo>
                      <a:pt x="307" y="3"/>
                    </a:lnTo>
                    <a:lnTo>
                      <a:pt x="306" y="1"/>
                    </a:lnTo>
                    <a:lnTo>
                      <a:pt x="308" y="0"/>
                    </a:lnTo>
                    <a:lnTo>
                      <a:pt x="310" y="1"/>
                    </a:lnTo>
                    <a:lnTo>
                      <a:pt x="309" y="3"/>
                    </a:lnTo>
                    <a:lnTo>
                      <a:pt x="314" y="10"/>
                    </a:lnTo>
                    <a:lnTo>
                      <a:pt x="314" y="14"/>
                    </a:lnTo>
                    <a:lnTo>
                      <a:pt x="315" y="15"/>
                    </a:lnTo>
                    <a:lnTo>
                      <a:pt x="317" y="16"/>
                    </a:lnTo>
                    <a:lnTo>
                      <a:pt x="322" y="20"/>
                    </a:lnTo>
                    <a:lnTo>
                      <a:pt x="323" y="24"/>
                    </a:lnTo>
                    <a:lnTo>
                      <a:pt x="325" y="28"/>
                    </a:lnTo>
                    <a:lnTo>
                      <a:pt x="330" y="29"/>
                    </a:lnTo>
                    <a:lnTo>
                      <a:pt x="335" y="28"/>
                    </a:lnTo>
                    <a:lnTo>
                      <a:pt x="342" y="32"/>
                    </a:lnTo>
                    <a:lnTo>
                      <a:pt x="343" y="31"/>
                    </a:lnTo>
                    <a:lnTo>
                      <a:pt x="348" y="30"/>
                    </a:lnTo>
                    <a:lnTo>
                      <a:pt x="350" y="32"/>
                    </a:lnTo>
                    <a:lnTo>
                      <a:pt x="352" y="31"/>
                    </a:lnTo>
                    <a:lnTo>
                      <a:pt x="354" y="32"/>
                    </a:lnTo>
                    <a:lnTo>
                      <a:pt x="357" y="32"/>
                    </a:lnTo>
                    <a:lnTo>
                      <a:pt x="357" y="30"/>
                    </a:lnTo>
                    <a:lnTo>
                      <a:pt x="358" y="30"/>
                    </a:lnTo>
                    <a:lnTo>
                      <a:pt x="360" y="30"/>
                    </a:lnTo>
                    <a:lnTo>
                      <a:pt x="361" y="32"/>
                    </a:lnTo>
                    <a:lnTo>
                      <a:pt x="367" y="33"/>
                    </a:lnTo>
                    <a:lnTo>
                      <a:pt x="370" y="32"/>
                    </a:lnTo>
                    <a:lnTo>
                      <a:pt x="370" y="34"/>
                    </a:lnTo>
                    <a:lnTo>
                      <a:pt x="371" y="34"/>
                    </a:lnTo>
                    <a:lnTo>
                      <a:pt x="371" y="38"/>
                    </a:lnTo>
                    <a:lnTo>
                      <a:pt x="381" y="42"/>
                    </a:lnTo>
                    <a:lnTo>
                      <a:pt x="384" y="45"/>
                    </a:lnTo>
                    <a:lnTo>
                      <a:pt x="384" y="47"/>
                    </a:lnTo>
                    <a:lnTo>
                      <a:pt x="388" y="47"/>
                    </a:lnTo>
                    <a:lnTo>
                      <a:pt x="396" y="50"/>
                    </a:lnTo>
                    <a:lnTo>
                      <a:pt x="404" y="58"/>
                    </a:lnTo>
                    <a:lnTo>
                      <a:pt x="411" y="62"/>
                    </a:lnTo>
                    <a:lnTo>
                      <a:pt x="413" y="65"/>
                    </a:lnTo>
                    <a:lnTo>
                      <a:pt x="415" y="70"/>
                    </a:lnTo>
                    <a:lnTo>
                      <a:pt x="417" y="72"/>
                    </a:lnTo>
                    <a:lnTo>
                      <a:pt x="419" y="74"/>
                    </a:lnTo>
                    <a:lnTo>
                      <a:pt x="422" y="74"/>
                    </a:lnTo>
                    <a:lnTo>
                      <a:pt x="425" y="78"/>
                    </a:lnTo>
                    <a:lnTo>
                      <a:pt x="431" y="79"/>
                    </a:lnTo>
                    <a:lnTo>
                      <a:pt x="437" y="83"/>
                    </a:lnTo>
                    <a:lnTo>
                      <a:pt x="443" y="82"/>
                    </a:lnTo>
                    <a:lnTo>
                      <a:pt x="444" y="83"/>
                    </a:lnTo>
                    <a:lnTo>
                      <a:pt x="444" y="88"/>
                    </a:lnTo>
                    <a:lnTo>
                      <a:pt x="444" y="91"/>
                    </a:lnTo>
                    <a:lnTo>
                      <a:pt x="440" y="97"/>
                    </a:lnTo>
                    <a:lnTo>
                      <a:pt x="435" y="97"/>
                    </a:lnTo>
                    <a:lnTo>
                      <a:pt x="435" y="99"/>
                    </a:lnTo>
                    <a:lnTo>
                      <a:pt x="437" y="99"/>
                    </a:lnTo>
                    <a:lnTo>
                      <a:pt x="438" y="101"/>
                    </a:lnTo>
                    <a:lnTo>
                      <a:pt x="439" y="111"/>
                    </a:lnTo>
                    <a:lnTo>
                      <a:pt x="430" y="116"/>
                    </a:lnTo>
                    <a:lnTo>
                      <a:pt x="439" y="118"/>
                    </a:lnTo>
                    <a:lnTo>
                      <a:pt x="441" y="118"/>
                    </a:lnTo>
                    <a:lnTo>
                      <a:pt x="441" y="119"/>
                    </a:lnTo>
                    <a:lnTo>
                      <a:pt x="444" y="117"/>
                    </a:lnTo>
                    <a:lnTo>
                      <a:pt x="444" y="118"/>
                    </a:lnTo>
                    <a:lnTo>
                      <a:pt x="447" y="117"/>
                    </a:lnTo>
                    <a:lnTo>
                      <a:pt x="452" y="119"/>
                    </a:lnTo>
                    <a:lnTo>
                      <a:pt x="457" y="118"/>
                    </a:lnTo>
                    <a:lnTo>
                      <a:pt x="461" y="120"/>
                    </a:lnTo>
                    <a:lnTo>
                      <a:pt x="463" y="123"/>
                    </a:lnTo>
                    <a:lnTo>
                      <a:pt x="453" y="126"/>
                    </a:lnTo>
                    <a:lnTo>
                      <a:pt x="452" y="128"/>
                    </a:lnTo>
                    <a:lnTo>
                      <a:pt x="451" y="130"/>
                    </a:lnTo>
                    <a:lnTo>
                      <a:pt x="448" y="132"/>
                    </a:lnTo>
                    <a:lnTo>
                      <a:pt x="449" y="136"/>
                    </a:lnTo>
                    <a:lnTo>
                      <a:pt x="448" y="137"/>
                    </a:lnTo>
                    <a:lnTo>
                      <a:pt x="443" y="138"/>
                    </a:lnTo>
                    <a:lnTo>
                      <a:pt x="442" y="138"/>
                    </a:lnTo>
                    <a:lnTo>
                      <a:pt x="438" y="138"/>
                    </a:lnTo>
                    <a:lnTo>
                      <a:pt x="436" y="136"/>
                    </a:lnTo>
                    <a:lnTo>
                      <a:pt x="434" y="137"/>
                    </a:lnTo>
                    <a:lnTo>
                      <a:pt x="432" y="140"/>
                    </a:lnTo>
                    <a:lnTo>
                      <a:pt x="429" y="138"/>
                    </a:lnTo>
                    <a:lnTo>
                      <a:pt x="424" y="137"/>
                    </a:lnTo>
                    <a:lnTo>
                      <a:pt x="420" y="138"/>
                    </a:lnTo>
                    <a:lnTo>
                      <a:pt x="415" y="142"/>
                    </a:lnTo>
                    <a:lnTo>
                      <a:pt x="416" y="144"/>
                    </a:lnTo>
                    <a:lnTo>
                      <a:pt x="416" y="145"/>
                    </a:lnTo>
                    <a:lnTo>
                      <a:pt x="415" y="146"/>
                    </a:lnTo>
                    <a:lnTo>
                      <a:pt x="415" y="149"/>
                    </a:lnTo>
                    <a:lnTo>
                      <a:pt x="412" y="153"/>
                    </a:lnTo>
                    <a:close/>
                  </a:path>
                </a:pathLst>
              </a:custGeom>
              <a:solidFill>
                <a:srgbClr val="E7E7E4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71" name="Serbia">
                <a:extLst>
                  <a:ext uri="{FF2B5EF4-FFF2-40B4-BE49-F238E27FC236}">
                    <a16:creationId xmlns:a16="http://schemas.microsoft.com/office/drawing/2014/main" id="{A9A1BE55-3776-4B0B-BBE8-F6C48DE85CA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491284" y="4071206"/>
                <a:ext cx="363798" cy="545061"/>
              </a:xfrm>
              <a:custGeom>
                <a:avLst/>
                <a:gdLst/>
                <a:ahLst/>
                <a:cxnLst/>
                <a:rect l="0" t="0" r="r" b="b"/>
                <a:pathLst>
                  <a:path w="10000" h="10000">
                    <a:moveTo>
                      <a:pt x="3330" y="7976"/>
                    </a:moveTo>
                    <a:cubicBezTo>
                      <a:pt x="3299" y="8030"/>
                      <a:pt x="3220" y="7992"/>
                      <a:pt x="3189" y="8049"/>
                    </a:cubicBezTo>
                    <a:cubicBezTo>
                      <a:pt x="3138" y="8095"/>
                      <a:pt x="3156" y="7930"/>
                      <a:pt x="3104" y="7976"/>
                    </a:cubicBezTo>
                    <a:cubicBezTo>
                      <a:pt x="3091" y="7945"/>
                      <a:pt x="3077" y="7916"/>
                      <a:pt x="3064" y="7886"/>
                    </a:cubicBezTo>
                    <a:cubicBezTo>
                      <a:pt x="3044" y="7923"/>
                      <a:pt x="2907" y="7744"/>
                      <a:pt x="2887" y="7786"/>
                    </a:cubicBezTo>
                    <a:cubicBezTo>
                      <a:pt x="2848" y="7783"/>
                      <a:pt x="2799" y="7763"/>
                      <a:pt x="2761" y="7760"/>
                    </a:cubicBezTo>
                    <a:cubicBezTo>
                      <a:pt x="2781" y="7785"/>
                      <a:pt x="2756" y="7652"/>
                      <a:pt x="2777" y="7677"/>
                    </a:cubicBezTo>
                    <a:cubicBezTo>
                      <a:pt x="2756" y="7693"/>
                      <a:pt x="2689" y="7597"/>
                      <a:pt x="2669" y="7612"/>
                    </a:cubicBezTo>
                    <a:cubicBezTo>
                      <a:pt x="2689" y="7620"/>
                      <a:pt x="2550" y="7747"/>
                      <a:pt x="2571" y="7754"/>
                    </a:cubicBezTo>
                    <a:cubicBezTo>
                      <a:pt x="2540" y="7761"/>
                      <a:pt x="2507" y="7653"/>
                      <a:pt x="2476" y="7661"/>
                    </a:cubicBezTo>
                    <a:cubicBezTo>
                      <a:pt x="2429" y="7686"/>
                      <a:pt x="2385" y="7713"/>
                      <a:pt x="2338" y="7739"/>
                    </a:cubicBezTo>
                    <a:cubicBezTo>
                      <a:pt x="2349" y="7750"/>
                      <a:pt x="2348" y="7657"/>
                      <a:pt x="2359" y="7665"/>
                    </a:cubicBezTo>
                    <a:cubicBezTo>
                      <a:pt x="2326" y="7662"/>
                      <a:pt x="2294" y="7657"/>
                      <a:pt x="2262" y="7654"/>
                    </a:cubicBezTo>
                    <a:cubicBezTo>
                      <a:pt x="2251" y="7595"/>
                      <a:pt x="2228" y="7533"/>
                      <a:pt x="2217" y="7473"/>
                    </a:cubicBezTo>
                    <a:cubicBezTo>
                      <a:pt x="2205" y="7505"/>
                      <a:pt x="2139" y="7540"/>
                      <a:pt x="2128" y="7570"/>
                    </a:cubicBezTo>
                    <a:cubicBezTo>
                      <a:pt x="2091" y="7563"/>
                      <a:pt x="2066" y="7529"/>
                      <a:pt x="2028" y="7522"/>
                    </a:cubicBezTo>
                    <a:cubicBezTo>
                      <a:pt x="1987" y="7490"/>
                      <a:pt x="1968" y="7563"/>
                      <a:pt x="1926" y="7529"/>
                    </a:cubicBezTo>
                    <a:cubicBezTo>
                      <a:pt x="1929" y="7493"/>
                      <a:pt x="1933" y="7460"/>
                      <a:pt x="1936" y="7427"/>
                    </a:cubicBezTo>
                    <a:cubicBezTo>
                      <a:pt x="1897" y="7403"/>
                      <a:pt x="1860" y="7379"/>
                      <a:pt x="1821" y="7356"/>
                    </a:cubicBezTo>
                    <a:lnTo>
                      <a:pt x="1671" y="7320"/>
                    </a:lnTo>
                    <a:cubicBezTo>
                      <a:pt x="1753" y="7288"/>
                      <a:pt x="1693" y="7224"/>
                      <a:pt x="1693" y="7216"/>
                    </a:cubicBezTo>
                    <a:cubicBezTo>
                      <a:pt x="1683" y="7182"/>
                      <a:pt x="1490" y="7123"/>
                      <a:pt x="1480" y="7092"/>
                    </a:cubicBezTo>
                    <a:cubicBezTo>
                      <a:pt x="1463" y="7048"/>
                      <a:pt x="1446" y="7003"/>
                      <a:pt x="1427" y="6958"/>
                    </a:cubicBezTo>
                    <a:cubicBezTo>
                      <a:pt x="1438" y="6936"/>
                      <a:pt x="1310" y="6974"/>
                      <a:pt x="1322" y="6953"/>
                    </a:cubicBezTo>
                    <a:cubicBezTo>
                      <a:pt x="1300" y="6943"/>
                      <a:pt x="1174" y="6833"/>
                      <a:pt x="1154" y="6826"/>
                    </a:cubicBezTo>
                    <a:lnTo>
                      <a:pt x="1040" y="6840"/>
                    </a:lnTo>
                    <a:cubicBezTo>
                      <a:pt x="998" y="6796"/>
                      <a:pt x="957" y="6751"/>
                      <a:pt x="916" y="6707"/>
                    </a:cubicBezTo>
                    <a:cubicBezTo>
                      <a:pt x="910" y="6687"/>
                      <a:pt x="904" y="6666"/>
                      <a:pt x="899" y="6646"/>
                    </a:cubicBezTo>
                    <a:lnTo>
                      <a:pt x="1115" y="6597"/>
                    </a:lnTo>
                    <a:cubicBezTo>
                      <a:pt x="1126" y="6558"/>
                      <a:pt x="1136" y="6519"/>
                      <a:pt x="1146" y="6480"/>
                    </a:cubicBezTo>
                    <a:lnTo>
                      <a:pt x="1363" y="6432"/>
                    </a:lnTo>
                    <a:lnTo>
                      <a:pt x="1580" y="6409"/>
                    </a:lnTo>
                    <a:cubicBezTo>
                      <a:pt x="1621" y="6369"/>
                      <a:pt x="1662" y="6331"/>
                      <a:pt x="1704" y="6293"/>
                    </a:cubicBezTo>
                    <a:cubicBezTo>
                      <a:pt x="1724" y="6239"/>
                      <a:pt x="1745" y="6184"/>
                      <a:pt x="1765" y="6127"/>
                    </a:cubicBezTo>
                    <a:cubicBezTo>
                      <a:pt x="1734" y="6080"/>
                      <a:pt x="1704" y="6032"/>
                      <a:pt x="1672" y="5989"/>
                    </a:cubicBezTo>
                    <a:cubicBezTo>
                      <a:pt x="1621" y="5949"/>
                      <a:pt x="1568" y="5910"/>
                      <a:pt x="1517" y="5870"/>
                    </a:cubicBezTo>
                    <a:lnTo>
                      <a:pt x="1239" y="5634"/>
                    </a:lnTo>
                    <a:cubicBezTo>
                      <a:pt x="1250" y="5579"/>
                      <a:pt x="1260" y="5525"/>
                      <a:pt x="1270" y="5470"/>
                    </a:cubicBezTo>
                    <a:lnTo>
                      <a:pt x="1456" y="5425"/>
                    </a:lnTo>
                    <a:lnTo>
                      <a:pt x="1611" y="5518"/>
                    </a:lnTo>
                    <a:lnTo>
                      <a:pt x="1796" y="5447"/>
                    </a:lnTo>
                    <a:cubicBezTo>
                      <a:pt x="1807" y="5391"/>
                      <a:pt x="1816" y="5336"/>
                      <a:pt x="1828" y="5284"/>
                    </a:cubicBezTo>
                    <a:cubicBezTo>
                      <a:pt x="1786" y="5237"/>
                      <a:pt x="1745" y="5186"/>
                      <a:pt x="1704" y="5142"/>
                    </a:cubicBezTo>
                    <a:lnTo>
                      <a:pt x="1363" y="4955"/>
                    </a:lnTo>
                    <a:cubicBezTo>
                      <a:pt x="1343" y="4900"/>
                      <a:pt x="1322" y="4843"/>
                      <a:pt x="1300" y="4791"/>
                    </a:cubicBezTo>
                    <a:lnTo>
                      <a:pt x="899" y="4672"/>
                    </a:lnTo>
                    <a:cubicBezTo>
                      <a:pt x="868" y="4619"/>
                      <a:pt x="838" y="4562"/>
                      <a:pt x="807" y="4509"/>
                    </a:cubicBezTo>
                    <a:lnTo>
                      <a:pt x="807" y="4343"/>
                    </a:lnTo>
                    <a:cubicBezTo>
                      <a:pt x="847" y="4241"/>
                      <a:pt x="889" y="4140"/>
                      <a:pt x="929" y="4038"/>
                    </a:cubicBezTo>
                    <a:cubicBezTo>
                      <a:pt x="1021" y="3889"/>
                      <a:pt x="1115" y="3743"/>
                      <a:pt x="1208" y="3593"/>
                    </a:cubicBezTo>
                    <a:lnTo>
                      <a:pt x="1363" y="3474"/>
                    </a:lnTo>
                    <a:lnTo>
                      <a:pt x="1363" y="3333"/>
                    </a:lnTo>
                    <a:cubicBezTo>
                      <a:pt x="1312" y="3294"/>
                      <a:pt x="1260" y="3256"/>
                      <a:pt x="1208" y="3217"/>
                    </a:cubicBezTo>
                    <a:lnTo>
                      <a:pt x="991" y="3192"/>
                    </a:lnTo>
                    <a:lnTo>
                      <a:pt x="837" y="3286"/>
                    </a:lnTo>
                    <a:cubicBezTo>
                      <a:pt x="827" y="3256"/>
                      <a:pt x="816" y="3224"/>
                      <a:pt x="807" y="3192"/>
                    </a:cubicBezTo>
                    <a:cubicBezTo>
                      <a:pt x="868" y="3019"/>
                      <a:pt x="931" y="2850"/>
                      <a:pt x="991" y="2676"/>
                    </a:cubicBezTo>
                    <a:lnTo>
                      <a:pt x="1176" y="2584"/>
                    </a:lnTo>
                    <a:lnTo>
                      <a:pt x="1580" y="2513"/>
                    </a:lnTo>
                    <a:lnTo>
                      <a:pt x="1424" y="2395"/>
                    </a:lnTo>
                    <a:lnTo>
                      <a:pt x="1208" y="2345"/>
                    </a:lnTo>
                    <a:lnTo>
                      <a:pt x="991" y="2302"/>
                    </a:lnTo>
                    <a:lnTo>
                      <a:pt x="620" y="2112"/>
                    </a:lnTo>
                    <a:lnTo>
                      <a:pt x="620" y="1949"/>
                    </a:lnTo>
                    <a:cubicBezTo>
                      <a:pt x="579" y="1901"/>
                      <a:pt x="536" y="1855"/>
                      <a:pt x="496" y="1809"/>
                    </a:cubicBezTo>
                    <a:lnTo>
                      <a:pt x="496" y="1644"/>
                    </a:lnTo>
                    <a:lnTo>
                      <a:pt x="311" y="1549"/>
                    </a:lnTo>
                    <a:lnTo>
                      <a:pt x="311" y="1385"/>
                    </a:lnTo>
                    <a:cubicBezTo>
                      <a:pt x="321" y="1339"/>
                      <a:pt x="331" y="1292"/>
                      <a:pt x="341" y="1245"/>
                    </a:cubicBezTo>
                    <a:cubicBezTo>
                      <a:pt x="310" y="1196"/>
                      <a:pt x="279" y="1149"/>
                      <a:pt x="248" y="1104"/>
                    </a:cubicBezTo>
                    <a:cubicBezTo>
                      <a:pt x="228" y="1057"/>
                      <a:pt x="207" y="1008"/>
                      <a:pt x="187" y="962"/>
                    </a:cubicBezTo>
                    <a:cubicBezTo>
                      <a:pt x="145" y="915"/>
                      <a:pt x="104" y="871"/>
                      <a:pt x="63" y="821"/>
                    </a:cubicBezTo>
                    <a:cubicBezTo>
                      <a:pt x="43" y="758"/>
                      <a:pt x="20" y="698"/>
                      <a:pt x="0" y="631"/>
                    </a:cubicBezTo>
                    <a:lnTo>
                      <a:pt x="0" y="609"/>
                    </a:lnTo>
                    <a:lnTo>
                      <a:pt x="32" y="609"/>
                    </a:lnTo>
                    <a:cubicBezTo>
                      <a:pt x="52" y="601"/>
                      <a:pt x="74" y="593"/>
                      <a:pt x="94" y="586"/>
                    </a:cubicBezTo>
                    <a:lnTo>
                      <a:pt x="124" y="586"/>
                    </a:lnTo>
                    <a:lnTo>
                      <a:pt x="341" y="609"/>
                    </a:lnTo>
                    <a:cubicBezTo>
                      <a:pt x="331" y="594"/>
                      <a:pt x="321" y="578"/>
                      <a:pt x="311" y="564"/>
                    </a:cubicBezTo>
                    <a:cubicBezTo>
                      <a:pt x="331" y="549"/>
                      <a:pt x="351" y="532"/>
                      <a:pt x="372" y="516"/>
                    </a:cubicBezTo>
                    <a:lnTo>
                      <a:pt x="403" y="516"/>
                    </a:lnTo>
                    <a:cubicBezTo>
                      <a:pt x="435" y="525"/>
                      <a:pt x="465" y="533"/>
                      <a:pt x="496" y="541"/>
                    </a:cubicBezTo>
                    <a:lnTo>
                      <a:pt x="496" y="423"/>
                    </a:lnTo>
                    <a:cubicBezTo>
                      <a:pt x="527" y="409"/>
                      <a:pt x="558" y="393"/>
                      <a:pt x="589" y="377"/>
                    </a:cubicBezTo>
                    <a:lnTo>
                      <a:pt x="620" y="377"/>
                    </a:lnTo>
                    <a:cubicBezTo>
                      <a:pt x="630" y="385"/>
                      <a:pt x="640" y="393"/>
                      <a:pt x="651" y="401"/>
                    </a:cubicBezTo>
                    <a:cubicBezTo>
                      <a:pt x="661" y="423"/>
                      <a:pt x="672" y="445"/>
                      <a:pt x="683" y="468"/>
                    </a:cubicBezTo>
                    <a:lnTo>
                      <a:pt x="713" y="468"/>
                    </a:lnTo>
                    <a:lnTo>
                      <a:pt x="1022" y="468"/>
                    </a:lnTo>
                    <a:lnTo>
                      <a:pt x="1022" y="445"/>
                    </a:lnTo>
                    <a:lnTo>
                      <a:pt x="1022" y="401"/>
                    </a:lnTo>
                    <a:cubicBezTo>
                      <a:pt x="1032" y="393"/>
                      <a:pt x="1043" y="385"/>
                      <a:pt x="1052" y="377"/>
                    </a:cubicBezTo>
                    <a:cubicBezTo>
                      <a:pt x="1094" y="359"/>
                      <a:pt x="1136" y="345"/>
                      <a:pt x="1176" y="329"/>
                    </a:cubicBezTo>
                    <a:lnTo>
                      <a:pt x="1270" y="329"/>
                    </a:lnTo>
                    <a:lnTo>
                      <a:pt x="1300" y="329"/>
                    </a:lnTo>
                    <a:cubicBezTo>
                      <a:pt x="1312" y="308"/>
                      <a:pt x="1322" y="282"/>
                      <a:pt x="1332" y="257"/>
                    </a:cubicBezTo>
                    <a:lnTo>
                      <a:pt x="1424" y="257"/>
                    </a:lnTo>
                    <a:cubicBezTo>
                      <a:pt x="1446" y="234"/>
                      <a:pt x="1467" y="211"/>
                      <a:pt x="1487" y="186"/>
                    </a:cubicBezTo>
                    <a:cubicBezTo>
                      <a:pt x="1518" y="172"/>
                      <a:pt x="1548" y="156"/>
                      <a:pt x="1580" y="142"/>
                    </a:cubicBezTo>
                    <a:cubicBezTo>
                      <a:pt x="1569" y="135"/>
                      <a:pt x="1559" y="127"/>
                      <a:pt x="1548" y="118"/>
                    </a:cubicBezTo>
                    <a:lnTo>
                      <a:pt x="1548" y="93"/>
                    </a:lnTo>
                    <a:cubicBezTo>
                      <a:pt x="1580" y="77"/>
                      <a:pt x="1610" y="60"/>
                      <a:pt x="1641" y="44"/>
                    </a:cubicBezTo>
                    <a:cubicBezTo>
                      <a:pt x="1652" y="35"/>
                      <a:pt x="1661" y="28"/>
                      <a:pt x="1672" y="21"/>
                    </a:cubicBezTo>
                    <a:cubicBezTo>
                      <a:pt x="1683" y="14"/>
                      <a:pt x="1692" y="7"/>
                      <a:pt x="1704" y="0"/>
                    </a:cubicBezTo>
                    <a:lnTo>
                      <a:pt x="1828" y="0"/>
                    </a:lnTo>
                    <a:lnTo>
                      <a:pt x="1920" y="0"/>
                    </a:lnTo>
                    <a:lnTo>
                      <a:pt x="2044" y="0"/>
                    </a:lnTo>
                    <a:lnTo>
                      <a:pt x="2292" y="118"/>
                    </a:lnTo>
                    <a:cubicBezTo>
                      <a:pt x="2332" y="93"/>
                      <a:pt x="2375" y="69"/>
                      <a:pt x="2416" y="44"/>
                    </a:cubicBezTo>
                    <a:lnTo>
                      <a:pt x="2663" y="0"/>
                    </a:lnTo>
                    <a:lnTo>
                      <a:pt x="2756" y="21"/>
                    </a:lnTo>
                    <a:cubicBezTo>
                      <a:pt x="2797" y="45"/>
                      <a:pt x="2839" y="68"/>
                      <a:pt x="2880" y="93"/>
                    </a:cubicBezTo>
                    <a:cubicBezTo>
                      <a:pt x="2932" y="70"/>
                      <a:pt x="2982" y="45"/>
                      <a:pt x="3034" y="21"/>
                    </a:cubicBezTo>
                    <a:cubicBezTo>
                      <a:pt x="3054" y="44"/>
                      <a:pt x="3076" y="67"/>
                      <a:pt x="3096" y="93"/>
                    </a:cubicBezTo>
                    <a:lnTo>
                      <a:pt x="3220" y="44"/>
                    </a:lnTo>
                    <a:lnTo>
                      <a:pt x="3376" y="142"/>
                    </a:lnTo>
                    <a:lnTo>
                      <a:pt x="3592" y="377"/>
                    </a:lnTo>
                    <a:lnTo>
                      <a:pt x="3592" y="423"/>
                    </a:lnTo>
                    <a:cubicBezTo>
                      <a:pt x="3601" y="437"/>
                      <a:pt x="3612" y="452"/>
                      <a:pt x="3622" y="468"/>
                    </a:cubicBezTo>
                    <a:cubicBezTo>
                      <a:pt x="3643" y="485"/>
                      <a:pt x="3665" y="500"/>
                      <a:pt x="3685" y="516"/>
                    </a:cubicBezTo>
                    <a:cubicBezTo>
                      <a:pt x="3725" y="525"/>
                      <a:pt x="3768" y="532"/>
                      <a:pt x="3809" y="541"/>
                    </a:cubicBezTo>
                    <a:lnTo>
                      <a:pt x="3964" y="631"/>
                    </a:lnTo>
                    <a:lnTo>
                      <a:pt x="4118" y="655"/>
                    </a:lnTo>
                    <a:cubicBezTo>
                      <a:pt x="4138" y="673"/>
                      <a:pt x="4160" y="691"/>
                      <a:pt x="4181" y="708"/>
                    </a:cubicBezTo>
                    <a:cubicBezTo>
                      <a:pt x="4201" y="736"/>
                      <a:pt x="4221" y="767"/>
                      <a:pt x="4241" y="799"/>
                    </a:cubicBezTo>
                    <a:cubicBezTo>
                      <a:pt x="4274" y="813"/>
                      <a:pt x="4303" y="829"/>
                      <a:pt x="4334" y="845"/>
                    </a:cubicBezTo>
                    <a:cubicBezTo>
                      <a:pt x="4345" y="878"/>
                      <a:pt x="4355" y="908"/>
                      <a:pt x="4365" y="939"/>
                    </a:cubicBezTo>
                    <a:cubicBezTo>
                      <a:pt x="4386" y="962"/>
                      <a:pt x="4408" y="985"/>
                      <a:pt x="4428" y="1012"/>
                    </a:cubicBezTo>
                    <a:cubicBezTo>
                      <a:pt x="4449" y="1033"/>
                      <a:pt x="4469" y="1058"/>
                      <a:pt x="4489" y="1080"/>
                    </a:cubicBezTo>
                    <a:lnTo>
                      <a:pt x="4552" y="1080"/>
                    </a:lnTo>
                    <a:cubicBezTo>
                      <a:pt x="4573" y="1058"/>
                      <a:pt x="4593" y="1033"/>
                      <a:pt x="4613" y="1012"/>
                    </a:cubicBezTo>
                    <a:lnTo>
                      <a:pt x="4675" y="1012"/>
                    </a:lnTo>
                    <a:lnTo>
                      <a:pt x="4675" y="1080"/>
                    </a:lnTo>
                    <a:cubicBezTo>
                      <a:pt x="4666" y="1096"/>
                      <a:pt x="4654" y="1113"/>
                      <a:pt x="4644" y="1128"/>
                    </a:cubicBezTo>
                    <a:cubicBezTo>
                      <a:pt x="4654" y="1180"/>
                      <a:pt x="4666" y="1237"/>
                      <a:pt x="4675" y="1292"/>
                    </a:cubicBezTo>
                    <a:cubicBezTo>
                      <a:pt x="4654" y="1313"/>
                      <a:pt x="4634" y="1339"/>
                      <a:pt x="4613" y="1361"/>
                    </a:cubicBezTo>
                    <a:lnTo>
                      <a:pt x="4613" y="1408"/>
                    </a:lnTo>
                    <a:cubicBezTo>
                      <a:pt x="4654" y="1465"/>
                      <a:pt x="4697" y="1518"/>
                      <a:pt x="4737" y="1574"/>
                    </a:cubicBezTo>
                    <a:lnTo>
                      <a:pt x="4737" y="1596"/>
                    </a:lnTo>
                    <a:cubicBezTo>
                      <a:pt x="4717" y="1611"/>
                      <a:pt x="4696" y="1626"/>
                      <a:pt x="4675" y="1644"/>
                    </a:cubicBezTo>
                    <a:cubicBezTo>
                      <a:pt x="4654" y="1651"/>
                      <a:pt x="4634" y="1659"/>
                      <a:pt x="4613" y="1666"/>
                    </a:cubicBezTo>
                    <a:cubicBezTo>
                      <a:pt x="4624" y="1682"/>
                      <a:pt x="4634" y="1698"/>
                      <a:pt x="4644" y="1713"/>
                    </a:cubicBezTo>
                    <a:lnTo>
                      <a:pt x="4799" y="1760"/>
                    </a:lnTo>
                    <a:lnTo>
                      <a:pt x="4799" y="1783"/>
                    </a:lnTo>
                    <a:cubicBezTo>
                      <a:pt x="4810" y="1809"/>
                      <a:pt x="4819" y="1831"/>
                      <a:pt x="4830" y="1854"/>
                    </a:cubicBezTo>
                    <a:lnTo>
                      <a:pt x="5016" y="1949"/>
                    </a:lnTo>
                    <a:cubicBezTo>
                      <a:pt x="5058" y="1981"/>
                      <a:pt x="5099" y="2010"/>
                      <a:pt x="5140" y="2043"/>
                    </a:cubicBezTo>
                    <a:cubicBezTo>
                      <a:pt x="5171" y="2059"/>
                      <a:pt x="5202" y="2075"/>
                      <a:pt x="5233" y="2089"/>
                    </a:cubicBezTo>
                    <a:cubicBezTo>
                      <a:pt x="5243" y="2104"/>
                      <a:pt x="5253" y="2120"/>
                      <a:pt x="5263" y="2138"/>
                    </a:cubicBezTo>
                    <a:lnTo>
                      <a:pt x="5387" y="2160"/>
                    </a:lnTo>
                    <a:cubicBezTo>
                      <a:pt x="5397" y="2167"/>
                      <a:pt x="5407" y="2175"/>
                      <a:pt x="5418" y="2183"/>
                    </a:cubicBezTo>
                    <a:lnTo>
                      <a:pt x="5542" y="2160"/>
                    </a:lnTo>
                    <a:cubicBezTo>
                      <a:pt x="5583" y="2191"/>
                      <a:pt x="5624" y="2223"/>
                      <a:pt x="5666" y="2254"/>
                    </a:cubicBezTo>
                    <a:lnTo>
                      <a:pt x="5822" y="2323"/>
                    </a:lnTo>
                    <a:lnTo>
                      <a:pt x="5944" y="2345"/>
                    </a:lnTo>
                    <a:cubicBezTo>
                      <a:pt x="5986" y="2354"/>
                      <a:pt x="6027" y="2364"/>
                      <a:pt x="6068" y="2373"/>
                    </a:cubicBezTo>
                    <a:lnTo>
                      <a:pt x="6161" y="2373"/>
                    </a:lnTo>
                    <a:cubicBezTo>
                      <a:pt x="6182" y="2394"/>
                      <a:pt x="6202" y="2418"/>
                      <a:pt x="6223" y="2440"/>
                    </a:cubicBezTo>
                    <a:cubicBezTo>
                      <a:pt x="6254" y="2448"/>
                      <a:pt x="6284" y="2458"/>
                      <a:pt x="6315" y="2465"/>
                    </a:cubicBezTo>
                    <a:cubicBezTo>
                      <a:pt x="6326" y="2482"/>
                      <a:pt x="6337" y="2497"/>
                      <a:pt x="6347" y="2513"/>
                    </a:cubicBezTo>
                    <a:cubicBezTo>
                      <a:pt x="6368" y="2520"/>
                      <a:pt x="6389" y="2528"/>
                      <a:pt x="6409" y="2536"/>
                    </a:cubicBezTo>
                    <a:lnTo>
                      <a:pt x="6409" y="2608"/>
                    </a:lnTo>
                    <a:lnTo>
                      <a:pt x="6315" y="2630"/>
                    </a:lnTo>
                    <a:cubicBezTo>
                      <a:pt x="6295" y="2637"/>
                      <a:pt x="6275" y="2647"/>
                      <a:pt x="6254" y="2654"/>
                    </a:cubicBezTo>
                    <a:cubicBezTo>
                      <a:pt x="6265" y="2669"/>
                      <a:pt x="6275" y="2683"/>
                      <a:pt x="6285" y="2699"/>
                    </a:cubicBezTo>
                    <a:cubicBezTo>
                      <a:pt x="6265" y="2724"/>
                      <a:pt x="6244" y="2746"/>
                      <a:pt x="6223" y="2768"/>
                    </a:cubicBezTo>
                    <a:lnTo>
                      <a:pt x="6223" y="2817"/>
                    </a:lnTo>
                    <a:lnTo>
                      <a:pt x="6037" y="2864"/>
                    </a:lnTo>
                    <a:lnTo>
                      <a:pt x="6037" y="2887"/>
                    </a:lnTo>
                    <a:cubicBezTo>
                      <a:pt x="6048" y="2902"/>
                      <a:pt x="6058" y="2918"/>
                      <a:pt x="6068" y="2936"/>
                    </a:cubicBezTo>
                    <a:lnTo>
                      <a:pt x="6161" y="2936"/>
                    </a:lnTo>
                    <a:cubicBezTo>
                      <a:pt x="6151" y="2952"/>
                      <a:pt x="6141" y="2967"/>
                      <a:pt x="6130" y="2982"/>
                    </a:cubicBezTo>
                    <a:cubicBezTo>
                      <a:pt x="6151" y="2989"/>
                      <a:pt x="6172" y="2997"/>
                      <a:pt x="6192" y="3005"/>
                    </a:cubicBezTo>
                    <a:lnTo>
                      <a:pt x="6285" y="3005"/>
                    </a:lnTo>
                    <a:lnTo>
                      <a:pt x="6471" y="3055"/>
                    </a:lnTo>
                    <a:cubicBezTo>
                      <a:pt x="6482" y="3077"/>
                      <a:pt x="6491" y="3100"/>
                      <a:pt x="6502" y="3124"/>
                    </a:cubicBezTo>
                    <a:lnTo>
                      <a:pt x="6502" y="3170"/>
                    </a:lnTo>
                    <a:cubicBezTo>
                      <a:pt x="6462" y="3186"/>
                      <a:pt x="6419" y="3201"/>
                      <a:pt x="6378" y="3217"/>
                    </a:cubicBezTo>
                    <a:lnTo>
                      <a:pt x="6161" y="3217"/>
                    </a:lnTo>
                    <a:cubicBezTo>
                      <a:pt x="6130" y="3224"/>
                      <a:pt x="6100" y="3232"/>
                      <a:pt x="6068" y="3239"/>
                    </a:cubicBezTo>
                    <a:lnTo>
                      <a:pt x="6037" y="3239"/>
                    </a:lnTo>
                    <a:lnTo>
                      <a:pt x="6037" y="3359"/>
                    </a:lnTo>
                    <a:cubicBezTo>
                      <a:pt x="6048" y="3366"/>
                      <a:pt x="6058" y="3374"/>
                      <a:pt x="6068" y="3381"/>
                    </a:cubicBezTo>
                    <a:cubicBezTo>
                      <a:pt x="6079" y="3405"/>
                      <a:pt x="6090" y="3428"/>
                      <a:pt x="6099" y="3453"/>
                    </a:cubicBezTo>
                    <a:cubicBezTo>
                      <a:pt x="6110" y="3460"/>
                      <a:pt x="6120" y="3467"/>
                      <a:pt x="6130" y="3474"/>
                    </a:cubicBezTo>
                    <a:lnTo>
                      <a:pt x="6439" y="3474"/>
                    </a:lnTo>
                    <a:cubicBezTo>
                      <a:pt x="6481" y="3483"/>
                      <a:pt x="6522" y="3490"/>
                      <a:pt x="6563" y="3498"/>
                    </a:cubicBezTo>
                    <a:cubicBezTo>
                      <a:pt x="6574" y="3507"/>
                      <a:pt x="6583" y="3515"/>
                      <a:pt x="6595" y="3522"/>
                    </a:cubicBezTo>
                    <a:cubicBezTo>
                      <a:pt x="6615" y="3554"/>
                      <a:pt x="6637" y="3584"/>
                      <a:pt x="6657" y="3614"/>
                    </a:cubicBezTo>
                    <a:lnTo>
                      <a:pt x="6657" y="3709"/>
                    </a:lnTo>
                    <a:cubicBezTo>
                      <a:pt x="6677" y="3723"/>
                      <a:pt x="6698" y="3743"/>
                      <a:pt x="6719" y="3757"/>
                    </a:cubicBezTo>
                    <a:cubicBezTo>
                      <a:pt x="6750" y="3750"/>
                      <a:pt x="6780" y="3742"/>
                      <a:pt x="6811" y="3731"/>
                    </a:cubicBezTo>
                    <a:cubicBezTo>
                      <a:pt x="6842" y="3742"/>
                      <a:pt x="6873" y="3750"/>
                      <a:pt x="6904" y="3757"/>
                    </a:cubicBezTo>
                    <a:lnTo>
                      <a:pt x="6998" y="3757"/>
                    </a:lnTo>
                    <a:lnTo>
                      <a:pt x="7122" y="3757"/>
                    </a:lnTo>
                    <a:lnTo>
                      <a:pt x="7214" y="3757"/>
                    </a:lnTo>
                    <a:lnTo>
                      <a:pt x="7554" y="3804"/>
                    </a:lnTo>
                    <a:cubicBezTo>
                      <a:pt x="7575" y="3841"/>
                      <a:pt x="7595" y="3882"/>
                      <a:pt x="7615" y="3919"/>
                    </a:cubicBezTo>
                    <a:cubicBezTo>
                      <a:pt x="7627" y="3953"/>
                      <a:pt x="7637" y="3985"/>
                      <a:pt x="7647" y="4014"/>
                    </a:cubicBezTo>
                    <a:cubicBezTo>
                      <a:pt x="7678" y="4028"/>
                      <a:pt x="7708" y="4045"/>
                      <a:pt x="7739" y="4061"/>
                    </a:cubicBezTo>
                    <a:cubicBezTo>
                      <a:pt x="7761" y="4086"/>
                      <a:pt x="7782" y="4107"/>
                      <a:pt x="7802" y="4133"/>
                    </a:cubicBezTo>
                    <a:cubicBezTo>
                      <a:pt x="7833" y="4156"/>
                      <a:pt x="7863" y="4180"/>
                      <a:pt x="7895" y="4203"/>
                    </a:cubicBezTo>
                    <a:lnTo>
                      <a:pt x="8019" y="4203"/>
                    </a:lnTo>
                    <a:cubicBezTo>
                      <a:pt x="8060" y="4132"/>
                      <a:pt x="8101" y="4063"/>
                      <a:pt x="8143" y="3992"/>
                    </a:cubicBezTo>
                    <a:cubicBezTo>
                      <a:pt x="8174" y="3961"/>
                      <a:pt x="8204" y="3928"/>
                      <a:pt x="8235" y="3898"/>
                    </a:cubicBezTo>
                    <a:lnTo>
                      <a:pt x="8235" y="3851"/>
                    </a:lnTo>
                    <a:cubicBezTo>
                      <a:pt x="8255" y="3834"/>
                      <a:pt x="8278" y="3820"/>
                      <a:pt x="8298" y="3804"/>
                    </a:cubicBezTo>
                    <a:cubicBezTo>
                      <a:pt x="8308" y="3789"/>
                      <a:pt x="8318" y="3772"/>
                      <a:pt x="8328" y="3757"/>
                    </a:cubicBezTo>
                    <a:lnTo>
                      <a:pt x="8514" y="3709"/>
                    </a:lnTo>
                    <a:cubicBezTo>
                      <a:pt x="8546" y="3678"/>
                      <a:pt x="8576" y="3648"/>
                      <a:pt x="8607" y="3614"/>
                    </a:cubicBezTo>
                    <a:lnTo>
                      <a:pt x="8700" y="3614"/>
                    </a:lnTo>
                    <a:lnTo>
                      <a:pt x="8731" y="3614"/>
                    </a:lnTo>
                    <a:cubicBezTo>
                      <a:pt x="8762" y="3648"/>
                      <a:pt x="8793" y="3678"/>
                      <a:pt x="8824" y="3709"/>
                    </a:cubicBezTo>
                    <a:lnTo>
                      <a:pt x="9009" y="3828"/>
                    </a:lnTo>
                    <a:cubicBezTo>
                      <a:pt x="9029" y="3835"/>
                      <a:pt x="9051" y="3844"/>
                      <a:pt x="9072" y="3851"/>
                    </a:cubicBezTo>
                    <a:lnTo>
                      <a:pt x="9196" y="3851"/>
                    </a:lnTo>
                    <a:cubicBezTo>
                      <a:pt x="9226" y="3867"/>
                      <a:pt x="9256" y="3883"/>
                      <a:pt x="9287" y="3898"/>
                    </a:cubicBezTo>
                    <a:cubicBezTo>
                      <a:pt x="9329" y="3937"/>
                      <a:pt x="9371" y="3975"/>
                      <a:pt x="9411" y="4014"/>
                    </a:cubicBezTo>
                    <a:lnTo>
                      <a:pt x="9411" y="4061"/>
                    </a:lnTo>
                    <a:lnTo>
                      <a:pt x="9256" y="4085"/>
                    </a:lnTo>
                    <a:lnTo>
                      <a:pt x="9103" y="4038"/>
                    </a:lnTo>
                    <a:lnTo>
                      <a:pt x="9009" y="4038"/>
                    </a:lnTo>
                    <a:cubicBezTo>
                      <a:pt x="8978" y="4054"/>
                      <a:pt x="8948" y="4070"/>
                      <a:pt x="8917" y="4085"/>
                    </a:cubicBezTo>
                    <a:cubicBezTo>
                      <a:pt x="8907" y="4124"/>
                      <a:pt x="8895" y="4165"/>
                      <a:pt x="8886" y="4203"/>
                    </a:cubicBezTo>
                    <a:lnTo>
                      <a:pt x="8731" y="4203"/>
                    </a:lnTo>
                    <a:lnTo>
                      <a:pt x="8700" y="4203"/>
                    </a:lnTo>
                    <a:cubicBezTo>
                      <a:pt x="8689" y="4210"/>
                      <a:pt x="8679" y="4219"/>
                      <a:pt x="8669" y="4227"/>
                    </a:cubicBezTo>
                    <a:cubicBezTo>
                      <a:pt x="8679" y="4241"/>
                      <a:pt x="8689" y="4257"/>
                      <a:pt x="8700" y="4273"/>
                    </a:cubicBezTo>
                    <a:cubicBezTo>
                      <a:pt x="8731" y="4296"/>
                      <a:pt x="8761" y="4321"/>
                      <a:pt x="8793" y="4343"/>
                    </a:cubicBezTo>
                    <a:lnTo>
                      <a:pt x="8793" y="4436"/>
                    </a:lnTo>
                    <a:cubicBezTo>
                      <a:pt x="8833" y="4484"/>
                      <a:pt x="8875" y="4529"/>
                      <a:pt x="8917" y="4576"/>
                    </a:cubicBezTo>
                    <a:cubicBezTo>
                      <a:pt x="8937" y="4592"/>
                      <a:pt x="8958" y="4608"/>
                      <a:pt x="8979" y="4627"/>
                    </a:cubicBezTo>
                    <a:lnTo>
                      <a:pt x="9165" y="4672"/>
                    </a:lnTo>
                    <a:cubicBezTo>
                      <a:pt x="9196" y="4688"/>
                      <a:pt x="9225" y="4706"/>
                      <a:pt x="9256" y="4720"/>
                    </a:cubicBezTo>
                    <a:lnTo>
                      <a:pt x="9256" y="4742"/>
                    </a:lnTo>
                    <a:cubicBezTo>
                      <a:pt x="9247" y="4765"/>
                      <a:pt x="9236" y="4791"/>
                      <a:pt x="9226" y="4813"/>
                    </a:cubicBezTo>
                    <a:lnTo>
                      <a:pt x="9226" y="4836"/>
                    </a:lnTo>
                    <a:cubicBezTo>
                      <a:pt x="9206" y="4843"/>
                      <a:pt x="9185" y="4851"/>
                      <a:pt x="9165" y="4858"/>
                    </a:cubicBezTo>
                    <a:cubicBezTo>
                      <a:pt x="9153" y="4882"/>
                      <a:pt x="9143" y="4908"/>
                      <a:pt x="9132" y="4931"/>
                    </a:cubicBezTo>
                    <a:cubicBezTo>
                      <a:pt x="9112" y="4939"/>
                      <a:pt x="9092" y="4948"/>
                      <a:pt x="9072" y="4955"/>
                    </a:cubicBezTo>
                    <a:cubicBezTo>
                      <a:pt x="9082" y="4969"/>
                      <a:pt x="9092" y="4983"/>
                      <a:pt x="9103" y="4997"/>
                    </a:cubicBezTo>
                    <a:cubicBezTo>
                      <a:pt x="9092" y="5031"/>
                      <a:pt x="9082" y="5065"/>
                      <a:pt x="9072" y="5096"/>
                    </a:cubicBezTo>
                    <a:lnTo>
                      <a:pt x="9072" y="5215"/>
                    </a:lnTo>
                    <a:lnTo>
                      <a:pt x="8917" y="5238"/>
                    </a:lnTo>
                    <a:lnTo>
                      <a:pt x="8886" y="5238"/>
                    </a:lnTo>
                    <a:lnTo>
                      <a:pt x="8886" y="5284"/>
                    </a:lnTo>
                    <a:cubicBezTo>
                      <a:pt x="8875" y="5298"/>
                      <a:pt x="8865" y="5312"/>
                      <a:pt x="8855" y="5328"/>
                    </a:cubicBezTo>
                    <a:lnTo>
                      <a:pt x="8669" y="5328"/>
                    </a:lnTo>
                    <a:cubicBezTo>
                      <a:pt x="8637" y="5343"/>
                      <a:pt x="8607" y="5363"/>
                      <a:pt x="8576" y="5377"/>
                    </a:cubicBezTo>
                    <a:lnTo>
                      <a:pt x="8576" y="5518"/>
                    </a:lnTo>
                    <a:cubicBezTo>
                      <a:pt x="8556" y="5533"/>
                      <a:pt x="8535" y="5548"/>
                      <a:pt x="8514" y="5562"/>
                    </a:cubicBezTo>
                    <a:cubicBezTo>
                      <a:pt x="8525" y="5579"/>
                      <a:pt x="8535" y="5595"/>
                      <a:pt x="8545" y="5612"/>
                    </a:cubicBezTo>
                    <a:cubicBezTo>
                      <a:pt x="8535" y="5643"/>
                      <a:pt x="8525" y="5675"/>
                      <a:pt x="8514" y="5706"/>
                    </a:cubicBezTo>
                    <a:cubicBezTo>
                      <a:pt x="8494" y="5753"/>
                      <a:pt x="8472" y="5799"/>
                      <a:pt x="8452" y="5847"/>
                    </a:cubicBezTo>
                    <a:cubicBezTo>
                      <a:pt x="8472" y="5884"/>
                      <a:pt x="8494" y="5920"/>
                      <a:pt x="8514" y="5964"/>
                    </a:cubicBezTo>
                    <a:lnTo>
                      <a:pt x="8545" y="5964"/>
                    </a:lnTo>
                    <a:lnTo>
                      <a:pt x="8545" y="6033"/>
                    </a:lnTo>
                    <a:cubicBezTo>
                      <a:pt x="8565" y="6073"/>
                      <a:pt x="8587" y="6112"/>
                      <a:pt x="8607" y="6152"/>
                    </a:cubicBezTo>
                    <a:cubicBezTo>
                      <a:pt x="8638" y="6184"/>
                      <a:pt x="8669" y="6215"/>
                      <a:pt x="8700" y="6246"/>
                    </a:cubicBezTo>
                    <a:lnTo>
                      <a:pt x="8762" y="6246"/>
                    </a:lnTo>
                    <a:cubicBezTo>
                      <a:pt x="8771" y="6254"/>
                      <a:pt x="8783" y="6261"/>
                      <a:pt x="8793" y="6269"/>
                    </a:cubicBezTo>
                    <a:cubicBezTo>
                      <a:pt x="8783" y="6293"/>
                      <a:pt x="8771" y="6315"/>
                      <a:pt x="8762" y="6338"/>
                    </a:cubicBezTo>
                    <a:cubicBezTo>
                      <a:pt x="8771" y="6345"/>
                      <a:pt x="8783" y="6352"/>
                      <a:pt x="8793" y="6361"/>
                    </a:cubicBezTo>
                    <a:cubicBezTo>
                      <a:pt x="8783" y="6369"/>
                      <a:pt x="8771" y="6378"/>
                      <a:pt x="8762" y="6387"/>
                    </a:cubicBezTo>
                    <a:cubicBezTo>
                      <a:pt x="8771" y="6395"/>
                      <a:pt x="8783" y="6402"/>
                      <a:pt x="8793" y="6409"/>
                    </a:cubicBezTo>
                    <a:cubicBezTo>
                      <a:pt x="8783" y="6425"/>
                      <a:pt x="8771" y="6439"/>
                      <a:pt x="8762" y="6455"/>
                    </a:cubicBezTo>
                    <a:cubicBezTo>
                      <a:pt x="8783" y="6471"/>
                      <a:pt x="8803" y="6488"/>
                      <a:pt x="8824" y="6503"/>
                    </a:cubicBezTo>
                    <a:lnTo>
                      <a:pt x="8824" y="6597"/>
                    </a:lnTo>
                    <a:cubicBezTo>
                      <a:pt x="8844" y="6638"/>
                      <a:pt x="8865" y="6675"/>
                      <a:pt x="8886" y="6715"/>
                    </a:cubicBezTo>
                    <a:lnTo>
                      <a:pt x="8979" y="6715"/>
                    </a:lnTo>
                    <a:cubicBezTo>
                      <a:pt x="8988" y="6732"/>
                      <a:pt x="8999" y="6746"/>
                      <a:pt x="9009" y="6761"/>
                    </a:cubicBezTo>
                    <a:cubicBezTo>
                      <a:pt x="9041" y="6776"/>
                      <a:pt x="9072" y="6794"/>
                      <a:pt x="9103" y="6809"/>
                    </a:cubicBezTo>
                    <a:cubicBezTo>
                      <a:pt x="9123" y="6802"/>
                      <a:pt x="9143" y="6794"/>
                      <a:pt x="9165" y="6786"/>
                    </a:cubicBezTo>
                    <a:cubicBezTo>
                      <a:pt x="9196" y="6817"/>
                      <a:pt x="9225" y="6848"/>
                      <a:pt x="9256" y="6878"/>
                    </a:cubicBezTo>
                    <a:lnTo>
                      <a:pt x="9319" y="6878"/>
                    </a:lnTo>
                    <a:cubicBezTo>
                      <a:pt x="9350" y="6885"/>
                      <a:pt x="9380" y="6893"/>
                      <a:pt x="9411" y="6901"/>
                    </a:cubicBezTo>
                    <a:cubicBezTo>
                      <a:pt x="9443" y="6933"/>
                      <a:pt x="9473" y="6966"/>
                      <a:pt x="9504" y="6997"/>
                    </a:cubicBezTo>
                    <a:cubicBezTo>
                      <a:pt x="9535" y="7012"/>
                      <a:pt x="9566" y="7029"/>
                      <a:pt x="9597" y="7043"/>
                    </a:cubicBezTo>
                    <a:cubicBezTo>
                      <a:pt x="9608" y="7083"/>
                      <a:pt x="9618" y="7123"/>
                      <a:pt x="9628" y="7159"/>
                    </a:cubicBezTo>
                    <a:lnTo>
                      <a:pt x="9691" y="7183"/>
                    </a:lnTo>
                    <a:cubicBezTo>
                      <a:pt x="9711" y="7223"/>
                      <a:pt x="9732" y="7262"/>
                      <a:pt x="9752" y="7302"/>
                    </a:cubicBezTo>
                    <a:cubicBezTo>
                      <a:pt x="9772" y="7310"/>
                      <a:pt x="9794" y="7319"/>
                      <a:pt x="9815" y="7326"/>
                    </a:cubicBezTo>
                    <a:cubicBezTo>
                      <a:pt x="9825" y="7333"/>
                      <a:pt x="9835" y="7341"/>
                      <a:pt x="9845" y="7348"/>
                    </a:cubicBezTo>
                    <a:lnTo>
                      <a:pt x="9939" y="7348"/>
                    </a:lnTo>
                    <a:cubicBezTo>
                      <a:pt x="9959" y="7356"/>
                      <a:pt x="9980" y="7366"/>
                      <a:pt x="10000" y="7373"/>
                    </a:cubicBezTo>
                    <a:cubicBezTo>
                      <a:pt x="9989" y="7389"/>
                      <a:pt x="9980" y="7404"/>
                      <a:pt x="9969" y="7418"/>
                    </a:cubicBezTo>
                    <a:lnTo>
                      <a:pt x="9969" y="7537"/>
                    </a:lnTo>
                    <a:cubicBezTo>
                      <a:pt x="9938" y="7567"/>
                      <a:pt x="9907" y="7598"/>
                      <a:pt x="9876" y="7629"/>
                    </a:cubicBezTo>
                    <a:lnTo>
                      <a:pt x="9815" y="7653"/>
                    </a:lnTo>
                    <a:cubicBezTo>
                      <a:pt x="9794" y="7685"/>
                      <a:pt x="9772" y="7716"/>
                      <a:pt x="9752" y="7747"/>
                    </a:cubicBezTo>
                    <a:cubicBezTo>
                      <a:pt x="9732" y="7763"/>
                      <a:pt x="9712" y="7781"/>
                      <a:pt x="9691" y="7796"/>
                    </a:cubicBezTo>
                    <a:cubicBezTo>
                      <a:pt x="9670" y="7819"/>
                      <a:pt x="9649" y="7843"/>
                      <a:pt x="9628" y="7867"/>
                    </a:cubicBezTo>
                    <a:lnTo>
                      <a:pt x="9504" y="7889"/>
                    </a:lnTo>
                    <a:lnTo>
                      <a:pt x="9504" y="7959"/>
                    </a:lnTo>
                    <a:cubicBezTo>
                      <a:pt x="9484" y="7974"/>
                      <a:pt x="9464" y="7991"/>
                      <a:pt x="9443" y="8007"/>
                    </a:cubicBezTo>
                    <a:lnTo>
                      <a:pt x="9443" y="8052"/>
                    </a:lnTo>
                    <a:cubicBezTo>
                      <a:pt x="9423" y="8085"/>
                      <a:pt x="9401" y="8115"/>
                      <a:pt x="9380" y="8147"/>
                    </a:cubicBezTo>
                    <a:lnTo>
                      <a:pt x="9256" y="8147"/>
                    </a:lnTo>
                    <a:cubicBezTo>
                      <a:pt x="9247" y="8155"/>
                      <a:pt x="9236" y="8163"/>
                      <a:pt x="9226" y="8171"/>
                    </a:cubicBezTo>
                    <a:cubicBezTo>
                      <a:pt x="9206" y="8164"/>
                      <a:pt x="9185" y="8155"/>
                      <a:pt x="9165" y="8147"/>
                    </a:cubicBezTo>
                    <a:lnTo>
                      <a:pt x="9103" y="8147"/>
                    </a:lnTo>
                    <a:cubicBezTo>
                      <a:pt x="9082" y="8138"/>
                      <a:pt x="9061" y="8129"/>
                      <a:pt x="9041" y="8122"/>
                    </a:cubicBezTo>
                    <a:cubicBezTo>
                      <a:pt x="9029" y="8129"/>
                      <a:pt x="9019" y="8137"/>
                      <a:pt x="9009" y="8147"/>
                    </a:cubicBezTo>
                    <a:cubicBezTo>
                      <a:pt x="8978" y="8163"/>
                      <a:pt x="8948" y="8179"/>
                      <a:pt x="8917" y="8194"/>
                    </a:cubicBezTo>
                    <a:cubicBezTo>
                      <a:pt x="8907" y="8185"/>
                      <a:pt x="8895" y="8178"/>
                      <a:pt x="8886" y="8171"/>
                    </a:cubicBezTo>
                    <a:lnTo>
                      <a:pt x="8824" y="8171"/>
                    </a:lnTo>
                    <a:lnTo>
                      <a:pt x="8824" y="8217"/>
                    </a:lnTo>
                    <a:lnTo>
                      <a:pt x="8638" y="8312"/>
                    </a:lnTo>
                    <a:cubicBezTo>
                      <a:pt x="8659" y="8333"/>
                      <a:pt x="8679" y="8360"/>
                      <a:pt x="8700" y="8384"/>
                    </a:cubicBezTo>
                    <a:cubicBezTo>
                      <a:pt x="8710" y="8405"/>
                      <a:pt x="8720" y="8429"/>
                      <a:pt x="8731" y="8451"/>
                    </a:cubicBezTo>
                    <a:cubicBezTo>
                      <a:pt x="8751" y="8467"/>
                      <a:pt x="8771" y="8484"/>
                      <a:pt x="8793" y="8499"/>
                    </a:cubicBezTo>
                    <a:lnTo>
                      <a:pt x="8793" y="8522"/>
                    </a:lnTo>
                    <a:cubicBezTo>
                      <a:pt x="8761" y="8554"/>
                      <a:pt x="8731" y="8586"/>
                      <a:pt x="8700" y="8617"/>
                    </a:cubicBezTo>
                    <a:cubicBezTo>
                      <a:pt x="8710" y="8632"/>
                      <a:pt x="8720" y="8648"/>
                      <a:pt x="8731" y="8662"/>
                    </a:cubicBezTo>
                    <a:cubicBezTo>
                      <a:pt x="8710" y="8695"/>
                      <a:pt x="8689" y="8726"/>
                      <a:pt x="8669" y="8757"/>
                    </a:cubicBezTo>
                    <a:lnTo>
                      <a:pt x="8700" y="8757"/>
                    </a:lnTo>
                    <a:cubicBezTo>
                      <a:pt x="8679" y="8813"/>
                      <a:pt x="8659" y="8867"/>
                      <a:pt x="8638" y="8922"/>
                    </a:cubicBezTo>
                    <a:cubicBezTo>
                      <a:pt x="8670" y="8931"/>
                      <a:pt x="8700" y="8940"/>
                      <a:pt x="8731" y="8948"/>
                    </a:cubicBezTo>
                    <a:cubicBezTo>
                      <a:pt x="8783" y="8985"/>
                      <a:pt x="8834" y="9023"/>
                      <a:pt x="8886" y="9060"/>
                    </a:cubicBezTo>
                    <a:cubicBezTo>
                      <a:pt x="8895" y="9093"/>
                      <a:pt x="8907" y="9127"/>
                      <a:pt x="8917" y="9157"/>
                    </a:cubicBezTo>
                    <a:cubicBezTo>
                      <a:pt x="8907" y="9172"/>
                      <a:pt x="8895" y="9189"/>
                      <a:pt x="8886" y="9203"/>
                    </a:cubicBezTo>
                    <a:lnTo>
                      <a:pt x="8886" y="9274"/>
                    </a:lnTo>
                    <a:cubicBezTo>
                      <a:pt x="8875" y="9298"/>
                      <a:pt x="8865" y="9323"/>
                      <a:pt x="8855" y="9344"/>
                    </a:cubicBezTo>
                    <a:cubicBezTo>
                      <a:pt x="8814" y="9355"/>
                      <a:pt x="8771" y="9362"/>
                      <a:pt x="8731" y="9370"/>
                    </a:cubicBezTo>
                    <a:cubicBezTo>
                      <a:pt x="8720" y="9385"/>
                      <a:pt x="8710" y="9400"/>
                      <a:pt x="8700" y="9414"/>
                    </a:cubicBezTo>
                    <a:cubicBezTo>
                      <a:pt x="8689" y="9446"/>
                      <a:pt x="8679" y="9476"/>
                      <a:pt x="8669" y="9508"/>
                    </a:cubicBezTo>
                    <a:lnTo>
                      <a:pt x="8638" y="9508"/>
                    </a:lnTo>
                    <a:lnTo>
                      <a:pt x="8545" y="9508"/>
                    </a:lnTo>
                    <a:cubicBezTo>
                      <a:pt x="8513" y="9523"/>
                      <a:pt x="8483" y="9540"/>
                      <a:pt x="8452" y="9556"/>
                    </a:cubicBezTo>
                    <a:cubicBezTo>
                      <a:pt x="8483" y="9570"/>
                      <a:pt x="8513" y="9587"/>
                      <a:pt x="8545" y="9603"/>
                    </a:cubicBezTo>
                    <a:cubicBezTo>
                      <a:pt x="8565" y="9634"/>
                      <a:pt x="8587" y="9664"/>
                      <a:pt x="8607" y="9696"/>
                    </a:cubicBezTo>
                    <a:cubicBezTo>
                      <a:pt x="8596" y="9689"/>
                      <a:pt x="8587" y="9681"/>
                      <a:pt x="8576" y="9673"/>
                    </a:cubicBezTo>
                    <a:lnTo>
                      <a:pt x="8174" y="9578"/>
                    </a:lnTo>
                    <a:lnTo>
                      <a:pt x="7956" y="9603"/>
                    </a:lnTo>
                    <a:lnTo>
                      <a:pt x="7709" y="9625"/>
                    </a:lnTo>
                    <a:lnTo>
                      <a:pt x="7524" y="9673"/>
                    </a:lnTo>
                    <a:lnTo>
                      <a:pt x="7307" y="9769"/>
                    </a:lnTo>
                    <a:cubicBezTo>
                      <a:pt x="7266" y="9813"/>
                      <a:pt x="7223" y="9861"/>
                      <a:pt x="7183" y="9908"/>
                    </a:cubicBezTo>
                    <a:lnTo>
                      <a:pt x="6998" y="10000"/>
                    </a:lnTo>
                    <a:lnTo>
                      <a:pt x="6750" y="10000"/>
                    </a:lnTo>
                    <a:lnTo>
                      <a:pt x="6533" y="9956"/>
                    </a:lnTo>
                    <a:cubicBezTo>
                      <a:pt x="6530" y="9918"/>
                      <a:pt x="6526" y="9882"/>
                      <a:pt x="6522" y="9845"/>
                    </a:cubicBezTo>
                    <a:lnTo>
                      <a:pt x="6349" y="9714"/>
                    </a:lnTo>
                    <a:cubicBezTo>
                      <a:pt x="6388" y="9686"/>
                      <a:pt x="6427" y="9658"/>
                      <a:pt x="6467" y="9628"/>
                    </a:cubicBezTo>
                    <a:lnTo>
                      <a:pt x="6626" y="9606"/>
                    </a:lnTo>
                    <a:cubicBezTo>
                      <a:pt x="6661" y="9574"/>
                      <a:pt x="6696" y="9543"/>
                      <a:pt x="6732" y="9512"/>
                    </a:cubicBezTo>
                    <a:cubicBezTo>
                      <a:pt x="6720" y="9464"/>
                      <a:pt x="6707" y="9413"/>
                      <a:pt x="6696" y="9366"/>
                    </a:cubicBezTo>
                    <a:cubicBezTo>
                      <a:pt x="6726" y="9344"/>
                      <a:pt x="6756" y="9323"/>
                      <a:pt x="6786" y="9301"/>
                    </a:cubicBezTo>
                    <a:lnTo>
                      <a:pt x="6926" y="9279"/>
                    </a:lnTo>
                    <a:cubicBezTo>
                      <a:pt x="6937" y="9244"/>
                      <a:pt x="6948" y="9216"/>
                      <a:pt x="6958" y="9186"/>
                    </a:cubicBezTo>
                    <a:cubicBezTo>
                      <a:pt x="6954" y="9152"/>
                      <a:pt x="6950" y="9117"/>
                      <a:pt x="6946" y="9082"/>
                    </a:cubicBezTo>
                    <a:cubicBezTo>
                      <a:pt x="6983" y="9067"/>
                      <a:pt x="7021" y="9053"/>
                      <a:pt x="7059" y="9038"/>
                    </a:cubicBezTo>
                    <a:cubicBezTo>
                      <a:pt x="7042" y="8991"/>
                      <a:pt x="7025" y="8948"/>
                      <a:pt x="7007" y="8898"/>
                    </a:cubicBezTo>
                    <a:cubicBezTo>
                      <a:pt x="7036" y="8876"/>
                      <a:pt x="7122" y="8845"/>
                      <a:pt x="7151" y="8823"/>
                    </a:cubicBezTo>
                    <a:cubicBezTo>
                      <a:pt x="7097" y="8780"/>
                      <a:pt x="7051" y="8730"/>
                      <a:pt x="6997" y="8692"/>
                    </a:cubicBezTo>
                    <a:lnTo>
                      <a:pt x="6756" y="8810"/>
                    </a:lnTo>
                    <a:cubicBezTo>
                      <a:pt x="6763" y="8768"/>
                      <a:pt x="6768" y="8732"/>
                      <a:pt x="6775" y="8693"/>
                    </a:cubicBezTo>
                    <a:lnTo>
                      <a:pt x="6670" y="8693"/>
                    </a:lnTo>
                    <a:cubicBezTo>
                      <a:pt x="6659" y="8676"/>
                      <a:pt x="6684" y="8653"/>
                      <a:pt x="6673" y="8637"/>
                    </a:cubicBezTo>
                    <a:cubicBezTo>
                      <a:pt x="6639" y="8630"/>
                      <a:pt x="6605" y="8624"/>
                      <a:pt x="6569" y="8616"/>
                    </a:cubicBezTo>
                    <a:cubicBezTo>
                      <a:pt x="6591" y="8584"/>
                      <a:pt x="6439" y="8676"/>
                      <a:pt x="6459" y="8646"/>
                    </a:cubicBezTo>
                    <a:cubicBezTo>
                      <a:pt x="6426" y="8621"/>
                      <a:pt x="6394" y="8595"/>
                      <a:pt x="6361" y="8572"/>
                    </a:cubicBezTo>
                    <a:cubicBezTo>
                      <a:pt x="6350" y="8541"/>
                      <a:pt x="6225" y="8658"/>
                      <a:pt x="6214" y="8626"/>
                    </a:cubicBezTo>
                    <a:cubicBezTo>
                      <a:pt x="6170" y="8606"/>
                      <a:pt x="6159" y="8564"/>
                      <a:pt x="6115" y="8544"/>
                    </a:cubicBezTo>
                    <a:cubicBezTo>
                      <a:pt x="6146" y="8528"/>
                      <a:pt x="6212" y="8535"/>
                      <a:pt x="6243" y="8518"/>
                    </a:cubicBezTo>
                    <a:cubicBezTo>
                      <a:pt x="6250" y="8508"/>
                      <a:pt x="6259" y="8496"/>
                      <a:pt x="6266" y="8486"/>
                    </a:cubicBezTo>
                    <a:cubicBezTo>
                      <a:pt x="6255" y="8470"/>
                      <a:pt x="6223" y="8446"/>
                      <a:pt x="6213" y="8431"/>
                    </a:cubicBezTo>
                    <a:cubicBezTo>
                      <a:pt x="6202" y="8385"/>
                      <a:pt x="6317" y="8399"/>
                      <a:pt x="6308" y="8353"/>
                    </a:cubicBezTo>
                    <a:cubicBezTo>
                      <a:pt x="6287" y="8329"/>
                      <a:pt x="6288" y="8298"/>
                      <a:pt x="6268" y="8275"/>
                    </a:cubicBezTo>
                    <a:cubicBezTo>
                      <a:pt x="6241" y="8273"/>
                      <a:pt x="6216" y="8269"/>
                      <a:pt x="6188" y="8267"/>
                    </a:cubicBezTo>
                    <a:cubicBezTo>
                      <a:pt x="6161" y="8273"/>
                      <a:pt x="6135" y="8277"/>
                      <a:pt x="6108" y="8282"/>
                    </a:cubicBezTo>
                    <a:cubicBezTo>
                      <a:pt x="6077" y="8229"/>
                      <a:pt x="6012" y="8237"/>
                      <a:pt x="5981" y="8179"/>
                    </a:cubicBezTo>
                    <a:cubicBezTo>
                      <a:pt x="5962" y="8196"/>
                      <a:pt x="5919" y="8249"/>
                      <a:pt x="5900" y="8265"/>
                    </a:cubicBezTo>
                    <a:cubicBezTo>
                      <a:pt x="5857" y="8232"/>
                      <a:pt x="5814" y="8196"/>
                      <a:pt x="5771" y="8162"/>
                    </a:cubicBezTo>
                    <a:cubicBezTo>
                      <a:pt x="5780" y="8099"/>
                      <a:pt x="5788" y="8037"/>
                      <a:pt x="5797" y="7975"/>
                    </a:cubicBezTo>
                    <a:cubicBezTo>
                      <a:pt x="5786" y="7968"/>
                      <a:pt x="5743" y="7944"/>
                      <a:pt x="5732" y="7936"/>
                    </a:cubicBezTo>
                    <a:cubicBezTo>
                      <a:pt x="5697" y="7899"/>
                      <a:pt x="5615" y="7982"/>
                      <a:pt x="5594" y="7982"/>
                    </a:cubicBezTo>
                    <a:cubicBezTo>
                      <a:pt x="5601" y="8044"/>
                      <a:pt x="5597" y="7874"/>
                      <a:pt x="5605" y="7935"/>
                    </a:cubicBezTo>
                    <a:cubicBezTo>
                      <a:pt x="5574" y="7943"/>
                      <a:pt x="5612" y="7742"/>
                      <a:pt x="5581" y="7749"/>
                    </a:cubicBezTo>
                    <a:cubicBezTo>
                      <a:pt x="5541" y="7721"/>
                      <a:pt x="5500" y="7697"/>
                      <a:pt x="5460" y="7671"/>
                    </a:cubicBezTo>
                    <a:cubicBezTo>
                      <a:pt x="5450" y="7647"/>
                      <a:pt x="5314" y="7724"/>
                      <a:pt x="5303" y="7703"/>
                    </a:cubicBezTo>
                    <a:cubicBezTo>
                      <a:pt x="5280" y="7685"/>
                      <a:pt x="5256" y="7667"/>
                      <a:pt x="5234" y="7648"/>
                    </a:cubicBezTo>
                    <a:cubicBezTo>
                      <a:pt x="5209" y="7641"/>
                      <a:pt x="5186" y="7633"/>
                      <a:pt x="5160" y="7626"/>
                    </a:cubicBezTo>
                    <a:cubicBezTo>
                      <a:pt x="5170" y="7609"/>
                      <a:pt x="4997" y="7563"/>
                      <a:pt x="5006" y="7549"/>
                    </a:cubicBezTo>
                    <a:cubicBezTo>
                      <a:pt x="4975" y="7565"/>
                      <a:pt x="4946" y="7582"/>
                      <a:pt x="4915" y="7598"/>
                    </a:cubicBezTo>
                    <a:cubicBezTo>
                      <a:pt x="4894" y="7584"/>
                      <a:pt x="4886" y="7520"/>
                      <a:pt x="4865" y="7505"/>
                    </a:cubicBezTo>
                    <a:cubicBezTo>
                      <a:pt x="4895" y="7495"/>
                      <a:pt x="4927" y="7486"/>
                      <a:pt x="4957" y="7476"/>
                    </a:cubicBezTo>
                    <a:cubicBezTo>
                      <a:pt x="4937" y="7445"/>
                      <a:pt x="5018" y="7395"/>
                      <a:pt x="4998" y="7364"/>
                    </a:cubicBezTo>
                    <a:lnTo>
                      <a:pt x="4878" y="7327"/>
                    </a:lnTo>
                    <a:cubicBezTo>
                      <a:pt x="4847" y="7296"/>
                      <a:pt x="4806" y="7359"/>
                      <a:pt x="4774" y="7327"/>
                    </a:cubicBezTo>
                    <a:cubicBezTo>
                      <a:pt x="4740" y="7307"/>
                      <a:pt x="4707" y="7285"/>
                      <a:pt x="4674" y="7265"/>
                    </a:cubicBezTo>
                    <a:cubicBezTo>
                      <a:pt x="4642" y="7280"/>
                      <a:pt x="4498" y="7412"/>
                      <a:pt x="4467" y="7429"/>
                    </a:cubicBezTo>
                    <a:cubicBezTo>
                      <a:pt x="4447" y="7453"/>
                      <a:pt x="4378" y="7411"/>
                      <a:pt x="4358" y="7436"/>
                    </a:cubicBezTo>
                    <a:cubicBezTo>
                      <a:pt x="4328" y="7464"/>
                      <a:pt x="4299" y="7492"/>
                      <a:pt x="4268" y="7520"/>
                    </a:cubicBezTo>
                    <a:cubicBezTo>
                      <a:pt x="4292" y="7541"/>
                      <a:pt x="4314" y="7562"/>
                      <a:pt x="4337" y="7582"/>
                    </a:cubicBezTo>
                    <a:cubicBezTo>
                      <a:pt x="4329" y="7615"/>
                      <a:pt x="4322" y="7652"/>
                      <a:pt x="4314" y="7686"/>
                    </a:cubicBezTo>
                    <a:lnTo>
                      <a:pt x="4490" y="7678"/>
                    </a:lnTo>
                    <a:cubicBezTo>
                      <a:pt x="4472" y="7714"/>
                      <a:pt x="4455" y="7751"/>
                      <a:pt x="4437" y="7788"/>
                    </a:cubicBezTo>
                    <a:cubicBezTo>
                      <a:pt x="4417" y="7795"/>
                      <a:pt x="4437" y="7829"/>
                      <a:pt x="4409" y="7857"/>
                    </a:cubicBezTo>
                    <a:cubicBezTo>
                      <a:pt x="4380" y="7884"/>
                      <a:pt x="4287" y="7942"/>
                      <a:pt x="4266" y="7951"/>
                    </a:cubicBezTo>
                    <a:cubicBezTo>
                      <a:pt x="4246" y="7933"/>
                      <a:pt x="4224" y="7888"/>
                      <a:pt x="4204" y="7872"/>
                    </a:cubicBezTo>
                    <a:cubicBezTo>
                      <a:pt x="4173" y="7855"/>
                      <a:pt x="4235" y="8033"/>
                      <a:pt x="4204" y="8018"/>
                    </a:cubicBezTo>
                    <a:cubicBezTo>
                      <a:pt x="4189" y="8032"/>
                      <a:pt x="4173" y="8044"/>
                      <a:pt x="4158" y="8058"/>
                    </a:cubicBezTo>
                    <a:cubicBezTo>
                      <a:pt x="4127" y="8040"/>
                      <a:pt x="4098" y="8022"/>
                      <a:pt x="4068" y="8005"/>
                    </a:cubicBezTo>
                    <a:lnTo>
                      <a:pt x="3958" y="8074"/>
                    </a:lnTo>
                    <a:cubicBezTo>
                      <a:pt x="3943" y="8096"/>
                      <a:pt x="3928" y="8120"/>
                      <a:pt x="3913" y="8142"/>
                    </a:cubicBezTo>
                    <a:cubicBezTo>
                      <a:pt x="3893" y="8126"/>
                      <a:pt x="4066" y="8213"/>
                      <a:pt x="4046" y="8198"/>
                    </a:cubicBezTo>
                    <a:cubicBezTo>
                      <a:pt x="4058" y="8211"/>
                      <a:pt x="4068" y="8225"/>
                      <a:pt x="4080" y="8238"/>
                    </a:cubicBezTo>
                    <a:cubicBezTo>
                      <a:pt x="4060" y="8223"/>
                      <a:pt x="4096" y="8306"/>
                      <a:pt x="4076" y="8288"/>
                    </a:cubicBezTo>
                    <a:lnTo>
                      <a:pt x="3821" y="8329"/>
                    </a:lnTo>
                    <a:cubicBezTo>
                      <a:pt x="3790" y="8371"/>
                      <a:pt x="3668" y="8356"/>
                      <a:pt x="3637" y="8394"/>
                    </a:cubicBezTo>
                    <a:cubicBezTo>
                      <a:pt x="3659" y="8357"/>
                      <a:pt x="3683" y="8321"/>
                      <a:pt x="3705" y="8284"/>
                    </a:cubicBezTo>
                    <a:cubicBezTo>
                      <a:pt x="3674" y="8307"/>
                      <a:pt x="3794" y="8182"/>
                      <a:pt x="3763" y="8205"/>
                    </a:cubicBezTo>
                    <a:cubicBezTo>
                      <a:pt x="3741" y="8244"/>
                      <a:pt x="3662" y="8097"/>
                      <a:pt x="3642" y="8137"/>
                    </a:cubicBezTo>
                    <a:cubicBezTo>
                      <a:pt x="3614" y="8144"/>
                      <a:pt x="3588" y="8152"/>
                      <a:pt x="3561" y="8159"/>
                    </a:cubicBezTo>
                    <a:cubicBezTo>
                      <a:pt x="3530" y="8199"/>
                      <a:pt x="3558" y="8078"/>
                      <a:pt x="3527" y="8117"/>
                    </a:cubicBezTo>
                    <a:cubicBezTo>
                      <a:pt x="3511" y="8095"/>
                      <a:pt x="3495" y="8074"/>
                      <a:pt x="3479" y="8052"/>
                    </a:cubicBezTo>
                    <a:cubicBezTo>
                      <a:pt x="3468" y="8070"/>
                      <a:pt x="3402" y="8036"/>
                      <a:pt x="3391" y="8052"/>
                    </a:cubicBezTo>
                    <a:lnTo>
                      <a:pt x="3330" y="7976"/>
                    </a:lnTo>
                    <a:close/>
                  </a:path>
                </a:pathLst>
              </a:custGeom>
              <a:solidFill>
                <a:srgbClr val="E7E7E4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72" name="Kosovo">
                <a:extLst>
                  <a:ext uri="{FF2B5EF4-FFF2-40B4-BE49-F238E27FC236}">
                    <a16:creationId xmlns:a16="http://schemas.microsoft.com/office/drawing/2014/main" id="{D9476373-ED78-4876-94E6-349CF558D3D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98083" y="4467248"/>
                <a:ext cx="152623" cy="212564"/>
              </a:xfrm>
              <a:custGeom>
                <a:avLst/>
                <a:gdLst/>
                <a:ahLst/>
                <a:cxnLst/>
                <a:rect l="0" t="0" r="r" b="b"/>
                <a:pathLst>
                  <a:path w="871538" h="1193007">
                    <a:moveTo>
                      <a:pt x="302419" y="1131094"/>
                    </a:moveTo>
                    <a:lnTo>
                      <a:pt x="338138" y="1095375"/>
                    </a:lnTo>
                    <a:lnTo>
                      <a:pt x="304800" y="945357"/>
                    </a:lnTo>
                    <a:lnTo>
                      <a:pt x="338138" y="907257"/>
                    </a:lnTo>
                    <a:lnTo>
                      <a:pt x="378619" y="892969"/>
                    </a:lnTo>
                    <a:lnTo>
                      <a:pt x="409575" y="859632"/>
                    </a:lnTo>
                    <a:lnTo>
                      <a:pt x="452438" y="835819"/>
                    </a:lnTo>
                    <a:lnTo>
                      <a:pt x="492919" y="828675"/>
                    </a:lnTo>
                    <a:lnTo>
                      <a:pt x="538163" y="850107"/>
                    </a:lnTo>
                    <a:lnTo>
                      <a:pt x="554831" y="904875"/>
                    </a:lnTo>
                    <a:lnTo>
                      <a:pt x="600075" y="931069"/>
                    </a:lnTo>
                    <a:lnTo>
                      <a:pt x="642938" y="900113"/>
                    </a:lnTo>
                    <a:lnTo>
                      <a:pt x="666750" y="854869"/>
                    </a:lnTo>
                    <a:lnTo>
                      <a:pt x="702469" y="828675"/>
                    </a:lnTo>
                    <a:lnTo>
                      <a:pt x="750094" y="819150"/>
                    </a:lnTo>
                    <a:lnTo>
                      <a:pt x="742950" y="785813"/>
                    </a:lnTo>
                    <a:lnTo>
                      <a:pt x="709613" y="754857"/>
                    </a:lnTo>
                    <a:lnTo>
                      <a:pt x="731044" y="721519"/>
                    </a:lnTo>
                    <a:lnTo>
                      <a:pt x="766763" y="716757"/>
                    </a:lnTo>
                    <a:lnTo>
                      <a:pt x="788194" y="690563"/>
                    </a:lnTo>
                    <a:lnTo>
                      <a:pt x="776288" y="640557"/>
                    </a:lnTo>
                    <a:lnTo>
                      <a:pt x="792956" y="623888"/>
                    </a:lnTo>
                    <a:lnTo>
                      <a:pt x="823913" y="611982"/>
                    </a:lnTo>
                    <a:lnTo>
                      <a:pt x="828675" y="583407"/>
                    </a:lnTo>
                    <a:lnTo>
                      <a:pt x="828675" y="557213"/>
                    </a:lnTo>
                    <a:lnTo>
                      <a:pt x="857250" y="542925"/>
                    </a:lnTo>
                    <a:lnTo>
                      <a:pt x="852488" y="526257"/>
                    </a:lnTo>
                    <a:lnTo>
                      <a:pt x="840581" y="497682"/>
                    </a:lnTo>
                    <a:lnTo>
                      <a:pt x="871538" y="476250"/>
                    </a:lnTo>
                    <a:lnTo>
                      <a:pt x="842963" y="435769"/>
                    </a:lnTo>
                    <a:lnTo>
                      <a:pt x="795338" y="471488"/>
                    </a:lnTo>
                    <a:lnTo>
                      <a:pt x="792956" y="440532"/>
                    </a:lnTo>
                    <a:lnTo>
                      <a:pt x="771525" y="438150"/>
                    </a:lnTo>
                    <a:lnTo>
                      <a:pt x="771525" y="426244"/>
                    </a:lnTo>
                    <a:lnTo>
                      <a:pt x="752475" y="407194"/>
                    </a:lnTo>
                    <a:lnTo>
                      <a:pt x="733425" y="421482"/>
                    </a:lnTo>
                    <a:lnTo>
                      <a:pt x="711994" y="404813"/>
                    </a:lnTo>
                    <a:lnTo>
                      <a:pt x="704850" y="397669"/>
                    </a:lnTo>
                    <a:lnTo>
                      <a:pt x="683419" y="414338"/>
                    </a:lnTo>
                    <a:lnTo>
                      <a:pt x="657225" y="390525"/>
                    </a:lnTo>
                    <a:lnTo>
                      <a:pt x="685800" y="381000"/>
                    </a:lnTo>
                    <a:lnTo>
                      <a:pt x="688181" y="366713"/>
                    </a:lnTo>
                    <a:lnTo>
                      <a:pt x="676275" y="357188"/>
                    </a:lnTo>
                    <a:lnTo>
                      <a:pt x="702469" y="333375"/>
                    </a:lnTo>
                    <a:lnTo>
                      <a:pt x="690563" y="311944"/>
                    </a:lnTo>
                    <a:lnTo>
                      <a:pt x="673894" y="307182"/>
                    </a:lnTo>
                    <a:lnTo>
                      <a:pt x="657225" y="311944"/>
                    </a:lnTo>
                    <a:lnTo>
                      <a:pt x="628650" y="283369"/>
                    </a:lnTo>
                    <a:lnTo>
                      <a:pt x="616744" y="300038"/>
                    </a:lnTo>
                    <a:lnTo>
                      <a:pt x="588169" y="276225"/>
                    </a:lnTo>
                    <a:lnTo>
                      <a:pt x="592931" y="238125"/>
                    </a:lnTo>
                    <a:lnTo>
                      <a:pt x="590550" y="211932"/>
                    </a:lnTo>
                    <a:lnTo>
                      <a:pt x="573881" y="204788"/>
                    </a:lnTo>
                    <a:lnTo>
                      <a:pt x="557213" y="214313"/>
                    </a:lnTo>
                    <a:lnTo>
                      <a:pt x="550069" y="176213"/>
                    </a:lnTo>
                    <a:lnTo>
                      <a:pt x="547688" y="145257"/>
                    </a:lnTo>
                    <a:lnTo>
                      <a:pt x="521494" y="121444"/>
                    </a:lnTo>
                    <a:lnTo>
                      <a:pt x="495300" y="140494"/>
                    </a:lnTo>
                    <a:lnTo>
                      <a:pt x="476250" y="116682"/>
                    </a:lnTo>
                    <a:lnTo>
                      <a:pt x="459581" y="111919"/>
                    </a:lnTo>
                    <a:lnTo>
                      <a:pt x="435769" y="92869"/>
                    </a:lnTo>
                    <a:lnTo>
                      <a:pt x="426244" y="88107"/>
                    </a:lnTo>
                    <a:lnTo>
                      <a:pt x="411956" y="102394"/>
                    </a:lnTo>
                    <a:lnTo>
                      <a:pt x="402431" y="78582"/>
                    </a:lnTo>
                    <a:lnTo>
                      <a:pt x="419100" y="57150"/>
                    </a:lnTo>
                    <a:lnTo>
                      <a:pt x="426244" y="33338"/>
                    </a:lnTo>
                    <a:lnTo>
                      <a:pt x="397669" y="19050"/>
                    </a:lnTo>
                    <a:lnTo>
                      <a:pt x="381000" y="21432"/>
                    </a:lnTo>
                    <a:lnTo>
                      <a:pt x="364331" y="0"/>
                    </a:lnTo>
                    <a:lnTo>
                      <a:pt x="333375" y="33338"/>
                    </a:lnTo>
                    <a:lnTo>
                      <a:pt x="319088" y="47625"/>
                    </a:lnTo>
                    <a:lnTo>
                      <a:pt x="295275" y="47625"/>
                    </a:lnTo>
                    <a:lnTo>
                      <a:pt x="280988" y="73819"/>
                    </a:lnTo>
                    <a:lnTo>
                      <a:pt x="295275" y="95250"/>
                    </a:lnTo>
                    <a:lnTo>
                      <a:pt x="285750" y="121444"/>
                    </a:lnTo>
                    <a:lnTo>
                      <a:pt x="326231" y="130969"/>
                    </a:lnTo>
                    <a:lnTo>
                      <a:pt x="307181" y="159544"/>
                    </a:lnTo>
                    <a:lnTo>
                      <a:pt x="302419" y="183357"/>
                    </a:lnTo>
                    <a:lnTo>
                      <a:pt x="278606" y="207169"/>
                    </a:lnTo>
                    <a:lnTo>
                      <a:pt x="259556" y="185738"/>
                    </a:lnTo>
                    <a:lnTo>
                      <a:pt x="269081" y="226219"/>
                    </a:lnTo>
                    <a:lnTo>
                      <a:pt x="250031" y="240507"/>
                    </a:lnTo>
                    <a:lnTo>
                      <a:pt x="235744" y="221457"/>
                    </a:lnTo>
                    <a:lnTo>
                      <a:pt x="209550" y="250032"/>
                    </a:lnTo>
                    <a:lnTo>
                      <a:pt x="204788" y="269082"/>
                    </a:lnTo>
                    <a:lnTo>
                      <a:pt x="226219" y="283369"/>
                    </a:lnTo>
                    <a:lnTo>
                      <a:pt x="235744" y="295275"/>
                    </a:lnTo>
                    <a:lnTo>
                      <a:pt x="230981" y="316707"/>
                    </a:lnTo>
                    <a:lnTo>
                      <a:pt x="204788" y="323850"/>
                    </a:lnTo>
                    <a:lnTo>
                      <a:pt x="176213" y="328613"/>
                    </a:lnTo>
                    <a:lnTo>
                      <a:pt x="157163" y="338138"/>
                    </a:lnTo>
                    <a:lnTo>
                      <a:pt x="145256" y="347663"/>
                    </a:lnTo>
                    <a:lnTo>
                      <a:pt x="119063" y="338138"/>
                    </a:lnTo>
                    <a:lnTo>
                      <a:pt x="111919" y="357188"/>
                    </a:lnTo>
                    <a:lnTo>
                      <a:pt x="88106" y="366713"/>
                    </a:lnTo>
                    <a:lnTo>
                      <a:pt x="95250" y="388144"/>
                    </a:lnTo>
                    <a:lnTo>
                      <a:pt x="83344" y="411957"/>
                    </a:lnTo>
                    <a:lnTo>
                      <a:pt x="59531" y="409575"/>
                    </a:lnTo>
                    <a:lnTo>
                      <a:pt x="33338" y="378619"/>
                    </a:lnTo>
                    <a:lnTo>
                      <a:pt x="19050" y="378619"/>
                    </a:lnTo>
                    <a:lnTo>
                      <a:pt x="2381" y="404813"/>
                    </a:lnTo>
                    <a:lnTo>
                      <a:pt x="0" y="431007"/>
                    </a:lnTo>
                    <a:lnTo>
                      <a:pt x="19050" y="438150"/>
                    </a:lnTo>
                    <a:lnTo>
                      <a:pt x="28575" y="457200"/>
                    </a:lnTo>
                    <a:lnTo>
                      <a:pt x="47625" y="473869"/>
                    </a:lnTo>
                    <a:lnTo>
                      <a:pt x="28575" y="502444"/>
                    </a:lnTo>
                    <a:lnTo>
                      <a:pt x="21431" y="526257"/>
                    </a:lnTo>
                    <a:lnTo>
                      <a:pt x="28575" y="535782"/>
                    </a:lnTo>
                    <a:lnTo>
                      <a:pt x="14288" y="540544"/>
                    </a:lnTo>
                    <a:lnTo>
                      <a:pt x="50006" y="559594"/>
                    </a:lnTo>
                    <a:lnTo>
                      <a:pt x="59531" y="583407"/>
                    </a:lnTo>
                    <a:lnTo>
                      <a:pt x="59531" y="597694"/>
                    </a:lnTo>
                    <a:lnTo>
                      <a:pt x="73819" y="614363"/>
                    </a:lnTo>
                    <a:lnTo>
                      <a:pt x="71438" y="638175"/>
                    </a:lnTo>
                    <a:lnTo>
                      <a:pt x="64294" y="642938"/>
                    </a:lnTo>
                    <a:lnTo>
                      <a:pt x="78581" y="657225"/>
                    </a:lnTo>
                    <a:lnTo>
                      <a:pt x="80963" y="676275"/>
                    </a:lnTo>
                    <a:lnTo>
                      <a:pt x="83344" y="692944"/>
                    </a:lnTo>
                    <a:lnTo>
                      <a:pt x="111919" y="702469"/>
                    </a:lnTo>
                    <a:lnTo>
                      <a:pt x="140494" y="692944"/>
                    </a:lnTo>
                    <a:lnTo>
                      <a:pt x="138113" y="707232"/>
                    </a:lnTo>
                    <a:lnTo>
                      <a:pt x="159544" y="714375"/>
                    </a:lnTo>
                    <a:lnTo>
                      <a:pt x="164306" y="723900"/>
                    </a:lnTo>
                    <a:lnTo>
                      <a:pt x="185738" y="726282"/>
                    </a:lnTo>
                    <a:lnTo>
                      <a:pt x="230981" y="778669"/>
                    </a:lnTo>
                    <a:lnTo>
                      <a:pt x="228600" y="800100"/>
                    </a:lnTo>
                    <a:lnTo>
                      <a:pt x="247650" y="850107"/>
                    </a:lnTo>
                    <a:lnTo>
                      <a:pt x="247650" y="890588"/>
                    </a:lnTo>
                    <a:cubicBezTo>
                      <a:pt x="268186" y="898289"/>
                      <a:pt x="257175" y="893331"/>
                      <a:pt x="257175" y="904875"/>
                    </a:cubicBezTo>
                    <a:lnTo>
                      <a:pt x="266700" y="950119"/>
                    </a:lnTo>
                    <a:lnTo>
                      <a:pt x="271463" y="959644"/>
                    </a:lnTo>
                    <a:lnTo>
                      <a:pt x="273844" y="988219"/>
                    </a:lnTo>
                    <a:lnTo>
                      <a:pt x="252413" y="1004888"/>
                    </a:lnTo>
                    <a:lnTo>
                      <a:pt x="261938" y="1033463"/>
                    </a:lnTo>
                    <a:lnTo>
                      <a:pt x="240506" y="1045369"/>
                    </a:lnTo>
                    <a:lnTo>
                      <a:pt x="242888" y="1066800"/>
                    </a:lnTo>
                    <a:lnTo>
                      <a:pt x="247650" y="1097757"/>
                    </a:lnTo>
                    <a:lnTo>
                      <a:pt x="233363" y="1107282"/>
                    </a:lnTo>
                    <a:lnTo>
                      <a:pt x="219075" y="1140619"/>
                    </a:lnTo>
                    <a:lnTo>
                      <a:pt x="228600" y="1171575"/>
                    </a:lnTo>
                    <a:lnTo>
                      <a:pt x="223838" y="1193007"/>
                    </a:lnTo>
                    <a:lnTo>
                      <a:pt x="261938" y="1152526"/>
                    </a:lnTo>
                    <a:lnTo>
                      <a:pt x="302419" y="1131094"/>
                    </a:lnTo>
                    <a:close/>
                  </a:path>
                </a:pathLst>
              </a:custGeom>
              <a:solidFill>
                <a:srgbClr val="E7E7E4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  <p:sp>
            <p:nvSpPr>
              <p:cNvPr id="73" name="Montenegro">
                <a:extLst>
                  <a:ext uri="{FF2B5EF4-FFF2-40B4-BE49-F238E27FC236}">
                    <a16:creationId xmlns:a16="http://schemas.microsoft.com/office/drawing/2014/main" id="{C5490A30-139A-45AB-9411-4B591963EE2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63345" y="4430613"/>
                <a:ext cx="163923" cy="226239"/>
              </a:xfrm>
              <a:custGeom>
                <a:avLst/>
                <a:gdLst/>
                <a:ahLst/>
                <a:cxnLst/>
                <a:rect l="0" t="0" r="r" b="b"/>
                <a:pathLst>
                  <a:path w="936068" h="1269759">
                    <a:moveTo>
                      <a:pt x="424697" y="1269759"/>
                    </a:moveTo>
                    <a:lnTo>
                      <a:pt x="403029" y="1238281"/>
                    </a:lnTo>
                    <a:cubicBezTo>
                      <a:pt x="402769" y="1222194"/>
                      <a:pt x="402508" y="1206107"/>
                      <a:pt x="402248" y="1190020"/>
                    </a:cubicBezTo>
                    <a:lnTo>
                      <a:pt x="424697" y="1158905"/>
                    </a:lnTo>
                    <a:lnTo>
                      <a:pt x="416030" y="1118425"/>
                    </a:lnTo>
                    <a:lnTo>
                      <a:pt x="424696" y="1062313"/>
                    </a:lnTo>
                    <a:lnTo>
                      <a:pt x="377027" y="1014074"/>
                    </a:lnTo>
                    <a:lnTo>
                      <a:pt x="407399" y="963351"/>
                    </a:lnTo>
                    <a:lnTo>
                      <a:pt x="412551" y="937594"/>
                    </a:lnTo>
                    <a:lnTo>
                      <a:pt x="434305" y="905733"/>
                    </a:lnTo>
                    <a:lnTo>
                      <a:pt x="433156" y="878351"/>
                    </a:lnTo>
                    <a:lnTo>
                      <a:pt x="455033" y="852518"/>
                    </a:lnTo>
                    <a:lnTo>
                      <a:pt x="483732" y="817905"/>
                    </a:lnTo>
                    <a:lnTo>
                      <a:pt x="510430" y="770169"/>
                    </a:lnTo>
                    <a:lnTo>
                      <a:pt x="531403" y="735085"/>
                    </a:lnTo>
                    <a:lnTo>
                      <a:pt x="559040" y="676049"/>
                    </a:lnTo>
                    <a:lnTo>
                      <a:pt x="596408" y="650047"/>
                    </a:lnTo>
                    <a:lnTo>
                      <a:pt x="624167" y="692566"/>
                    </a:lnTo>
                    <a:lnTo>
                      <a:pt x="621189" y="705774"/>
                    </a:lnTo>
                    <a:lnTo>
                      <a:pt x="602377" y="715052"/>
                    </a:lnTo>
                    <a:lnTo>
                      <a:pt x="610885" y="759866"/>
                    </a:lnTo>
                    <a:lnTo>
                      <a:pt x="637046" y="793058"/>
                    </a:lnTo>
                    <a:lnTo>
                      <a:pt x="682262" y="771389"/>
                    </a:lnTo>
                    <a:lnTo>
                      <a:pt x="697717" y="754055"/>
                    </a:lnTo>
                    <a:lnTo>
                      <a:pt x="741054" y="745388"/>
                    </a:lnTo>
                    <a:lnTo>
                      <a:pt x="743874" y="734144"/>
                    </a:lnTo>
                    <a:lnTo>
                      <a:pt x="761905" y="716113"/>
                    </a:lnTo>
                    <a:lnTo>
                      <a:pt x="793058" y="749843"/>
                    </a:lnTo>
                    <a:lnTo>
                      <a:pt x="823393" y="680383"/>
                    </a:lnTo>
                    <a:lnTo>
                      <a:pt x="758388" y="632713"/>
                    </a:lnTo>
                    <a:lnTo>
                      <a:pt x="801725" y="580709"/>
                    </a:lnTo>
                    <a:lnTo>
                      <a:pt x="866730" y="615378"/>
                    </a:lnTo>
                    <a:lnTo>
                      <a:pt x="853729" y="559041"/>
                    </a:lnTo>
                    <a:lnTo>
                      <a:pt x="910066" y="550373"/>
                    </a:lnTo>
                    <a:lnTo>
                      <a:pt x="927401" y="533039"/>
                    </a:lnTo>
                    <a:lnTo>
                      <a:pt x="936068" y="485369"/>
                    </a:lnTo>
                    <a:lnTo>
                      <a:pt x="892731" y="459367"/>
                    </a:lnTo>
                    <a:lnTo>
                      <a:pt x="836394" y="420364"/>
                    </a:lnTo>
                    <a:lnTo>
                      <a:pt x="819059" y="450699"/>
                    </a:lnTo>
                    <a:lnTo>
                      <a:pt x="775723" y="372694"/>
                    </a:lnTo>
                    <a:lnTo>
                      <a:pt x="723719" y="351025"/>
                    </a:lnTo>
                    <a:lnTo>
                      <a:pt x="723719" y="312023"/>
                    </a:lnTo>
                    <a:lnTo>
                      <a:pt x="680383" y="346692"/>
                    </a:lnTo>
                    <a:lnTo>
                      <a:pt x="667382" y="333691"/>
                    </a:lnTo>
                    <a:lnTo>
                      <a:pt x="641380" y="372694"/>
                    </a:lnTo>
                    <a:lnTo>
                      <a:pt x="645713" y="316356"/>
                    </a:lnTo>
                    <a:lnTo>
                      <a:pt x="632712" y="312023"/>
                    </a:lnTo>
                    <a:lnTo>
                      <a:pt x="628379" y="264353"/>
                    </a:lnTo>
                    <a:lnTo>
                      <a:pt x="598043" y="294688"/>
                    </a:lnTo>
                    <a:lnTo>
                      <a:pt x="567708" y="273020"/>
                    </a:lnTo>
                    <a:lnTo>
                      <a:pt x="550372" y="261968"/>
                    </a:lnTo>
                    <a:lnTo>
                      <a:pt x="507037" y="221016"/>
                    </a:lnTo>
                    <a:lnTo>
                      <a:pt x="502703" y="182013"/>
                    </a:lnTo>
                    <a:lnTo>
                      <a:pt x="459367" y="130009"/>
                    </a:lnTo>
                    <a:lnTo>
                      <a:pt x="455033" y="104007"/>
                    </a:lnTo>
                    <a:lnTo>
                      <a:pt x="420364" y="104007"/>
                    </a:lnTo>
                    <a:lnTo>
                      <a:pt x="398695" y="69338"/>
                    </a:lnTo>
                    <a:lnTo>
                      <a:pt x="372694" y="73672"/>
                    </a:lnTo>
                    <a:lnTo>
                      <a:pt x="355359" y="21668"/>
                    </a:lnTo>
                    <a:lnTo>
                      <a:pt x="307689" y="0"/>
                    </a:lnTo>
                    <a:lnTo>
                      <a:pt x="268686" y="17335"/>
                    </a:lnTo>
                    <a:lnTo>
                      <a:pt x="251351" y="65005"/>
                    </a:lnTo>
                    <a:lnTo>
                      <a:pt x="278989" y="125443"/>
                    </a:lnTo>
                    <a:lnTo>
                      <a:pt x="299021" y="156011"/>
                    </a:lnTo>
                    <a:lnTo>
                      <a:pt x="307689" y="212349"/>
                    </a:lnTo>
                    <a:lnTo>
                      <a:pt x="260019" y="212349"/>
                    </a:lnTo>
                    <a:lnTo>
                      <a:pt x="247018" y="164679"/>
                    </a:lnTo>
                    <a:lnTo>
                      <a:pt x="216682" y="177680"/>
                    </a:lnTo>
                    <a:lnTo>
                      <a:pt x="195014" y="177680"/>
                    </a:lnTo>
                    <a:lnTo>
                      <a:pt x="151677" y="268686"/>
                    </a:lnTo>
                    <a:lnTo>
                      <a:pt x="153435" y="352783"/>
                    </a:lnTo>
                    <a:lnTo>
                      <a:pt x="122282" y="390969"/>
                    </a:lnTo>
                    <a:lnTo>
                      <a:pt x="72854" y="393544"/>
                    </a:lnTo>
                    <a:lnTo>
                      <a:pt x="43336" y="485369"/>
                    </a:lnTo>
                    <a:lnTo>
                      <a:pt x="39003" y="546040"/>
                    </a:lnTo>
                    <a:lnTo>
                      <a:pt x="91006" y="632713"/>
                    </a:lnTo>
                    <a:lnTo>
                      <a:pt x="59035" y="679480"/>
                    </a:lnTo>
                    <a:lnTo>
                      <a:pt x="33852" y="712702"/>
                    </a:lnTo>
                    <a:lnTo>
                      <a:pt x="26002" y="767056"/>
                    </a:lnTo>
                    <a:lnTo>
                      <a:pt x="30335" y="823393"/>
                    </a:lnTo>
                    <a:lnTo>
                      <a:pt x="68521" y="794815"/>
                    </a:lnTo>
                    <a:lnTo>
                      <a:pt x="91006" y="836394"/>
                    </a:lnTo>
                    <a:lnTo>
                      <a:pt x="82339" y="849395"/>
                    </a:lnTo>
                    <a:lnTo>
                      <a:pt x="21668" y="823393"/>
                    </a:lnTo>
                    <a:lnTo>
                      <a:pt x="0" y="836394"/>
                    </a:lnTo>
                    <a:lnTo>
                      <a:pt x="30335" y="871063"/>
                    </a:lnTo>
                    <a:lnTo>
                      <a:pt x="65004" y="875397"/>
                    </a:lnTo>
                    <a:lnTo>
                      <a:pt x="73672" y="858062"/>
                    </a:lnTo>
                    <a:lnTo>
                      <a:pt x="82339" y="871063"/>
                    </a:lnTo>
                    <a:lnTo>
                      <a:pt x="82339" y="892732"/>
                    </a:lnTo>
                    <a:lnTo>
                      <a:pt x="121342" y="944735"/>
                    </a:lnTo>
                    <a:lnTo>
                      <a:pt x="130009" y="936068"/>
                    </a:lnTo>
                    <a:lnTo>
                      <a:pt x="143010" y="936068"/>
                    </a:lnTo>
                    <a:lnTo>
                      <a:pt x="151677" y="927401"/>
                    </a:lnTo>
                    <a:lnTo>
                      <a:pt x="173346" y="944735"/>
                    </a:lnTo>
                    <a:lnTo>
                      <a:pt x="182013" y="975071"/>
                    </a:lnTo>
                    <a:lnTo>
                      <a:pt x="221016" y="1009740"/>
                    </a:lnTo>
                    <a:lnTo>
                      <a:pt x="221016" y="1027075"/>
                    </a:lnTo>
                    <a:lnTo>
                      <a:pt x="234017" y="1022741"/>
                    </a:lnTo>
                    <a:lnTo>
                      <a:pt x="238350" y="1040076"/>
                    </a:lnTo>
                    <a:lnTo>
                      <a:pt x="260019" y="1035742"/>
                    </a:lnTo>
                    <a:lnTo>
                      <a:pt x="255685" y="1066078"/>
                    </a:lnTo>
                    <a:lnTo>
                      <a:pt x="277353" y="1066078"/>
                    </a:lnTo>
                    <a:lnTo>
                      <a:pt x="264352" y="1092080"/>
                    </a:lnTo>
                    <a:lnTo>
                      <a:pt x="303355" y="1122415"/>
                    </a:lnTo>
                    <a:lnTo>
                      <a:pt x="303355" y="1161418"/>
                    </a:lnTo>
                    <a:lnTo>
                      <a:pt x="294688" y="1170085"/>
                    </a:lnTo>
                    <a:lnTo>
                      <a:pt x="312022" y="1178753"/>
                    </a:lnTo>
                    <a:lnTo>
                      <a:pt x="294688" y="1191753"/>
                    </a:lnTo>
                    <a:lnTo>
                      <a:pt x="342358" y="1217755"/>
                    </a:lnTo>
                    <a:lnTo>
                      <a:pt x="372694" y="1222089"/>
                    </a:lnTo>
                    <a:lnTo>
                      <a:pt x="424697" y="1269759"/>
                    </a:lnTo>
                    <a:close/>
                  </a:path>
                </a:pathLst>
              </a:custGeom>
              <a:solidFill>
                <a:srgbClr val="E7E7E4"/>
              </a:solidFill>
              <a:ln w="6350" cap="flat" cmpd="sng">
                <a:solidFill>
                  <a:sysClr val="window" lastClr="FFFFFF"/>
                </a:solidFill>
                <a:prstDash val="solid"/>
                <a:round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l" defTabSz="102572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F0302020204030204"/>
                  <a:ea typeface="Adobe Fan Heiti Std B" pitchFamily="34" charset="-128"/>
                  <a:cs typeface="+mn-cs"/>
                </a:endParaRPr>
              </a:p>
            </p:txBody>
          </p:sp>
        </p:grpSp>
        <p:pic>
          <p:nvPicPr>
            <p:cNvPr id="25" name="Picture 653">
              <a:extLst>
                <a:ext uri="{FF2B5EF4-FFF2-40B4-BE49-F238E27FC236}">
                  <a16:creationId xmlns:a16="http://schemas.microsoft.com/office/drawing/2014/main" id="{F8132E5D-64B0-46EB-A9C2-CA1BC79A096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307946" y="1937858"/>
              <a:ext cx="558800" cy="558800"/>
            </a:xfrm>
            <a:prstGeom prst="rect">
              <a:avLst/>
            </a:prstGeom>
          </p:spPr>
        </p:pic>
        <p:pic>
          <p:nvPicPr>
            <p:cNvPr id="26" name="Picture 654">
              <a:extLst>
                <a:ext uri="{FF2B5EF4-FFF2-40B4-BE49-F238E27FC236}">
                  <a16:creationId xmlns:a16="http://schemas.microsoft.com/office/drawing/2014/main" id="{E05EB2EC-B684-48B5-B59E-9ED4638F9B2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443699" y="974489"/>
              <a:ext cx="558800" cy="558800"/>
            </a:xfrm>
            <a:prstGeom prst="rect">
              <a:avLst/>
            </a:prstGeom>
          </p:spPr>
        </p:pic>
        <p:pic>
          <p:nvPicPr>
            <p:cNvPr id="27" name="Picture 657">
              <a:extLst>
                <a:ext uri="{FF2B5EF4-FFF2-40B4-BE49-F238E27FC236}">
                  <a16:creationId xmlns:a16="http://schemas.microsoft.com/office/drawing/2014/main" id="{5AD25AFE-C9B8-4D4A-926C-7F16F127F3D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285815" y="491464"/>
              <a:ext cx="558800" cy="558800"/>
            </a:xfrm>
            <a:prstGeom prst="rect">
              <a:avLst/>
            </a:prstGeom>
          </p:spPr>
        </p:pic>
        <p:pic>
          <p:nvPicPr>
            <p:cNvPr id="28" name="Picture 662">
              <a:extLst>
                <a:ext uri="{FF2B5EF4-FFF2-40B4-BE49-F238E27FC236}">
                  <a16:creationId xmlns:a16="http://schemas.microsoft.com/office/drawing/2014/main" id="{45E7C0CF-6950-4ED8-A4AE-2213E2C9280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332665" y="2775177"/>
              <a:ext cx="558800" cy="558800"/>
            </a:xfrm>
            <a:prstGeom prst="rect">
              <a:avLst/>
            </a:prstGeom>
          </p:spPr>
        </p:pic>
        <p:pic>
          <p:nvPicPr>
            <p:cNvPr id="29" name="Picture 663">
              <a:extLst>
                <a:ext uri="{FF2B5EF4-FFF2-40B4-BE49-F238E27FC236}">
                  <a16:creationId xmlns:a16="http://schemas.microsoft.com/office/drawing/2014/main" id="{670516F5-ACB9-4760-8226-ACAD96E563A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641517" y="2903195"/>
              <a:ext cx="558800" cy="558800"/>
            </a:xfrm>
            <a:prstGeom prst="rect">
              <a:avLst/>
            </a:prstGeom>
          </p:spPr>
        </p:pic>
        <p:pic>
          <p:nvPicPr>
            <p:cNvPr id="30" name="Picture 664">
              <a:extLst>
                <a:ext uri="{FF2B5EF4-FFF2-40B4-BE49-F238E27FC236}">
                  <a16:creationId xmlns:a16="http://schemas.microsoft.com/office/drawing/2014/main" id="{08997B67-FF24-4F39-9225-C0BDC1EC99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168466" y="3913202"/>
              <a:ext cx="558800" cy="558800"/>
            </a:xfrm>
            <a:prstGeom prst="rect">
              <a:avLst/>
            </a:prstGeom>
          </p:spPr>
        </p:pic>
        <p:pic>
          <p:nvPicPr>
            <p:cNvPr id="31" name="Picture 665">
              <a:extLst>
                <a:ext uri="{FF2B5EF4-FFF2-40B4-BE49-F238E27FC236}">
                  <a16:creationId xmlns:a16="http://schemas.microsoft.com/office/drawing/2014/main" id="{755F8206-3F0C-4DE0-B405-04779704E6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7026564" y="4772862"/>
              <a:ext cx="558800" cy="558800"/>
            </a:xfrm>
            <a:prstGeom prst="rect">
              <a:avLst/>
            </a:prstGeom>
          </p:spPr>
        </p:pic>
        <p:pic>
          <p:nvPicPr>
            <p:cNvPr id="32" name="Picture 666">
              <a:extLst>
                <a:ext uri="{FF2B5EF4-FFF2-40B4-BE49-F238E27FC236}">
                  <a16:creationId xmlns:a16="http://schemas.microsoft.com/office/drawing/2014/main" id="{D34132E5-64B7-4CE5-A518-0DB49EA687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095509" y="5228444"/>
              <a:ext cx="558800" cy="558800"/>
            </a:xfrm>
            <a:prstGeom prst="rect">
              <a:avLst/>
            </a:prstGeom>
          </p:spPr>
        </p:pic>
        <p:pic>
          <p:nvPicPr>
            <p:cNvPr id="33" name="Picture 667">
              <a:extLst>
                <a:ext uri="{FF2B5EF4-FFF2-40B4-BE49-F238E27FC236}">
                  <a16:creationId xmlns:a16="http://schemas.microsoft.com/office/drawing/2014/main" id="{C40A547D-74D3-4769-B1D5-6E397CB064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024453" y="5383846"/>
              <a:ext cx="558800" cy="558800"/>
            </a:xfrm>
            <a:prstGeom prst="rect">
              <a:avLst/>
            </a:prstGeom>
          </p:spPr>
        </p:pic>
        <p:pic>
          <p:nvPicPr>
            <p:cNvPr id="34" name="Picture 668">
              <a:extLst>
                <a:ext uri="{FF2B5EF4-FFF2-40B4-BE49-F238E27FC236}">
                  <a16:creationId xmlns:a16="http://schemas.microsoft.com/office/drawing/2014/main" id="{882F6142-51D5-4F65-9ACB-CF2D9376E4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9426641" y="4094242"/>
              <a:ext cx="558800" cy="558800"/>
            </a:xfrm>
            <a:prstGeom prst="rect">
              <a:avLst/>
            </a:prstGeom>
          </p:spPr>
        </p:pic>
        <p:pic>
          <p:nvPicPr>
            <p:cNvPr id="35" name="Picture 669">
              <a:extLst>
                <a:ext uri="{FF2B5EF4-FFF2-40B4-BE49-F238E27FC236}">
                  <a16:creationId xmlns:a16="http://schemas.microsoft.com/office/drawing/2014/main" id="{C6636C7F-22D5-44DE-A529-69522C8A99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9477213" y="4901030"/>
              <a:ext cx="558800" cy="558800"/>
            </a:xfrm>
            <a:prstGeom prst="rect">
              <a:avLst/>
            </a:prstGeom>
          </p:spPr>
        </p:pic>
        <p:pic>
          <p:nvPicPr>
            <p:cNvPr id="36" name="Picture 670">
              <a:extLst>
                <a:ext uri="{FF2B5EF4-FFF2-40B4-BE49-F238E27FC236}">
                  <a16:creationId xmlns:a16="http://schemas.microsoft.com/office/drawing/2014/main" id="{770C899C-2EB9-4F93-998B-E7379DE4F6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4272461" y="2468261"/>
              <a:ext cx="558800" cy="558800"/>
            </a:xfrm>
            <a:prstGeom prst="rect">
              <a:avLst/>
            </a:prstGeom>
          </p:spPr>
        </p:pic>
        <p:pic>
          <p:nvPicPr>
            <p:cNvPr id="37" name="Picture 671">
              <a:extLst>
                <a:ext uri="{FF2B5EF4-FFF2-40B4-BE49-F238E27FC236}">
                  <a16:creationId xmlns:a16="http://schemas.microsoft.com/office/drawing/2014/main" id="{34FDD6B3-0ADF-4C4A-872E-FFB7F5C760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3201849" y="2719307"/>
              <a:ext cx="558800" cy="558800"/>
            </a:xfrm>
            <a:prstGeom prst="rect">
              <a:avLst/>
            </a:prstGeom>
          </p:spPr>
        </p:pic>
        <p:pic>
          <p:nvPicPr>
            <p:cNvPr id="38" name="Picture 672">
              <a:extLst>
                <a:ext uri="{FF2B5EF4-FFF2-40B4-BE49-F238E27FC236}">
                  <a16:creationId xmlns:a16="http://schemas.microsoft.com/office/drawing/2014/main" id="{8223D733-2C2D-42F4-8531-1B651CF7B3DA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1791588" y="1248748"/>
              <a:ext cx="558800" cy="558800"/>
            </a:xfrm>
            <a:prstGeom prst="rect">
              <a:avLst/>
            </a:prstGeom>
          </p:spPr>
        </p:pic>
      </p:grpSp>
      <p:sp>
        <p:nvSpPr>
          <p:cNvPr id="75" name="Tekstfelt 74">
            <a:extLst>
              <a:ext uri="{FF2B5EF4-FFF2-40B4-BE49-F238E27FC236}">
                <a16:creationId xmlns:a16="http://schemas.microsoft.com/office/drawing/2014/main" id="{771CF655-6335-40F7-86F9-32283E5FAEDA}"/>
              </a:ext>
            </a:extLst>
          </p:cNvPr>
          <p:cNvSpPr txBox="1"/>
          <p:nvPr/>
        </p:nvSpPr>
        <p:spPr>
          <a:xfrm>
            <a:off x="431189" y="829463"/>
            <a:ext cx="502306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dirty="0">
                <a:solidFill>
                  <a:schemeClr val="bg1"/>
                </a:solidFill>
              </a:rPr>
              <a:t>EWE Holding </a:t>
            </a:r>
            <a:r>
              <a:rPr lang="en-GB" sz="2000" dirty="0" err="1">
                <a:solidFill>
                  <a:schemeClr val="bg1"/>
                </a:solidFill>
              </a:rPr>
              <a:t>ApS</a:t>
            </a:r>
            <a:r>
              <a:rPr lang="en-GB" sz="2000" dirty="0">
                <a:solidFill>
                  <a:schemeClr val="bg1"/>
                </a:solidFill>
              </a:rPr>
              <a:t>: </a:t>
            </a:r>
          </a:p>
          <a:p>
            <a:endParaRPr lang="en-GB" sz="1000" dirty="0">
              <a:solidFill>
                <a:schemeClr val="bg1"/>
              </a:solidFill>
            </a:endParaRPr>
          </a:p>
          <a:p>
            <a:endParaRPr lang="en-GB" sz="1000" dirty="0">
              <a:solidFill>
                <a:schemeClr val="bg1"/>
              </a:solidFill>
            </a:endParaRPr>
          </a:p>
          <a:p>
            <a:endParaRPr lang="en-GB" sz="1000" dirty="0">
              <a:solidFill>
                <a:schemeClr val="bg1"/>
              </a:solidFill>
            </a:endParaRPr>
          </a:p>
          <a:p>
            <a:endParaRPr lang="en-GB" sz="1000" dirty="0">
              <a:solidFill>
                <a:schemeClr val="bg1"/>
              </a:solidFill>
            </a:endParaRPr>
          </a:p>
          <a:p>
            <a:r>
              <a:rPr lang="en-GB" sz="2000" dirty="0" err="1">
                <a:solidFill>
                  <a:schemeClr val="bg1"/>
                </a:solidFill>
              </a:rPr>
              <a:t>Norlys</a:t>
            </a:r>
            <a:r>
              <a:rPr lang="en-GB" sz="2000" dirty="0">
                <a:solidFill>
                  <a:schemeClr val="bg1"/>
                </a:solidFill>
              </a:rPr>
              <a:t> Holding A/S:</a:t>
            </a:r>
          </a:p>
          <a:p>
            <a:endParaRPr lang="da-DK" sz="1000" b="1" dirty="0">
              <a:solidFill>
                <a:schemeClr val="bg1"/>
              </a:solidFill>
            </a:endParaRPr>
          </a:p>
          <a:p>
            <a:endParaRPr lang="da-DK" dirty="0">
              <a:solidFill>
                <a:schemeClr val="bg1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484C1F3-0AB9-984C-832B-D1B45895080A}"/>
              </a:ext>
            </a:extLst>
          </p:cNvPr>
          <p:cNvGrpSpPr/>
          <p:nvPr/>
        </p:nvGrpSpPr>
        <p:grpSpPr>
          <a:xfrm>
            <a:off x="5282335" y="649650"/>
            <a:ext cx="2320508" cy="2320507"/>
            <a:chOff x="2352203" y="126426"/>
            <a:chExt cx="3339059" cy="3339058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DCE2E115-48E5-EC44-8508-A65A111A4108}"/>
                </a:ext>
              </a:extLst>
            </p:cNvPr>
            <p:cNvSpPr/>
            <p:nvPr/>
          </p:nvSpPr>
          <p:spPr>
            <a:xfrm>
              <a:off x="2352203" y="126426"/>
              <a:ext cx="3339058" cy="33390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K" sz="1000" dirty="0">
                <a:solidFill>
                  <a:schemeClr val="bg1"/>
                </a:solidFill>
              </a:endParaRPr>
            </a:p>
          </p:txBody>
        </p:sp>
        <p:pic>
          <p:nvPicPr>
            <p:cNvPr id="77" name="Content Placeholder 4">
              <a:extLst>
                <a:ext uri="{FF2B5EF4-FFF2-40B4-BE49-F238E27FC236}">
                  <a16:creationId xmlns:a16="http://schemas.microsoft.com/office/drawing/2014/main" id="{38CD123D-202C-4F44-9468-7B802B775A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22910" y="2208770"/>
              <a:ext cx="2996473" cy="489437"/>
            </a:xfrm>
            <a:prstGeom prst="rect">
              <a:avLst/>
            </a:prstGeom>
          </p:spPr>
        </p:pic>
        <p:pic>
          <p:nvPicPr>
            <p:cNvPr id="78" name="Content Placeholder 4">
              <a:extLst>
                <a:ext uri="{FF2B5EF4-FFF2-40B4-BE49-F238E27FC236}">
                  <a16:creationId xmlns:a16="http://schemas.microsoft.com/office/drawing/2014/main" id="{C07FA015-A41B-6B4C-B054-7B9F94BAD4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1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3734" t="-20960" r="-3591" b="-12139"/>
            <a:stretch/>
          </p:blipFill>
          <p:spPr>
            <a:xfrm>
              <a:off x="2617977" y="1017213"/>
              <a:ext cx="2810998" cy="473951"/>
            </a:xfrm>
            <a:prstGeom prst="rect">
              <a:avLst/>
            </a:prstGeom>
          </p:spPr>
        </p:pic>
        <p:sp>
          <p:nvSpPr>
            <p:cNvPr id="79" name="Text Placeholder 3">
              <a:extLst>
                <a:ext uri="{FF2B5EF4-FFF2-40B4-BE49-F238E27FC236}">
                  <a16:creationId xmlns:a16="http://schemas.microsoft.com/office/drawing/2014/main" id="{C23DFC82-CDF5-EB4A-85A8-7B29C55D9120}"/>
                </a:ext>
              </a:extLst>
            </p:cNvPr>
            <p:cNvSpPr txBox="1">
              <a:spLocks/>
            </p:cNvSpPr>
            <p:nvPr/>
          </p:nvSpPr>
          <p:spPr>
            <a:xfrm>
              <a:off x="2352203" y="1321525"/>
              <a:ext cx="3339059" cy="1869552"/>
            </a:xfrm>
            <a:prstGeom prst="rect">
              <a:avLst/>
            </a:prstGeom>
          </p:spPr>
          <p:txBody>
            <a:bodyPr vert="horz" lIns="0" tIns="0" rIns="0" bIns="0" rtlCol="0">
              <a:norm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1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252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360000" indent="-10795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468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576000" indent="-108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10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GB" sz="4000" b="1" dirty="0">
                  <a:solidFill>
                    <a:schemeClr val="tx1"/>
                  </a:solidFill>
                  <a:latin typeface="+mj-lt"/>
                </a:rPr>
                <a:t>+</a:t>
              </a:r>
            </a:p>
          </p:txBody>
        </p:sp>
      </p:grpSp>
      <p:sp>
        <p:nvSpPr>
          <p:cNvPr id="93" name="Content Placeholder 2">
            <a:extLst>
              <a:ext uri="{FF2B5EF4-FFF2-40B4-BE49-F238E27FC236}">
                <a16:creationId xmlns:a16="http://schemas.microsoft.com/office/drawing/2014/main" id="{12BC5A00-0E11-2642-B161-9F4D371E11D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3141899"/>
            <a:ext cx="3384000" cy="2015728"/>
          </a:xfrm>
        </p:spPr>
        <p:txBody>
          <a:bodyPr>
            <a:normAutofit/>
          </a:bodyPr>
          <a:lstStyle/>
          <a:p>
            <a:r>
              <a:rPr lang="da-DK" sz="3500" b="1" dirty="0">
                <a:solidFill>
                  <a:schemeClr val="tx1"/>
                </a:solidFill>
                <a:latin typeface="+mj-lt"/>
              </a:rPr>
              <a:t>Stiftet</a:t>
            </a:r>
            <a:endParaRPr lang="en-DK" sz="3500" b="1" dirty="0">
              <a:solidFill>
                <a:schemeClr val="tx1"/>
              </a:solidFill>
              <a:latin typeface="+mj-lt"/>
            </a:endParaRPr>
          </a:p>
          <a:p>
            <a:r>
              <a:rPr lang="en-DK" sz="8800" b="1" dirty="0">
                <a:solidFill>
                  <a:schemeClr val="tx1"/>
                </a:solidFill>
                <a:latin typeface="+mj-lt"/>
              </a:rPr>
              <a:t>2006</a:t>
            </a:r>
          </a:p>
        </p:txBody>
      </p:sp>
      <p:sp>
        <p:nvSpPr>
          <p:cNvPr id="94" name="Content Placeholder 3">
            <a:extLst>
              <a:ext uri="{FF2B5EF4-FFF2-40B4-BE49-F238E27FC236}">
                <a16:creationId xmlns:a16="http://schemas.microsoft.com/office/drawing/2014/main" id="{93B5B1E2-4323-204F-9976-E95B74E0260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76196" y="3141898"/>
            <a:ext cx="3384000" cy="2015729"/>
          </a:xfrm>
        </p:spPr>
        <p:txBody>
          <a:bodyPr/>
          <a:lstStyle/>
          <a:p>
            <a:r>
              <a:rPr lang="da-DK" sz="3500" b="1" dirty="0">
                <a:solidFill>
                  <a:schemeClr val="tx1"/>
                </a:solidFill>
              </a:rPr>
              <a:t>Ansatte</a:t>
            </a:r>
            <a:endParaRPr lang="en-DK" sz="3500" b="1" dirty="0">
              <a:solidFill>
                <a:schemeClr val="tx1"/>
              </a:solidFill>
            </a:endParaRPr>
          </a:p>
          <a:p>
            <a:r>
              <a:rPr lang="en-DK" sz="8800" b="1" dirty="0">
                <a:solidFill>
                  <a:schemeClr val="tx1"/>
                </a:solidFill>
              </a:rPr>
              <a:t>2</a:t>
            </a:r>
            <a:r>
              <a:rPr lang="da-DK" sz="8800" b="1" dirty="0">
                <a:solidFill>
                  <a:schemeClr val="tx1"/>
                </a:solidFill>
              </a:rPr>
              <a:t>49</a:t>
            </a:r>
            <a:endParaRPr lang="en-DK" sz="8800" b="1" dirty="0">
              <a:solidFill>
                <a:schemeClr val="tx1"/>
              </a:solidFill>
            </a:endParaRPr>
          </a:p>
        </p:txBody>
      </p:sp>
      <p:sp>
        <p:nvSpPr>
          <p:cNvPr id="95" name="Content Placeholder 4">
            <a:extLst>
              <a:ext uri="{FF2B5EF4-FFF2-40B4-BE49-F238E27FC236}">
                <a16:creationId xmlns:a16="http://schemas.microsoft.com/office/drawing/2014/main" id="{89A05734-77FB-3B46-86D0-491746D899C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92244" y="3141898"/>
            <a:ext cx="3384000" cy="2015729"/>
          </a:xfrm>
        </p:spPr>
        <p:txBody>
          <a:bodyPr/>
          <a:lstStyle/>
          <a:p>
            <a:r>
              <a:rPr lang="da-DK" sz="3500" b="1" dirty="0">
                <a:solidFill>
                  <a:schemeClr val="tx1"/>
                </a:solidFill>
              </a:rPr>
              <a:t>Lande</a:t>
            </a:r>
            <a:endParaRPr lang="en-DK" sz="3500" b="1" dirty="0">
              <a:solidFill>
                <a:schemeClr val="tx1"/>
              </a:solidFill>
            </a:endParaRPr>
          </a:p>
          <a:p>
            <a:r>
              <a:rPr lang="en-DK" sz="8800" b="1" dirty="0">
                <a:solidFill>
                  <a:schemeClr val="tx1"/>
                </a:solidFill>
              </a:rPr>
              <a:t>1</a:t>
            </a:r>
            <a:r>
              <a:rPr lang="da-DK" sz="8800" b="1" dirty="0">
                <a:solidFill>
                  <a:schemeClr val="tx1"/>
                </a:solidFill>
              </a:rPr>
              <a:t>5</a:t>
            </a:r>
            <a:endParaRPr lang="en-DK" sz="8800" b="1" dirty="0">
              <a:solidFill>
                <a:schemeClr val="tx1"/>
              </a:solidFill>
            </a:endParaRPr>
          </a:p>
        </p:txBody>
      </p:sp>
      <p:sp>
        <p:nvSpPr>
          <p:cNvPr id="96" name="Content Placeholder 2">
            <a:extLst>
              <a:ext uri="{FF2B5EF4-FFF2-40B4-BE49-F238E27FC236}">
                <a16:creationId xmlns:a16="http://schemas.microsoft.com/office/drawing/2014/main" id="{54B7C632-7238-BD40-A4E5-FDB85FC4B273}"/>
              </a:ext>
            </a:extLst>
          </p:cNvPr>
          <p:cNvSpPr txBox="1">
            <a:spLocks/>
          </p:cNvSpPr>
          <p:nvPr/>
        </p:nvSpPr>
        <p:spPr>
          <a:xfrm>
            <a:off x="515938" y="4979448"/>
            <a:ext cx="3384000" cy="201572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52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079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46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76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2000" b="1" dirty="0">
                <a:solidFill>
                  <a:schemeClr val="tx1"/>
                </a:solidFill>
                <a:latin typeface="+mj-lt"/>
              </a:rPr>
              <a:t>Grundlæggere</a:t>
            </a:r>
            <a:endParaRPr lang="en-DK" sz="2000" b="1" dirty="0">
              <a:solidFill>
                <a:schemeClr val="tx1"/>
              </a:solidFill>
              <a:latin typeface="+mj-lt"/>
            </a:endParaRPr>
          </a:p>
          <a:p>
            <a:r>
              <a:rPr lang="en-GB" sz="1400" dirty="0">
                <a:solidFill>
                  <a:schemeClr val="tx1"/>
                </a:solidFill>
              </a:rPr>
              <a:t>Jens Rasmussen</a:t>
            </a:r>
          </a:p>
          <a:p>
            <a:r>
              <a:rPr lang="en-GB" sz="1400" dirty="0">
                <a:solidFill>
                  <a:schemeClr val="tx1"/>
                </a:solidFill>
              </a:rPr>
              <a:t>Søren Rasmussen</a:t>
            </a:r>
          </a:p>
          <a:p>
            <a:r>
              <a:rPr lang="en-GB" sz="1400" dirty="0">
                <a:solidFill>
                  <a:schemeClr val="tx1"/>
                </a:solidFill>
              </a:rPr>
              <a:t>Jakob K. Kortbæk</a:t>
            </a:r>
            <a:endParaRPr lang="da-DK" sz="1400" dirty="0">
              <a:solidFill>
                <a:schemeClr val="tx1"/>
              </a:solidFill>
            </a:endParaRPr>
          </a:p>
        </p:txBody>
      </p:sp>
      <p:sp>
        <p:nvSpPr>
          <p:cNvPr id="97" name="Content Placeholder 2">
            <a:extLst>
              <a:ext uri="{FF2B5EF4-FFF2-40B4-BE49-F238E27FC236}">
                <a16:creationId xmlns:a16="http://schemas.microsoft.com/office/drawing/2014/main" id="{7831BA49-F799-7E47-AC5D-86E6E7A4D173}"/>
              </a:ext>
            </a:extLst>
          </p:cNvPr>
          <p:cNvSpPr txBox="1">
            <a:spLocks/>
          </p:cNvSpPr>
          <p:nvPr/>
        </p:nvSpPr>
        <p:spPr>
          <a:xfrm>
            <a:off x="4512200" y="4979448"/>
            <a:ext cx="3384000" cy="201572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52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079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46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76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2000" b="1" dirty="0">
                <a:solidFill>
                  <a:schemeClr val="tx1"/>
                </a:solidFill>
                <a:latin typeface="+mj-lt"/>
              </a:rPr>
              <a:t>Direktion</a:t>
            </a:r>
            <a:endParaRPr lang="en-DK" sz="2000" b="1" dirty="0">
              <a:solidFill>
                <a:schemeClr val="tx1"/>
              </a:solidFill>
              <a:latin typeface="+mj-lt"/>
            </a:endParaRPr>
          </a:p>
          <a:p>
            <a:r>
              <a:rPr lang="da-DK" sz="1400" dirty="0">
                <a:solidFill>
                  <a:schemeClr val="tx1"/>
                </a:solidFill>
              </a:rPr>
              <a:t>CEO Jens Rasmussen</a:t>
            </a:r>
          </a:p>
          <a:p>
            <a:r>
              <a:rPr lang="da-DK" sz="1400" dirty="0">
                <a:solidFill>
                  <a:schemeClr val="tx1"/>
                </a:solidFill>
              </a:rPr>
              <a:t>CFO Uffe Bak-Aagaard</a:t>
            </a:r>
          </a:p>
        </p:txBody>
      </p:sp>
      <p:sp>
        <p:nvSpPr>
          <p:cNvPr id="98" name="Content Placeholder 2">
            <a:extLst>
              <a:ext uri="{FF2B5EF4-FFF2-40B4-BE49-F238E27FC236}">
                <a16:creationId xmlns:a16="http://schemas.microsoft.com/office/drawing/2014/main" id="{C3CAB110-15D5-0543-B1A7-A0F543449B3A}"/>
              </a:ext>
            </a:extLst>
          </p:cNvPr>
          <p:cNvSpPr txBox="1">
            <a:spLocks/>
          </p:cNvSpPr>
          <p:nvPr/>
        </p:nvSpPr>
        <p:spPr>
          <a:xfrm>
            <a:off x="8292244" y="4979448"/>
            <a:ext cx="3384000" cy="201572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52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0000" indent="-1079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46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76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2000" b="1" dirty="0">
                <a:solidFill>
                  <a:schemeClr val="tx1"/>
                </a:solidFill>
                <a:latin typeface="+mj-lt"/>
              </a:rPr>
              <a:t>Hovedkontor</a:t>
            </a:r>
            <a:endParaRPr lang="en-DK" sz="2000" b="1" dirty="0">
              <a:solidFill>
                <a:schemeClr val="tx1"/>
              </a:solidFill>
              <a:latin typeface="+mj-lt"/>
            </a:endParaRPr>
          </a:p>
          <a:p>
            <a:r>
              <a:rPr lang="da-DK" sz="1400" dirty="0">
                <a:solidFill>
                  <a:schemeClr val="tx1"/>
                </a:solidFill>
              </a:rPr>
              <a:t>Mariagervej 58 B</a:t>
            </a:r>
          </a:p>
          <a:p>
            <a:r>
              <a:rPr lang="da-DK" sz="1400" dirty="0">
                <a:solidFill>
                  <a:schemeClr val="tx1"/>
                </a:solidFill>
              </a:rPr>
              <a:t>9500 Hobro</a:t>
            </a:r>
          </a:p>
          <a:p>
            <a:r>
              <a:rPr lang="da-DK" sz="1400" dirty="0">
                <a:solidFill>
                  <a:schemeClr val="tx1"/>
                </a:solidFill>
              </a:rPr>
              <a:t>Denmark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02502EBF-1B83-2348-AEA2-71CF0E6F4701}"/>
              </a:ext>
            </a:extLst>
          </p:cNvPr>
          <p:cNvSpPr/>
          <p:nvPr/>
        </p:nvSpPr>
        <p:spPr>
          <a:xfrm>
            <a:off x="11010892" y="1505023"/>
            <a:ext cx="265176" cy="265176"/>
          </a:xfrm>
          <a:prstGeom prst="ellipse">
            <a:avLst/>
          </a:prstGeom>
          <a:blipFill>
            <a:blip r:embed="rId2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0" name="Tekstfelt 79">
            <a:extLst>
              <a:ext uri="{FF2B5EF4-FFF2-40B4-BE49-F238E27FC236}">
                <a16:creationId xmlns:a16="http://schemas.microsoft.com/office/drawing/2014/main" id="{7A36732A-68E1-4CF0-80AF-54E258CAB3B7}"/>
              </a:ext>
            </a:extLst>
          </p:cNvPr>
          <p:cNvSpPr txBox="1"/>
          <p:nvPr/>
        </p:nvSpPr>
        <p:spPr>
          <a:xfrm>
            <a:off x="3601323" y="681377"/>
            <a:ext cx="1711885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6000" b="1" dirty="0">
                <a:solidFill>
                  <a:schemeClr val="bg1"/>
                </a:solidFill>
              </a:rPr>
              <a:t>50%</a:t>
            </a:r>
            <a:r>
              <a:rPr lang="en-GB" sz="2000" dirty="0">
                <a:solidFill>
                  <a:schemeClr val="bg1"/>
                </a:solidFill>
              </a:rPr>
              <a:t> </a:t>
            </a:r>
          </a:p>
          <a:p>
            <a:r>
              <a:rPr lang="en-GB" sz="6000" b="1" dirty="0">
                <a:solidFill>
                  <a:schemeClr val="bg1"/>
                </a:solidFill>
              </a:rPr>
              <a:t>50%</a:t>
            </a:r>
            <a:endParaRPr lang="da-DK" sz="6000" b="1" dirty="0">
              <a:solidFill>
                <a:schemeClr val="bg1"/>
              </a:solidFill>
            </a:endParaRP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444A96FC-6AC6-4249-8DEE-700024E04F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0875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3419EBB-87E1-4CEE-9028-71C8ED41B2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3419EBB-87E1-4CEE-9028-71C8ED41B2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E758DADB-05D7-3943-98B9-ADED410560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981074"/>
            <a:ext cx="3923877" cy="3312022"/>
          </a:xfrm>
        </p:spPr>
        <p:txBody>
          <a:bodyPr vert="horz"/>
          <a:lstStyle/>
          <a:p>
            <a:r>
              <a:rPr lang="en-DK" dirty="0">
                <a:solidFill>
                  <a:schemeClr val="tx1"/>
                </a:solidFill>
              </a:rPr>
              <a:t>Overordnet</a:t>
            </a:r>
            <a:br>
              <a:rPr lang="en-DK" dirty="0">
                <a:solidFill>
                  <a:schemeClr val="tx1"/>
                </a:solidFill>
              </a:rPr>
            </a:br>
            <a:r>
              <a:rPr lang="en-DK" dirty="0">
                <a:solidFill>
                  <a:schemeClr val="tx1"/>
                </a:solidFill>
              </a:rPr>
              <a:t>strategi</a:t>
            </a:r>
            <a:br>
              <a:rPr lang="en-DK" dirty="0">
                <a:solidFill>
                  <a:schemeClr val="tx1"/>
                </a:solidFill>
              </a:rPr>
            </a:br>
            <a:br>
              <a:rPr lang="en-DK" dirty="0">
                <a:solidFill>
                  <a:schemeClr val="tx1"/>
                </a:solidFill>
              </a:rPr>
            </a:br>
            <a:r>
              <a:rPr lang="da-DK" sz="2000" b="0" dirty="0">
                <a:solidFill>
                  <a:schemeClr val="tx1"/>
                </a:solidFill>
              </a:rPr>
              <a:t>Vi har </a:t>
            </a:r>
            <a:r>
              <a:rPr lang="da-DK" sz="2000" dirty="0">
                <a:solidFill>
                  <a:schemeClr val="tx1"/>
                </a:solidFill>
              </a:rPr>
              <a:t>en</a:t>
            </a:r>
            <a:r>
              <a:rPr lang="da-DK" sz="2000" b="0" dirty="0">
                <a:solidFill>
                  <a:schemeClr val="tx1"/>
                </a:solidFill>
              </a:rPr>
              <a:t> </a:t>
            </a:r>
            <a:r>
              <a:rPr lang="da-DK" sz="2000" dirty="0">
                <a:solidFill>
                  <a:schemeClr val="tx1"/>
                </a:solidFill>
              </a:rPr>
              <a:t>balanceret forretning</a:t>
            </a:r>
            <a:r>
              <a:rPr lang="da-DK" sz="2000" b="0" dirty="0">
                <a:solidFill>
                  <a:schemeClr val="tx1"/>
                </a:solidFill>
              </a:rPr>
              <a:t>, hvor tre forretningsområder understøtter hinanden. </a:t>
            </a:r>
            <a:br>
              <a:rPr lang="da-DK" sz="2000" b="0" dirty="0">
                <a:solidFill>
                  <a:schemeClr val="tx1"/>
                </a:solidFill>
              </a:rPr>
            </a:br>
            <a:endParaRPr lang="en-DK" sz="2000" b="0" dirty="0">
              <a:solidFill>
                <a:schemeClr val="tx1"/>
              </a:solidFill>
            </a:endParaRP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86B69846-2964-674B-9B8B-085AB8C6E51C}"/>
              </a:ext>
            </a:extLst>
          </p:cNvPr>
          <p:cNvSpPr/>
          <p:nvPr/>
        </p:nvSpPr>
        <p:spPr>
          <a:xfrm>
            <a:off x="85941" y="6222626"/>
            <a:ext cx="2771779" cy="6206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K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47" name="Billede 10">
            <a:extLst>
              <a:ext uri="{FF2B5EF4-FFF2-40B4-BE49-F238E27FC236}">
                <a16:creationId xmlns:a16="http://schemas.microsoft.com/office/drawing/2014/main" id="{87319D54-F97B-1343-808E-3C821AC64C01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8" y="6345324"/>
            <a:ext cx="1519660" cy="187646"/>
          </a:xfrm>
          <a:prstGeom prst="rect">
            <a:avLst/>
          </a:prstGeom>
        </p:spPr>
      </p:pic>
      <p:grpSp>
        <p:nvGrpSpPr>
          <p:cNvPr id="76" name="Group 1">
            <a:extLst>
              <a:ext uri="{FF2B5EF4-FFF2-40B4-BE49-F238E27FC236}">
                <a16:creationId xmlns:a16="http://schemas.microsoft.com/office/drawing/2014/main" id="{39D4E57F-F558-9548-8680-17CF5BCF3CAC}"/>
              </a:ext>
            </a:extLst>
          </p:cNvPr>
          <p:cNvGrpSpPr/>
          <p:nvPr>
            <p:custDataLst>
              <p:tags r:id="rId2"/>
            </p:custDataLst>
          </p:nvPr>
        </p:nvGrpSpPr>
        <p:grpSpPr bwMode="gray">
          <a:xfrm>
            <a:off x="7248128" y="692696"/>
            <a:ext cx="4032449" cy="4032448"/>
            <a:chOff x="3307413" y="1657527"/>
            <a:chExt cx="4078574" cy="4165696"/>
          </a:xfrm>
        </p:grpSpPr>
        <p:sp>
          <p:nvSpPr>
            <p:cNvPr id="77" name="Freeform 7">
              <a:extLst>
                <a:ext uri="{FF2B5EF4-FFF2-40B4-BE49-F238E27FC236}">
                  <a16:creationId xmlns:a16="http://schemas.microsoft.com/office/drawing/2014/main" id="{58E29270-CD72-E747-9BE4-AECA4074B26D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3307414" y="1657527"/>
              <a:ext cx="2190091" cy="3124271"/>
            </a:xfrm>
            <a:custGeom>
              <a:avLst/>
              <a:gdLst/>
              <a:ahLst/>
              <a:cxnLst>
                <a:cxn ang="0">
                  <a:pos x="141" y="1889"/>
                </a:cxn>
                <a:cxn ang="0">
                  <a:pos x="103" y="1808"/>
                </a:cxn>
                <a:cxn ang="0">
                  <a:pos x="71" y="1723"/>
                </a:cxn>
                <a:cxn ang="0">
                  <a:pos x="44" y="1636"/>
                </a:cxn>
                <a:cxn ang="0">
                  <a:pos x="24" y="1548"/>
                </a:cxn>
                <a:cxn ang="0">
                  <a:pos x="9" y="1458"/>
                </a:cxn>
                <a:cxn ang="0">
                  <a:pos x="2" y="1368"/>
                </a:cxn>
                <a:cxn ang="0">
                  <a:pos x="0" y="1277"/>
                </a:cxn>
                <a:cxn ang="0">
                  <a:pos x="5" y="1187"/>
                </a:cxn>
                <a:cxn ang="0">
                  <a:pos x="15" y="1097"/>
                </a:cxn>
                <a:cxn ang="0">
                  <a:pos x="33" y="1007"/>
                </a:cxn>
                <a:cxn ang="0">
                  <a:pos x="57" y="920"/>
                </a:cxn>
                <a:cxn ang="0">
                  <a:pos x="86" y="834"/>
                </a:cxn>
                <a:cxn ang="0">
                  <a:pos x="122" y="751"/>
                </a:cxn>
                <a:cxn ang="0">
                  <a:pos x="163" y="669"/>
                </a:cxn>
                <a:cxn ang="0">
                  <a:pos x="209" y="592"/>
                </a:cxn>
                <a:cxn ang="0">
                  <a:pos x="261" y="518"/>
                </a:cxn>
                <a:cxn ang="0">
                  <a:pos x="319" y="447"/>
                </a:cxn>
                <a:cxn ang="0">
                  <a:pos x="380" y="380"/>
                </a:cxn>
                <a:cxn ang="0">
                  <a:pos x="446" y="319"/>
                </a:cxn>
                <a:cxn ang="0">
                  <a:pos x="517" y="261"/>
                </a:cxn>
                <a:cxn ang="0">
                  <a:pos x="591" y="210"/>
                </a:cxn>
                <a:cxn ang="0">
                  <a:pos x="669" y="164"/>
                </a:cxn>
                <a:cxn ang="0">
                  <a:pos x="750" y="122"/>
                </a:cxn>
                <a:cxn ang="0">
                  <a:pos x="834" y="87"/>
                </a:cxn>
                <a:cxn ang="0">
                  <a:pos x="919" y="57"/>
                </a:cxn>
                <a:cxn ang="0">
                  <a:pos x="1007" y="33"/>
                </a:cxn>
                <a:cxn ang="0">
                  <a:pos x="1096" y="16"/>
                </a:cxn>
                <a:cxn ang="0">
                  <a:pos x="1186" y="5"/>
                </a:cxn>
                <a:cxn ang="0">
                  <a:pos x="1276" y="0"/>
                </a:cxn>
                <a:cxn ang="0">
                  <a:pos x="1288" y="650"/>
                </a:cxn>
                <a:cxn ang="0">
                  <a:pos x="1243" y="652"/>
                </a:cxn>
                <a:cxn ang="0">
                  <a:pos x="1198" y="658"/>
                </a:cxn>
                <a:cxn ang="0">
                  <a:pos x="1153" y="667"/>
                </a:cxn>
                <a:cxn ang="0">
                  <a:pos x="1109" y="678"/>
                </a:cxn>
                <a:cxn ang="0">
                  <a:pos x="1066" y="693"/>
                </a:cxn>
                <a:cxn ang="0">
                  <a:pos x="1025" y="711"/>
                </a:cxn>
                <a:cxn ang="0">
                  <a:pos x="985" y="732"/>
                </a:cxn>
                <a:cxn ang="0">
                  <a:pos x="945" y="755"/>
                </a:cxn>
                <a:cxn ang="0">
                  <a:pos x="908" y="781"/>
                </a:cxn>
                <a:cxn ang="0">
                  <a:pos x="873" y="810"/>
                </a:cxn>
                <a:cxn ang="0">
                  <a:pos x="840" y="840"/>
                </a:cxn>
                <a:cxn ang="0">
                  <a:pos x="809" y="874"/>
                </a:cxn>
                <a:cxn ang="0">
                  <a:pos x="780" y="908"/>
                </a:cxn>
                <a:cxn ang="0">
                  <a:pos x="754" y="946"/>
                </a:cxn>
                <a:cxn ang="0">
                  <a:pos x="731" y="985"/>
                </a:cxn>
                <a:cxn ang="0">
                  <a:pos x="710" y="1025"/>
                </a:cxn>
                <a:cxn ang="0">
                  <a:pos x="693" y="1067"/>
                </a:cxn>
                <a:cxn ang="0">
                  <a:pos x="678" y="1110"/>
                </a:cxn>
                <a:cxn ang="0">
                  <a:pos x="666" y="1153"/>
                </a:cxn>
                <a:cxn ang="0">
                  <a:pos x="657" y="1198"/>
                </a:cxn>
                <a:cxn ang="0">
                  <a:pos x="652" y="1243"/>
                </a:cxn>
                <a:cxn ang="0">
                  <a:pos x="650" y="1289"/>
                </a:cxn>
                <a:cxn ang="0">
                  <a:pos x="651" y="1334"/>
                </a:cxn>
                <a:cxn ang="0">
                  <a:pos x="654" y="1379"/>
                </a:cxn>
                <a:cxn ang="0">
                  <a:pos x="661" y="1424"/>
                </a:cxn>
                <a:cxn ang="0">
                  <a:pos x="672" y="1468"/>
                </a:cxn>
                <a:cxn ang="0">
                  <a:pos x="685" y="1511"/>
                </a:cxn>
                <a:cxn ang="0">
                  <a:pos x="702" y="1553"/>
                </a:cxn>
                <a:cxn ang="0">
                  <a:pos x="721" y="1595"/>
                </a:cxn>
                <a:cxn ang="0">
                  <a:pos x="387" y="1684"/>
                </a:cxn>
              </a:cxnLst>
              <a:rect l="0" t="0" r="r" b="b"/>
              <a:pathLst>
                <a:path w="1396" h="1951">
                  <a:moveTo>
                    <a:pt x="174" y="1950"/>
                  </a:moveTo>
                  <a:lnTo>
                    <a:pt x="163" y="1930"/>
                  </a:lnTo>
                  <a:lnTo>
                    <a:pt x="152" y="1910"/>
                  </a:lnTo>
                  <a:lnTo>
                    <a:pt x="141" y="1889"/>
                  </a:lnTo>
                  <a:lnTo>
                    <a:pt x="131" y="1869"/>
                  </a:lnTo>
                  <a:lnTo>
                    <a:pt x="122" y="1849"/>
                  </a:lnTo>
                  <a:lnTo>
                    <a:pt x="112" y="1828"/>
                  </a:lnTo>
                  <a:lnTo>
                    <a:pt x="103" y="1808"/>
                  </a:lnTo>
                  <a:lnTo>
                    <a:pt x="94" y="1787"/>
                  </a:lnTo>
                  <a:lnTo>
                    <a:pt x="86" y="1766"/>
                  </a:lnTo>
                  <a:lnTo>
                    <a:pt x="78" y="1744"/>
                  </a:lnTo>
                  <a:lnTo>
                    <a:pt x="71" y="1723"/>
                  </a:lnTo>
                  <a:lnTo>
                    <a:pt x="63" y="1701"/>
                  </a:lnTo>
                  <a:lnTo>
                    <a:pt x="57" y="1680"/>
                  </a:lnTo>
                  <a:lnTo>
                    <a:pt x="50" y="1658"/>
                  </a:lnTo>
                  <a:lnTo>
                    <a:pt x="44" y="1636"/>
                  </a:lnTo>
                  <a:lnTo>
                    <a:pt x="38" y="1614"/>
                  </a:lnTo>
                  <a:lnTo>
                    <a:pt x="33" y="1592"/>
                  </a:lnTo>
                  <a:lnTo>
                    <a:pt x="28" y="1570"/>
                  </a:lnTo>
                  <a:lnTo>
                    <a:pt x="24" y="1548"/>
                  </a:lnTo>
                  <a:lnTo>
                    <a:pt x="19" y="1526"/>
                  </a:lnTo>
                  <a:lnTo>
                    <a:pt x="15" y="1504"/>
                  </a:lnTo>
                  <a:lnTo>
                    <a:pt x="12" y="1480"/>
                  </a:lnTo>
                  <a:lnTo>
                    <a:pt x="9" y="1458"/>
                  </a:lnTo>
                  <a:lnTo>
                    <a:pt x="7" y="1435"/>
                  </a:lnTo>
                  <a:lnTo>
                    <a:pt x="5" y="1413"/>
                  </a:lnTo>
                  <a:lnTo>
                    <a:pt x="3" y="1390"/>
                  </a:lnTo>
                  <a:lnTo>
                    <a:pt x="2" y="1368"/>
                  </a:lnTo>
                  <a:lnTo>
                    <a:pt x="1" y="1345"/>
                  </a:lnTo>
                  <a:lnTo>
                    <a:pt x="0" y="1322"/>
                  </a:lnTo>
                  <a:lnTo>
                    <a:pt x="0" y="1300"/>
                  </a:lnTo>
                  <a:lnTo>
                    <a:pt x="0" y="1277"/>
                  </a:lnTo>
                  <a:lnTo>
                    <a:pt x="1" y="1254"/>
                  </a:lnTo>
                  <a:lnTo>
                    <a:pt x="2" y="1232"/>
                  </a:lnTo>
                  <a:lnTo>
                    <a:pt x="3" y="1209"/>
                  </a:lnTo>
                  <a:lnTo>
                    <a:pt x="5" y="1187"/>
                  </a:lnTo>
                  <a:lnTo>
                    <a:pt x="7" y="1164"/>
                  </a:lnTo>
                  <a:lnTo>
                    <a:pt x="9" y="1142"/>
                  </a:lnTo>
                  <a:lnTo>
                    <a:pt x="12" y="1119"/>
                  </a:lnTo>
                  <a:lnTo>
                    <a:pt x="15" y="1097"/>
                  </a:lnTo>
                  <a:lnTo>
                    <a:pt x="19" y="1074"/>
                  </a:lnTo>
                  <a:lnTo>
                    <a:pt x="24" y="1051"/>
                  </a:lnTo>
                  <a:lnTo>
                    <a:pt x="28" y="1029"/>
                  </a:lnTo>
                  <a:lnTo>
                    <a:pt x="33" y="1007"/>
                  </a:lnTo>
                  <a:lnTo>
                    <a:pt x="38" y="985"/>
                  </a:lnTo>
                  <a:lnTo>
                    <a:pt x="44" y="963"/>
                  </a:lnTo>
                  <a:lnTo>
                    <a:pt x="50" y="942"/>
                  </a:lnTo>
                  <a:lnTo>
                    <a:pt x="57" y="920"/>
                  </a:lnTo>
                  <a:lnTo>
                    <a:pt x="63" y="898"/>
                  </a:lnTo>
                  <a:lnTo>
                    <a:pt x="71" y="877"/>
                  </a:lnTo>
                  <a:lnTo>
                    <a:pt x="78" y="856"/>
                  </a:lnTo>
                  <a:lnTo>
                    <a:pt x="86" y="834"/>
                  </a:lnTo>
                  <a:lnTo>
                    <a:pt x="94" y="813"/>
                  </a:lnTo>
                  <a:lnTo>
                    <a:pt x="103" y="792"/>
                  </a:lnTo>
                  <a:lnTo>
                    <a:pt x="112" y="771"/>
                  </a:lnTo>
                  <a:lnTo>
                    <a:pt x="122" y="751"/>
                  </a:lnTo>
                  <a:lnTo>
                    <a:pt x="131" y="730"/>
                  </a:lnTo>
                  <a:lnTo>
                    <a:pt x="141" y="710"/>
                  </a:lnTo>
                  <a:lnTo>
                    <a:pt x="152" y="690"/>
                  </a:lnTo>
                  <a:lnTo>
                    <a:pt x="163" y="669"/>
                  </a:lnTo>
                  <a:lnTo>
                    <a:pt x="174" y="650"/>
                  </a:lnTo>
                  <a:lnTo>
                    <a:pt x="185" y="630"/>
                  </a:lnTo>
                  <a:lnTo>
                    <a:pt x="197" y="611"/>
                  </a:lnTo>
                  <a:lnTo>
                    <a:pt x="209" y="592"/>
                  </a:lnTo>
                  <a:lnTo>
                    <a:pt x="222" y="573"/>
                  </a:lnTo>
                  <a:lnTo>
                    <a:pt x="235" y="554"/>
                  </a:lnTo>
                  <a:lnTo>
                    <a:pt x="248" y="536"/>
                  </a:lnTo>
                  <a:lnTo>
                    <a:pt x="261" y="518"/>
                  </a:lnTo>
                  <a:lnTo>
                    <a:pt x="275" y="499"/>
                  </a:lnTo>
                  <a:lnTo>
                    <a:pt x="289" y="482"/>
                  </a:lnTo>
                  <a:lnTo>
                    <a:pt x="304" y="464"/>
                  </a:lnTo>
                  <a:lnTo>
                    <a:pt x="319" y="447"/>
                  </a:lnTo>
                  <a:lnTo>
                    <a:pt x="334" y="430"/>
                  </a:lnTo>
                  <a:lnTo>
                    <a:pt x="349" y="413"/>
                  </a:lnTo>
                  <a:lnTo>
                    <a:pt x="365" y="397"/>
                  </a:lnTo>
                  <a:lnTo>
                    <a:pt x="380" y="380"/>
                  </a:lnTo>
                  <a:lnTo>
                    <a:pt x="396" y="365"/>
                  </a:lnTo>
                  <a:lnTo>
                    <a:pt x="413" y="350"/>
                  </a:lnTo>
                  <a:lnTo>
                    <a:pt x="430" y="334"/>
                  </a:lnTo>
                  <a:lnTo>
                    <a:pt x="446" y="319"/>
                  </a:lnTo>
                  <a:lnTo>
                    <a:pt x="463" y="305"/>
                  </a:lnTo>
                  <a:lnTo>
                    <a:pt x="482" y="289"/>
                  </a:lnTo>
                  <a:lnTo>
                    <a:pt x="499" y="276"/>
                  </a:lnTo>
                  <a:lnTo>
                    <a:pt x="517" y="261"/>
                  </a:lnTo>
                  <a:lnTo>
                    <a:pt x="535" y="248"/>
                  </a:lnTo>
                  <a:lnTo>
                    <a:pt x="554" y="236"/>
                  </a:lnTo>
                  <a:lnTo>
                    <a:pt x="573" y="222"/>
                  </a:lnTo>
                  <a:lnTo>
                    <a:pt x="591" y="210"/>
                  </a:lnTo>
                  <a:lnTo>
                    <a:pt x="610" y="197"/>
                  </a:lnTo>
                  <a:lnTo>
                    <a:pt x="630" y="186"/>
                  </a:lnTo>
                  <a:lnTo>
                    <a:pt x="650" y="174"/>
                  </a:lnTo>
                  <a:lnTo>
                    <a:pt x="669" y="164"/>
                  </a:lnTo>
                  <a:lnTo>
                    <a:pt x="689" y="152"/>
                  </a:lnTo>
                  <a:lnTo>
                    <a:pt x="709" y="141"/>
                  </a:lnTo>
                  <a:lnTo>
                    <a:pt x="729" y="132"/>
                  </a:lnTo>
                  <a:lnTo>
                    <a:pt x="750" y="122"/>
                  </a:lnTo>
                  <a:lnTo>
                    <a:pt x="771" y="113"/>
                  </a:lnTo>
                  <a:lnTo>
                    <a:pt x="792" y="103"/>
                  </a:lnTo>
                  <a:lnTo>
                    <a:pt x="813" y="94"/>
                  </a:lnTo>
                  <a:lnTo>
                    <a:pt x="834" y="87"/>
                  </a:lnTo>
                  <a:lnTo>
                    <a:pt x="855" y="78"/>
                  </a:lnTo>
                  <a:lnTo>
                    <a:pt x="876" y="71"/>
                  </a:lnTo>
                  <a:lnTo>
                    <a:pt x="897" y="64"/>
                  </a:lnTo>
                  <a:lnTo>
                    <a:pt x="919" y="57"/>
                  </a:lnTo>
                  <a:lnTo>
                    <a:pt x="941" y="50"/>
                  </a:lnTo>
                  <a:lnTo>
                    <a:pt x="963" y="45"/>
                  </a:lnTo>
                  <a:lnTo>
                    <a:pt x="985" y="39"/>
                  </a:lnTo>
                  <a:lnTo>
                    <a:pt x="1007" y="33"/>
                  </a:lnTo>
                  <a:lnTo>
                    <a:pt x="1029" y="28"/>
                  </a:lnTo>
                  <a:lnTo>
                    <a:pt x="1051" y="24"/>
                  </a:lnTo>
                  <a:lnTo>
                    <a:pt x="1074" y="20"/>
                  </a:lnTo>
                  <a:lnTo>
                    <a:pt x="1096" y="16"/>
                  </a:lnTo>
                  <a:lnTo>
                    <a:pt x="1118" y="13"/>
                  </a:lnTo>
                  <a:lnTo>
                    <a:pt x="1141" y="10"/>
                  </a:lnTo>
                  <a:lnTo>
                    <a:pt x="1163" y="7"/>
                  </a:lnTo>
                  <a:lnTo>
                    <a:pt x="1186" y="5"/>
                  </a:lnTo>
                  <a:lnTo>
                    <a:pt x="1208" y="3"/>
                  </a:lnTo>
                  <a:lnTo>
                    <a:pt x="1231" y="2"/>
                  </a:lnTo>
                  <a:lnTo>
                    <a:pt x="1253" y="1"/>
                  </a:lnTo>
                  <a:lnTo>
                    <a:pt x="1276" y="0"/>
                  </a:lnTo>
                  <a:lnTo>
                    <a:pt x="1300" y="0"/>
                  </a:lnTo>
                  <a:lnTo>
                    <a:pt x="1395" y="340"/>
                  </a:lnTo>
                  <a:lnTo>
                    <a:pt x="1300" y="650"/>
                  </a:lnTo>
                  <a:lnTo>
                    <a:pt x="1288" y="650"/>
                  </a:lnTo>
                  <a:lnTo>
                    <a:pt x="1276" y="650"/>
                  </a:lnTo>
                  <a:lnTo>
                    <a:pt x="1265" y="651"/>
                  </a:lnTo>
                  <a:lnTo>
                    <a:pt x="1254" y="651"/>
                  </a:lnTo>
                  <a:lnTo>
                    <a:pt x="1243" y="652"/>
                  </a:lnTo>
                  <a:lnTo>
                    <a:pt x="1231" y="653"/>
                  </a:lnTo>
                  <a:lnTo>
                    <a:pt x="1220" y="655"/>
                  </a:lnTo>
                  <a:lnTo>
                    <a:pt x="1209" y="656"/>
                  </a:lnTo>
                  <a:lnTo>
                    <a:pt x="1198" y="658"/>
                  </a:lnTo>
                  <a:lnTo>
                    <a:pt x="1186" y="660"/>
                  </a:lnTo>
                  <a:lnTo>
                    <a:pt x="1176" y="662"/>
                  </a:lnTo>
                  <a:lnTo>
                    <a:pt x="1164" y="665"/>
                  </a:lnTo>
                  <a:lnTo>
                    <a:pt x="1153" y="667"/>
                  </a:lnTo>
                  <a:lnTo>
                    <a:pt x="1142" y="669"/>
                  </a:lnTo>
                  <a:lnTo>
                    <a:pt x="1132" y="672"/>
                  </a:lnTo>
                  <a:lnTo>
                    <a:pt x="1120" y="675"/>
                  </a:lnTo>
                  <a:lnTo>
                    <a:pt x="1109" y="678"/>
                  </a:lnTo>
                  <a:lnTo>
                    <a:pt x="1099" y="682"/>
                  </a:lnTo>
                  <a:lnTo>
                    <a:pt x="1087" y="686"/>
                  </a:lnTo>
                  <a:lnTo>
                    <a:pt x="1077" y="690"/>
                  </a:lnTo>
                  <a:lnTo>
                    <a:pt x="1066" y="693"/>
                  </a:lnTo>
                  <a:lnTo>
                    <a:pt x="1056" y="697"/>
                  </a:lnTo>
                  <a:lnTo>
                    <a:pt x="1045" y="702"/>
                  </a:lnTo>
                  <a:lnTo>
                    <a:pt x="1035" y="706"/>
                  </a:lnTo>
                  <a:lnTo>
                    <a:pt x="1025" y="711"/>
                  </a:lnTo>
                  <a:lnTo>
                    <a:pt x="1014" y="715"/>
                  </a:lnTo>
                  <a:lnTo>
                    <a:pt x="1004" y="721"/>
                  </a:lnTo>
                  <a:lnTo>
                    <a:pt x="994" y="726"/>
                  </a:lnTo>
                  <a:lnTo>
                    <a:pt x="985" y="732"/>
                  </a:lnTo>
                  <a:lnTo>
                    <a:pt x="974" y="737"/>
                  </a:lnTo>
                  <a:lnTo>
                    <a:pt x="965" y="742"/>
                  </a:lnTo>
                  <a:lnTo>
                    <a:pt x="955" y="749"/>
                  </a:lnTo>
                  <a:lnTo>
                    <a:pt x="945" y="755"/>
                  </a:lnTo>
                  <a:lnTo>
                    <a:pt x="936" y="761"/>
                  </a:lnTo>
                  <a:lnTo>
                    <a:pt x="926" y="767"/>
                  </a:lnTo>
                  <a:lnTo>
                    <a:pt x="917" y="774"/>
                  </a:lnTo>
                  <a:lnTo>
                    <a:pt x="908" y="781"/>
                  </a:lnTo>
                  <a:lnTo>
                    <a:pt x="899" y="787"/>
                  </a:lnTo>
                  <a:lnTo>
                    <a:pt x="891" y="795"/>
                  </a:lnTo>
                  <a:lnTo>
                    <a:pt x="882" y="802"/>
                  </a:lnTo>
                  <a:lnTo>
                    <a:pt x="873" y="810"/>
                  </a:lnTo>
                  <a:lnTo>
                    <a:pt x="865" y="817"/>
                  </a:lnTo>
                  <a:lnTo>
                    <a:pt x="856" y="825"/>
                  </a:lnTo>
                  <a:lnTo>
                    <a:pt x="847" y="833"/>
                  </a:lnTo>
                  <a:lnTo>
                    <a:pt x="840" y="840"/>
                  </a:lnTo>
                  <a:lnTo>
                    <a:pt x="832" y="848"/>
                  </a:lnTo>
                  <a:lnTo>
                    <a:pt x="824" y="857"/>
                  </a:lnTo>
                  <a:lnTo>
                    <a:pt x="817" y="865"/>
                  </a:lnTo>
                  <a:lnTo>
                    <a:pt x="809" y="874"/>
                  </a:lnTo>
                  <a:lnTo>
                    <a:pt x="801" y="882"/>
                  </a:lnTo>
                  <a:lnTo>
                    <a:pt x="795" y="891"/>
                  </a:lnTo>
                  <a:lnTo>
                    <a:pt x="787" y="900"/>
                  </a:lnTo>
                  <a:lnTo>
                    <a:pt x="780" y="908"/>
                  </a:lnTo>
                  <a:lnTo>
                    <a:pt x="774" y="918"/>
                  </a:lnTo>
                  <a:lnTo>
                    <a:pt x="767" y="927"/>
                  </a:lnTo>
                  <a:lnTo>
                    <a:pt x="760" y="936"/>
                  </a:lnTo>
                  <a:lnTo>
                    <a:pt x="754" y="946"/>
                  </a:lnTo>
                  <a:lnTo>
                    <a:pt x="749" y="955"/>
                  </a:lnTo>
                  <a:lnTo>
                    <a:pt x="742" y="965"/>
                  </a:lnTo>
                  <a:lnTo>
                    <a:pt x="736" y="975"/>
                  </a:lnTo>
                  <a:lnTo>
                    <a:pt x="731" y="985"/>
                  </a:lnTo>
                  <a:lnTo>
                    <a:pt x="726" y="995"/>
                  </a:lnTo>
                  <a:lnTo>
                    <a:pt x="721" y="1004"/>
                  </a:lnTo>
                  <a:lnTo>
                    <a:pt x="715" y="1015"/>
                  </a:lnTo>
                  <a:lnTo>
                    <a:pt x="710" y="1025"/>
                  </a:lnTo>
                  <a:lnTo>
                    <a:pt x="705" y="1035"/>
                  </a:lnTo>
                  <a:lnTo>
                    <a:pt x="702" y="1046"/>
                  </a:lnTo>
                  <a:lnTo>
                    <a:pt x="697" y="1056"/>
                  </a:lnTo>
                  <a:lnTo>
                    <a:pt x="693" y="1067"/>
                  </a:lnTo>
                  <a:lnTo>
                    <a:pt x="689" y="1077"/>
                  </a:lnTo>
                  <a:lnTo>
                    <a:pt x="685" y="1088"/>
                  </a:lnTo>
                  <a:lnTo>
                    <a:pt x="681" y="1099"/>
                  </a:lnTo>
                  <a:lnTo>
                    <a:pt x="678" y="1110"/>
                  </a:lnTo>
                  <a:lnTo>
                    <a:pt x="675" y="1121"/>
                  </a:lnTo>
                  <a:lnTo>
                    <a:pt x="672" y="1132"/>
                  </a:lnTo>
                  <a:lnTo>
                    <a:pt x="669" y="1143"/>
                  </a:lnTo>
                  <a:lnTo>
                    <a:pt x="666" y="1153"/>
                  </a:lnTo>
                  <a:lnTo>
                    <a:pt x="664" y="1165"/>
                  </a:lnTo>
                  <a:lnTo>
                    <a:pt x="661" y="1176"/>
                  </a:lnTo>
                  <a:lnTo>
                    <a:pt x="659" y="1187"/>
                  </a:lnTo>
                  <a:lnTo>
                    <a:pt x="657" y="1198"/>
                  </a:lnTo>
                  <a:lnTo>
                    <a:pt x="655" y="1210"/>
                  </a:lnTo>
                  <a:lnTo>
                    <a:pt x="654" y="1220"/>
                  </a:lnTo>
                  <a:lnTo>
                    <a:pt x="653" y="1232"/>
                  </a:lnTo>
                  <a:lnTo>
                    <a:pt x="652" y="1243"/>
                  </a:lnTo>
                  <a:lnTo>
                    <a:pt x="651" y="1255"/>
                  </a:lnTo>
                  <a:lnTo>
                    <a:pt x="651" y="1265"/>
                  </a:lnTo>
                  <a:lnTo>
                    <a:pt x="650" y="1277"/>
                  </a:lnTo>
                  <a:lnTo>
                    <a:pt x="650" y="1289"/>
                  </a:lnTo>
                  <a:lnTo>
                    <a:pt x="650" y="1300"/>
                  </a:lnTo>
                  <a:lnTo>
                    <a:pt x="650" y="1312"/>
                  </a:lnTo>
                  <a:lnTo>
                    <a:pt x="650" y="1322"/>
                  </a:lnTo>
                  <a:lnTo>
                    <a:pt x="651" y="1334"/>
                  </a:lnTo>
                  <a:lnTo>
                    <a:pt x="651" y="1345"/>
                  </a:lnTo>
                  <a:lnTo>
                    <a:pt x="652" y="1357"/>
                  </a:lnTo>
                  <a:lnTo>
                    <a:pt x="653" y="1368"/>
                  </a:lnTo>
                  <a:lnTo>
                    <a:pt x="654" y="1379"/>
                  </a:lnTo>
                  <a:lnTo>
                    <a:pt x="655" y="1390"/>
                  </a:lnTo>
                  <a:lnTo>
                    <a:pt x="657" y="1402"/>
                  </a:lnTo>
                  <a:lnTo>
                    <a:pt x="659" y="1412"/>
                  </a:lnTo>
                  <a:lnTo>
                    <a:pt x="661" y="1424"/>
                  </a:lnTo>
                  <a:lnTo>
                    <a:pt x="664" y="1435"/>
                  </a:lnTo>
                  <a:lnTo>
                    <a:pt x="666" y="1446"/>
                  </a:lnTo>
                  <a:lnTo>
                    <a:pt x="669" y="1457"/>
                  </a:lnTo>
                  <a:lnTo>
                    <a:pt x="672" y="1468"/>
                  </a:lnTo>
                  <a:lnTo>
                    <a:pt x="675" y="1479"/>
                  </a:lnTo>
                  <a:lnTo>
                    <a:pt x="678" y="1490"/>
                  </a:lnTo>
                  <a:lnTo>
                    <a:pt x="681" y="1501"/>
                  </a:lnTo>
                  <a:lnTo>
                    <a:pt x="685" y="1511"/>
                  </a:lnTo>
                  <a:lnTo>
                    <a:pt x="689" y="1522"/>
                  </a:lnTo>
                  <a:lnTo>
                    <a:pt x="693" y="1532"/>
                  </a:lnTo>
                  <a:lnTo>
                    <a:pt x="697" y="1543"/>
                  </a:lnTo>
                  <a:lnTo>
                    <a:pt x="702" y="1553"/>
                  </a:lnTo>
                  <a:lnTo>
                    <a:pt x="705" y="1564"/>
                  </a:lnTo>
                  <a:lnTo>
                    <a:pt x="710" y="1575"/>
                  </a:lnTo>
                  <a:lnTo>
                    <a:pt x="715" y="1585"/>
                  </a:lnTo>
                  <a:lnTo>
                    <a:pt x="721" y="1595"/>
                  </a:lnTo>
                  <a:lnTo>
                    <a:pt x="726" y="1605"/>
                  </a:lnTo>
                  <a:lnTo>
                    <a:pt x="731" y="1615"/>
                  </a:lnTo>
                  <a:lnTo>
                    <a:pt x="736" y="1624"/>
                  </a:lnTo>
                  <a:lnTo>
                    <a:pt x="387" y="1684"/>
                  </a:lnTo>
                  <a:lnTo>
                    <a:pt x="174" y="1950"/>
                  </a:lnTo>
                </a:path>
              </a:pathLst>
            </a:custGeom>
            <a:solidFill>
              <a:schemeClr val="accent6"/>
            </a:solidFill>
            <a:ln w="38100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8164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455A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BE3C07E6-5979-CE49-93B4-9A299DA0628C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5348413" y="1657527"/>
              <a:ext cx="2037574" cy="3124271"/>
            </a:xfrm>
            <a:custGeom>
              <a:avLst/>
              <a:gdLst/>
              <a:ahLst/>
              <a:cxnLst>
                <a:cxn ang="0">
                  <a:pos x="68" y="2"/>
                </a:cxn>
                <a:cxn ang="0">
                  <a:pos x="158" y="10"/>
                </a:cxn>
                <a:cxn ang="0">
                  <a:pos x="247" y="24"/>
                </a:cxn>
                <a:cxn ang="0">
                  <a:pos x="335" y="45"/>
                </a:cxn>
                <a:cxn ang="0">
                  <a:pos x="423" y="71"/>
                </a:cxn>
                <a:cxn ang="0">
                  <a:pos x="507" y="103"/>
                </a:cxn>
                <a:cxn ang="0">
                  <a:pos x="589" y="141"/>
                </a:cxn>
                <a:cxn ang="0">
                  <a:pos x="669" y="186"/>
                </a:cxn>
                <a:cxn ang="0">
                  <a:pos x="744" y="236"/>
                </a:cxn>
                <a:cxn ang="0">
                  <a:pos x="817" y="289"/>
                </a:cxn>
                <a:cxn ang="0">
                  <a:pos x="885" y="350"/>
                </a:cxn>
                <a:cxn ang="0">
                  <a:pos x="950" y="413"/>
                </a:cxn>
                <a:cxn ang="0">
                  <a:pos x="1009" y="482"/>
                </a:cxn>
                <a:cxn ang="0">
                  <a:pos x="1064" y="554"/>
                </a:cxn>
                <a:cxn ang="0">
                  <a:pos x="1113" y="630"/>
                </a:cxn>
                <a:cxn ang="0">
                  <a:pos x="1157" y="710"/>
                </a:cxn>
                <a:cxn ang="0">
                  <a:pos x="1195" y="792"/>
                </a:cxn>
                <a:cxn ang="0">
                  <a:pos x="1228" y="877"/>
                </a:cxn>
                <a:cxn ang="0">
                  <a:pos x="1255" y="963"/>
                </a:cxn>
                <a:cxn ang="0">
                  <a:pos x="1275" y="1051"/>
                </a:cxn>
                <a:cxn ang="0">
                  <a:pos x="1290" y="1142"/>
                </a:cxn>
                <a:cxn ang="0">
                  <a:pos x="1297" y="1232"/>
                </a:cxn>
                <a:cxn ang="0">
                  <a:pos x="1299" y="1322"/>
                </a:cxn>
                <a:cxn ang="0">
                  <a:pos x="1294" y="1413"/>
                </a:cxn>
                <a:cxn ang="0">
                  <a:pos x="1283" y="1504"/>
                </a:cxn>
                <a:cxn ang="0">
                  <a:pos x="1266" y="1592"/>
                </a:cxn>
                <a:cxn ang="0">
                  <a:pos x="1242" y="1680"/>
                </a:cxn>
                <a:cxn ang="0">
                  <a:pos x="1213" y="1766"/>
                </a:cxn>
                <a:cxn ang="0">
                  <a:pos x="1177" y="1849"/>
                </a:cxn>
                <a:cxn ang="0">
                  <a:pos x="1136" y="1930"/>
                </a:cxn>
                <a:cxn ang="0">
                  <a:pos x="568" y="1615"/>
                </a:cxn>
                <a:cxn ang="0">
                  <a:pos x="588" y="1575"/>
                </a:cxn>
                <a:cxn ang="0">
                  <a:pos x="606" y="1532"/>
                </a:cxn>
                <a:cxn ang="0">
                  <a:pos x="621" y="1490"/>
                </a:cxn>
                <a:cxn ang="0">
                  <a:pos x="632" y="1446"/>
                </a:cxn>
                <a:cxn ang="0">
                  <a:pos x="641" y="1402"/>
                </a:cxn>
                <a:cxn ang="0">
                  <a:pos x="646" y="1357"/>
                </a:cxn>
                <a:cxn ang="0">
                  <a:pos x="649" y="1312"/>
                </a:cxn>
                <a:cxn ang="0">
                  <a:pos x="648" y="1265"/>
                </a:cxn>
                <a:cxn ang="0">
                  <a:pos x="645" y="1220"/>
                </a:cxn>
                <a:cxn ang="0">
                  <a:pos x="637" y="1176"/>
                </a:cxn>
                <a:cxn ang="0">
                  <a:pos x="627" y="1132"/>
                </a:cxn>
                <a:cxn ang="0">
                  <a:pos x="614" y="1088"/>
                </a:cxn>
                <a:cxn ang="0">
                  <a:pos x="597" y="1046"/>
                </a:cxn>
                <a:cxn ang="0">
                  <a:pos x="578" y="1004"/>
                </a:cxn>
                <a:cxn ang="0">
                  <a:pos x="556" y="965"/>
                </a:cxn>
                <a:cxn ang="0">
                  <a:pos x="531" y="927"/>
                </a:cxn>
                <a:cxn ang="0">
                  <a:pos x="504" y="891"/>
                </a:cxn>
                <a:cxn ang="0">
                  <a:pos x="475" y="857"/>
                </a:cxn>
                <a:cxn ang="0">
                  <a:pos x="442" y="825"/>
                </a:cxn>
                <a:cxn ang="0">
                  <a:pos x="408" y="795"/>
                </a:cxn>
                <a:cxn ang="0">
                  <a:pos x="372" y="767"/>
                </a:cxn>
                <a:cxn ang="0">
                  <a:pos x="334" y="742"/>
                </a:cxn>
                <a:cxn ang="0">
                  <a:pos x="294" y="721"/>
                </a:cxn>
                <a:cxn ang="0">
                  <a:pos x="253" y="702"/>
                </a:cxn>
                <a:cxn ang="0">
                  <a:pos x="211" y="686"/>
                </a:cxn>
                <a:cxn ang="0">
                  <a:pos x="167" y="672"/>
                </a:cxn>
                <a:cxn ang="0">
                  <a:pos x="123" y="662"/>
                </a:cxn>
                <a:cxn ang="0">
                  <a:pos x="78" y="655"/>
                </a:cxn>
                <a:cxn ang="0">
                  <a:pos x="33" y="651"/>
                </a:cxn>
                <a:cxn ang="0">
                  <a:pos x="95" y="340"/>
                </a:cxn>
              </a:cxnLst>
              <a:rect l="0" t="0" r="r" b="b"/>
              <a:pathLst>
                <a:path w="1300" h="1951">
                  <a:moveTo>
                    <a:pt x="0" y="0"/>
                  </a:moveTo>
                  <a:lnTo>
                    <a:pt x="22" y="0"/>
                  </a:lnTo>
                  <a:lnTo>
                    <a:pt x="45" y="1"/>
                  </a:lnTo>
                  <a:lnTo>
                    <a:pt x="68" y="2"/>
                  </a:lnTo>
                  <a:lnTo>
                    <a:pt x="90" y="3"/>
                  </a:lnTo>
                  <a:lnTo>
                    <a:pt x="113" y="5"/>
                  </a:lnTo>
                  <a:lnTo>
                    <a:pt x="135" y="7"/>
                  </a:lnTo>
                  <a:lnTo>
                    <a:pt x="158" y="10"/>
                  </a:lnTo>
                  <a:lnTo>
                    <a:pt x="180" y="13"/>
                  </a:lnTo>
                  <a:lnTo>
                    <a:pt x="203" y="16"/>
                  </a:lnTo>
                  <a:lnTo>
                    <a:pt x="225" y="20"/>
                  </a:lnTo>
                  <a:lnTo>
                    <a:pt x="247" y="24"/>
                  </a:lnTo>
                  <a:lnTo>
                    <a:pt x="269" y="28"/>
                  </a:lnTo>
                  <a:lnTo>
                    <a:pt x="291" y="33"/>
                  </a:lnTo>
                  <a:lnTo>
                    <a:pt x="313" y="39"/>
                  </a:lnTo>
                  <a:lnTo>
                    <a:pt x="335" y="45"/>
                  </a:lnTo>
                  <a:lnTo>
                    <a:pt x="358" y="50"/>
                  </a:lnTo>
                  <a:lnTo>
                    <a:pt x="380" y="57"/>
                  </a:lnTo>
                  <a:lnTo>
                    <a:pt x="401" y="64"/>
                  </a:lnTo>
                  <a:lnTo>
                    <a:pt x="423" y="71"/>
                  </a:lnTo>
                  <a:lnTo>
                    <a:pt x="444" y="78"/>
                  </a:lnTo>
                  <a:lnTo>
                    <a:pt x="465" y="87"/>
                  </a:lnTo>
                  <a:lnTo>
                    <a:pt x="486" y="94"/>
                  </a:lnTo>
                  <a:lnTo>
                    <a:pt x="507" y="103"/>
                  </a:lnTo>
                  <a:lnTo>
                    <a:pt x="527" y="113"/>
                  </a:lnTo>
                  <a:lnTo>
                    <a:pt x="549" y="122"/>
                  </a:lnTo>
                  <a:lnTo>
                    <a:pt x="569" y="132"/>
                  </a:lnTo>
                  <a:lnTo>
                    <a:pt x="589" y="141"/>
                  </a:lnTo>
                  <a:lnTo>
                    <a:pt x="609" y="152"/>
                  </a:lnTo>
                  <a:lnTo>
                    <a:pt x="629" y="164"/>
                  </a:lnTo>
                  <a:lnTo>
                    <a:pt x="649" y="174"/>
                  </a:lnTo>
                  <a:lnTo>
                    <a:pt x="669" y="186"/>
                  </a:lnTo>
                  <a:lnTo>
                    <a:pt x="688" y="197"/>
                  </a:lnTo>
                  <a:lnTo>
                    <a:pt x="707" y="210"/>
                  </a:lnTo>
                  <a:lnTo>
                    <a:pt x="726" y="222"/>
                  </a:lnTo>
                  <a:lnTo>
                    <a:pt x="744" y="236"/>
                  </a:lnTo>
                  <a:lnTo>
                    <a:pt x="764" y="248"/>
                  </a:lnTo>
                  <a:lnTo>
                    <a:pt x="782" y="261"/>
                  </a:lnTo>
                  <a:lnTo>
                    <a:pt x="799" y="276"/>
                  </a:lnTo>
                  <a:lnTo>
                    <a:pt x="817" y="289"/>
                  </a:lnTo>
                  <a:lnTo>
                    <a:pt x="835" y="305"/>
                  </a:lnTo>
                  <a:lnTo>
                    <a:pt x="852" y="319"/>
                  </a:lnTo>
                  <a:lnTo>
                    <a:pt x="869" y="334"/>
                  </a:lnTo>
                  <a:lnTo>
                    <a:pt x="885" y="350"/>
                  </a:lnTo>
                  <a:lnTo>
                    <a:pt x="902" y="365"/>
                  </a:lnTo>
                  <a:lnTo>
                    <a:pt x="918" y="380"/>
                  </a:lnTo>
                  <a:lnTo>
                    <a:pt x="934" y="397"/>
                  </a:lnTo>
                  <a:lnTo>
                    <a:pt x="950" y="413"/>
                  </a:lnTo>
                  <a:lnTo>
                    <a:pt x="965" y="430"/>
                  </a:lnTo>
                  <a:lnTo>
                    <a:pt x="980" y="447"/>
                  </a:lnTo>
                  <a:lnTo>
                    <a:pt x="995" y="464"/>
                  </a:lnTo>
                  <a:lnTo>
                    <a:pt x="1009" y="482"/>
                  </a:lnTo>
                  <a:lnTo>
                    <a:pt x="1024" y="499"/>
                  </a:lnTo>
                  <a:lnTo>
                    <a:pt x="1037" y="518"/>
                  </a:lnTo>
                  <a:lnTo>
                    <a:pt x="1051" y="536"/>
                  </a:lnTo>
                  <a:lnTo>
                    <a:pt x="1064" y="554"/>
                  </a:lnTo>
                  <a:lnTo>
                    <a:pt x="1076" y="573"/>
                  </a:lnTo>
                  <a:lnTo>
                    <a:pt x="1089" y="592"/>
                  </a:lnTo>
                  <a:lnTo>
                    <a:pt x="1101" y="611"/>
                  </a:lnTo>
                  <a:lnTo>
                    <a:pt x="1113" y="630"/>
                  </a:lnTo>
                  <a:lnTo>
                    <a:pt x="1124" y="650"/>
                  </a:lnTo>
                  <a:lnTo>
                    <a:pt x="1136" y="669"/>
                  </a:lnTo>
                  <a:lnTo>
                    <a:pt x="1146" y="690"/>
                  </a:lnTo>
                  <a:lnTo>
                    <a:pt x="1157" y="710"/>
                  </a:lnTo>
                  <a:lnTo>
                    <a:pt x="1168" y="730"/>
                  </a:lnTo>
                  <a:lnTo>
                    <a:pt x="1177" y="751"/>
                  </a:lnTo>
                  <a:lnTo>
                    <a:pt x="1187" y="771"/>
                  </a:lnTo>
                  <a:lnTo>
                    <a:pt x="1195" y="792"/>
                  </a:lnTo>
                  <a:lnTo>
                    <a:pt x="1204" y="813"/>
                  </a:lnTo>
                  <a:lnTo>
                    <a:pt x="1213" y="834"/>
                  </a:lnTo>
                  <a:lnTo>
                    <a:pt x="1220" y="856"/>
                  </a:lnTo>
                  <a:lnTo>
                    <a:pt x="1228" y="877"/>
                  </a:lnTo>
                  <a:lnTo>
                    <a:pt x="1235" y="898"/>
                  </a:lnTo>
                  <a:lnTo>
                    <a:pt x="1242" y="920"/>
                  </a:lnTo>
                  <a:lnTo>
                    <a:pt x="1248" y="942"/>
                  </a:lnTo>
                  <a:lnTo>
                    <a:pt x="1255" y="963"/>
                  </a:lnTo>
                  <a:lnTo>
                    <a:pt x="1261" y="985"/>
                  </a:lnTo>
                  <a:lnTo>
                    <a:pt x="1266" y="1007"/>
                  </a:lnTo>
                  <a:lnTo>
                    <a:pt x="1270" y="1029"/>
                  </a:lnTo>
                  <a:lnTo>
                    <a:pt x="1275" y="1051"/>
                  </a:lnTo>
                  <a:lnTo>
                    <a:pt x="1279" y="1074"/>
                  </a:lnTo>
                  <a:lnTo>
                    <a:pt x="1283" y="1097"/>
                  </a:lnTo>
                  <a:lnTo>
                    <a:pt x="1287" y="1119"/>
                  </a:lnTo>
                  <a:lnTo>
                    <a:pt x="1290" y="1142"/>
                  </a:lnTo>
                  <a:lnTo>
                    <a:pt x="1291" y="1164"/>
                  </a:lnTo>
                  <a:lnTo>
                    <a:pt x="1294" y="1187"/>
                  </a:lnTo>
                  <a:lnTo>
                    <a:pt x="1295" y="1209"/>
                  </a:lnTo>
                  <a:lnTo>
                    <a:pt x="1297" y="1232"/>
                  </a:lnTo>
                  <a:lnTo>
                    <a:pt x="1298" y="1254"/>
                  </a:lnTo>
                  <a:lnTo>
                    <a:pt x="1299" y="1277"/>
                  </a:lnTo>
                  <a:lnTo>
                    <a:pt x="1299" y="1300"/>
                  </a:lnTo>
                  <a:lnTo>
                    <a:pt x="1299" y="1322"/>
                  </a:lnTo>
                  <a:lnTo>
                    <a:pt x="1298" y="1345"/>
                  </a:lnTo>
                  <a:lnTo>
                    <a:pt x="1297" y="1368"/>
                  </a:lnTo>
                  <a:lnTo>
                    <a:pt x="1295" y="1390"/>
                  </a:lnTo>
                  <a:lnTo>
                    <a:pt x="1294" y="1413"/>
                  </a:lnTo>
                  <a:lnTo>
                    <a:pt x="1291" y="1435"/>
                  </a:lnTo>
                  <a:lnTo>
                    <a:pt x="1290" y="1458"/>
                  </a:lnTo>
                  <a:lnTo>
                    <a:pt x="1287" y="1480"/>
                  </a:lnTo>
                  <a:lnTo>
                    <a:pt x="1283" y="1504"/>
                  </a:lnTo>
                  <a:lnTo>
                    <a:pt x="1279" y="1526"/>
                  </a:lnTo>
                  <a:lnTo>
                    <a:pt x="1275" y="1548"/>
                  </a:lnTo>
                  <a:lnTo>
                    <a:pt x="1270" y="1570"/>
                  </a:lnTo>
                  <a:lnTo>
                    <a:pt x="1266" y="1592"/>
                  </a:lnTo>
                  <a:lnTo>
                    <a:pt x="1261" y="1614"/>
                  </a:lnTo>
                  <a:lnTo>
                    <a:pt x="1255" y="1636"/>
                  </a:lnTo>
                  <a:lnTo>
                    <a:pt x="1248" y="1658"/>
                  </a:lnTo>
                  <a:lnTo>
                    <a:pt x="1242" y="1680"/>
                  </a:lnTo>
                  <a:lnTo>
                    <a:pt x="1235" y="1701"/>
                  </a:lnTo>
                  <a:lnTo>
                    <a:pt x="1228" y="1723"/>
                  </a:lnTo>
                  <a:lnTo>
                    <a:pt x="1220" y="1744"/>
                  </a:lnTo>
                  <a:lnTo>
                    <a:pt x="1213" y="1766"/>
                  </a:lnTo>
                  <a:lnTo>
                    <a:pt x="1204" y="1787"/>
                  </a:lnTo>
                  <a:lnTo>
                    <a:pt x="1195" y="1808"/>
                  </a:lnTo>
                  <a:lnTo>
                    <a:pt x="1187" y="1828"/>
                  </a:lnTo>
                  <a:lnTo>
                    <a:pt x="1177" y="1849"/>
                  </a:lnTo>
                  <a:lnTo>
                    <a:pt x="1168" y="1869"/>
                  </a:lnTo>
                  <a:lnTo>
                    <a:pt x="1157" y="1889"/>
                  </a:lnTo>
                  <a:lnTo>
                    <a:pt x="1146" y="1910"/>
                  </a:lnTo>
                  <a:lnTo>
                    <a:pt x="1136" y="1930"/>
                  </a:lnTo>
                  <a:lnTo>
                    <a:pt x="1124" y="1950"/>
                  </a:lnTo>
                  <a:lnTo>
                    <a:pt x="815" y="1876"/>
                  </a:lnTo>
                  <a:lnTo>
                    <a:pt x="562" y="1624"/>
                  </a:lnTo>
                  <a:lnTo>
                    <a:pt x="568" y="1615"/>
                  </a:lnTo>
                  <a:lnTo>
                    <a:pt x="573" y="1605"/>
                  </a:lnTo>
                  <a:lnTo>
                    <a:pt x="578" y="1595"/>
                  </a:lnTo>
                  <a:lnTo>
                    <a:pt x="583" y="1585"/>
                  </a:lnTo>
                  <a:lnTo>
                    <a:pt x="588" y="1575"/>
                  </a:lnTo>
                  <a:lnTo>
                    <a:pt x="593" y="1564"/>
                  </a:lnTo>
                  <a:lnTo>
                    <a:pt x="597" y="1553"/>
                  </a:lnTo>
                  <a:lnTo>
                    <a:pt x="601" y="1543"/>
                  </a:lnTo>
                  <a:lnTo>
                    <a:pt x="606" y="1532"/>
                  </a:lnTo>
                  <a:lnTo>
                    <a:pt x="610" y="1522"/>
                  </a:lnTo>
                  <a:lnTo>
                    <a:pt x="614" y="1511"/>
                  </a:lnTo>
                  <a:lnTo>
                    <a:pt x="618" y="1501"/>
                  </a:lnTo>
                  <a:lnTo>
                    <a:pt x="621" y="1490"/>
                  </a:lnTo>
                  <a:lnTo>
                    <a:pt x="624" y="1479"/>
                  </a:lnTo>
                  <a:lnTo>
                    <a:pt x="627" y="1468"/>
                  </a:lnTo>
                  <a:lnTo>
                    <a:pt x="630" y="1457"/>
                  </a:lnTo>
                  <a:lnTo>
                    <a:pt x="632" y="1446"/>
                  </a:lnTo>
                  <a:lnTo>
                    <a:pt x="635" y="1435"/>
                  </a:lnTo>
                  <a:lnTo>
                    <a:pt x="637" y="1424"/>
                  </a:lnTo>
                  <a:lnTo>
                    <a:pt x="639" y="1412"/>
                  </a:lnTo>
                  <a:lnTo>
                    <a:pt x="641" y="1402"/>
                  </a:lnTo>
                  <a:lnTo>
                    <a:pt x="643" y="1390"/>
                  </a:lnTo>
                  <a:lnTo>
                    <a:pt x="645" y="1379"/>
                  </a:lnTo>
                  <a:lnTo>
                    <a:pt x="645" y="1368"/>
                  </a:lnTo>
                  <a:lnTo>
                    <a:pt x="646" y="1357"/>
                  </a:lnTo>
                  <a:lnTo>
                    <a:pt x="647" y="1345"/>
                  </a:lnTo>
                  <a:lnTo>
                    <a:pt x="648" y="1334"/>
                  </a:lnTo>
                  <a:lnTo>
                    <a:pt x="648" y="1322"/>
                  </a:lnTo>
                  <a:lnTo>
                    <a:pt x="649" y="1312"/>
                  </a:lnTo>
                  <a:lnTo>
                    <a:pt x="649" y="1300"/>
                  </a:lnTo>
                  <a:lnTo>
                    <a:pt x="649" y="1289"/>
                  </a:lnTo>
                  <a:lnTo>
                    <a:pt x="648" y="1277"/>
                  </a:lnTo>
                  <a:lnTo>
                    <a:pt x="648" y="1265"/>
                  </a:lnTo>
                  <a:lnTo>
                    <a:pt x="647" y="1255"/>
                  </a:lnTo>
                  <a:lnTo>
                    <a:pt x="646" y="1243"/>
                  </a:lnTo>
                  <a:lnTo>
                    <a:pt x="645" y="1232"/>
                  </a:lnTo>
                  <a:lnTo>
                    <a:pt x="645" y="1220"/>
                  </a:lnTo>
                  <a:lnTo>
                    <a:pt x="643" y="1210"/>
                  </a:lnTo>
                  <a:lnTo>
                    <a:pt x="641" y="1198"/>
                  </a:lnTo>
                  <a:lnTo>
                    <a:pt x="639" y="1187"/>
                  </a:lnTo>
                  <a:lnTo>
                    <a:pt x="637" y="1176"/>
                  </a:lnTo>
                  <a:lnTo>
                    <a:pt x="635" y="1165"/>
                  </a:lnTo>
                  <a:lnTo>
                    <a:pt x="632" y="1153"/>
                  </a:lnTo>
                  <a:lnTo>
                    <a:pt x="630" y="1143"/>
                  </a:lnTo>
                  <a:lnTo>
                    <a:pt x="627" y="1132"/>
                  </a:lnTo>
                  <a:lnTo>
                    <a:pt x="624" y="1121"/>
                  </a:lnTo>
                  <a:lnTo>
                    <a:pt x="621" y="1110"/>
                  </a:lnTo>
                  <a:lnTo>
                    <a:pt x="618" y="1099"/>
                  </a:lnTo>
                  <a:lnTo>
                    <a:pt x="614" y="1088"/>
                  </a:lnTo>
                  <a:lnTo>
                    <a:pt x="610" y="1077"/>
                  </a:lnTo>
                  <a:lnTo>
                    <a:pt x="606" y="1067"/>
                  </a:lnTo>
                  <a:lnTo>
                    <a:pt x="601" y="1056"/>
                  </a:lnTo>
                  <a:lnTo>
                    <a:pt x="597" y="1046"/>
                  </a:lnTo>
                  <a:lnTo>
                    <a:pt x="593" y="1035"/>
                  </a:lnTo>
                  <a:lnTo>
                    <a:pt x="588" y="1025"/>
                  </a:lnTo>
                  <a:lnTo>
                    <a:pt x="583" y="1015"/>
                  </a:lnTo>
                  <a:lnTo>
                    <a:pt x="578" y="1004"/>
                  </a:lnTo>
                  <a:lnTo>
                    <a:pt x="573" y="995"/>
                  </a:lnTo>
                  <a:lnTo>
                    <a:pt x="568" y="985"/>
                  </a:lnTo>
                  <a:lnTo>
                    <a:pt x="562" y="975"/>
                  </a:lnTo>
                  <a:lnTo>
                    <a:pt x="556" y="965"/>
                  </a:lnTo>
                  <a:lnTo>
                    <a:pt x="550" y="955"/>
                  </a:lnTo>
                  <a:lnTo>
                    <a:pt x="545" y="946"/>
                  </a:lnTo>
                  <a:lnTo>
                    <a:pt x="538" y="936"/>
                  </a:lnTo>
                  <a:lnTo>
                    <a:pt x="531" y="927"/>
                  </a:lnTo>
                  <a:lnTo>
                    <a:pt x="525" y="918"/>
                  </a:lnTo>
                  <a:lnTo>
                    <a:pt x="518" y="908"/>
                  </a:lnTo>
                  <a:lnTo>
                    <a:pt x="511" y="900"/>
                  </a:lnTo>
                  <a:lnTo>
                    <a:pt x="504" y="891"/>
                  </a:lnTo>
                  <a:lnTo>
                    <a:pt x="497" y="882"/>
                  </a:lnTo>
                  <a:lnTo>
                    <a:pt x="490" y="874"/>
                  </a:lnTo>
                  <a:lnTo>
                    <a:pt x="482" y="865"/>
                  </a:lnTo>
                  <a:lnTo>
                    <a:pt x="475" y="857"/>
                  </a:lnTo>
                  <a:lnTo>
                    <a:pt x="467" y="848"/>
                  </a:lnTo>
                  <a:lnTo>
                    <a:pt x="458" y="840"/>
                  </a:lnTo>
                  <a:lnTo>
                    <a:pt x="451" y="833"/>
                  </a:lnTo>
                  <a:lnTo>
                    <a:pt x="442" y="825"/>
                  </a:lnTo>
                  <a:lnTo>
                    <a:pt x="434" y="817"/>
                  </a:lnTo>
                  <a:lnTo>
                    <a:pt x="426" y="810"/>
                  </a:lnTo>
                  <a:lnTo>
                    <a:pt x="417" y="802"/>
                  </a:lnTo>
                  <a:lnTo>
                    <a:pt x="408" y="795"/>
                  </a:lnTo>
                  <a:lnTo>
                    <a:pt x="400" y="787"/>
                  </a:lnTo>
                  <a:lnTo>
                    <a:pt x="390" y="781"/>
                  </a:lnTo>
                  <a:lnTo>
                    <a:pt x="382" y="774"/>
                  </a:lnTo>
                  <a:lnTo>
                    <a:pt x="372" y="767"/>
                  </a:lnTo>
                  <a:lnTo>
                    <a:pt x="362" y="761"/>
                  </a:lnTo>
                  <a:lnTo>
                    <a:pt x="353" y="755"/>
                  </a:lnTo>
                  <a:lnTo>
                    <a:pt x="344" y="749"/>
                  </a:lnTo>
                  <a:lnTo>
                    <a:pt x="334" y="742"/>
                  </a:lnTo>
                  <a:lnTo>
                    <a:pt x="324" y="737"/>
                  </a:lnTo>
                  <a:lnTo>
                    <a:pt x="314" y="732"/>
                  </a:lnTo>
                  <a:lnTo>
                    <a:pt x="305" y="726"/>
                  </a:lnTo>
                  <a:lnTo>
                    <a:pt x="294" y="721"/>
                  </a:lnTo>
                  <a:lnTo>
                    <a:pt x="285" y="715"/>
                  </a:lnTo>
                  <a:lnTo>
                    <a:pt x="274" y="711"/>
                  </a:lnTo>
                  <a:lnTo>
                    <a:pt x="263" y="706"/>
                  </a:lnTo>
                  <a:lnTo>
                    <a:pt x="253" y="702"/>
                  </a:lnTo>
                  <a:lnTo>
                    <a:pt x="242" y="697"/>
                  </a:lnTo>
                  <a:lnTo>
                    <a:pt x="232" y="693"/>
                  </a:lnTo>
                  <a:lnTo>
                    <a:pt x="221" y="690"/>
                  </a:lnTo>
                  <a:lnTo>
                    <a:pt x="211" y="686"/>
                  </a:lnTo>
                  <a:lnTo>
                    <a:pt x="200" y="682"/>
                  </a:lnTo>
                  <a:lnTo>
                    <a:pt x="190" y="678"/>
                  </a:lnTo>
                  <a:lnTo>
                    <a:pt x="178" y="675"/>
                  </a:lnTo>
                  <a:lnTo>
                    <a:pt x="167" y="672"/>
                  </a:lnTo>
                  <a:lnTo>
                    <a:pt x="157" y="669"/>
                  </a:lnTo>
                  <a:lnTo>
                    <a:pt x="145" y="667"/>
                  </a:lnTo>
                  <a:lnTo>
                    <a:pt x="135" y="665"/>
                  </a:lnTo>
                  <a:lnTo>
                    <a:pt x="123" y="662"/>
                  </a:lnTo>
                  <a:lnTo>
                    <a:pt x="112" y="660"/>
                  </a:lnTo>
                  <a:lnTo>
                    <a:pt x="101" y="658"/>
                  </a:lnTo>
                  <a:lnTo>
                    <a:pt x="90" y="656"/>
                  </a:lnTo>
                  <a:lnTo>
                    <a:pt x="78" y="655"/>
                  </a:lnTo>
                  <a:lnTo>
                    <a:pt x="68" y="653"/>
                  </a:lnTo>
                  <a:lnTo>
                    <a:pt x="56" y="652"/>
                  </a:lnTo>
                  <a:lnTo>
                    <a:pt x="45" y="651"/>
                  </a:lnTo>
                  <a:lnTo>
                    <a:pt x="33" y="651"/>
                  </a:lnTo>
                  <a:lnTo>
                    <a:pt x="22" y="650"/>
                  </a:lnTo>
                  <a:lnTo>
                    <a:pt x="11" y="650"/>
                  </a:lnTo>
                  <a:lnTo>
                    <a:pt x="0" y="650"/>
                  </a:lnTo>
                  <a:lnTo>
                    <a:pt x="95" y="340"/>
                  </a:lnTo>
                  <a:lnTo>
                    <a:pt x="0" y="0"/>
                  </a:lnTo>
                </a:path>
              </a:pathLst>
            </a:custGeom>
            <a:solidFill>
              <a:schemeClr val="accent1"/>
            </a:solidFill>
            <a:ln w="38100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8164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455A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85F9DE64-A965-204D-93E0-6AFE2DFC3185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3581603" y="4256711"/>
              <a:ext cx="3530193" cy="1566512"/>
            </a:xfrm>
            <a:custGeom>
              <a:avLst/>
              <a:gdLst/>
              <a:ahLst/>
              <a:cxnLst>
                <a:cxn ang="0">
                  <a:pos x="2215" y="383"/>
                </a:cxn>
                <a:cxn ang="0">
                  <a:pos x="2163" y="458"/>
                </a:cxn>
                <a:cxn ang="0">
                  <a:pos x="2106" y="528"/>
                </a:cxn>
                <a:cxn ang="0">
                  <a:pos x="2044" y="595"/>
                </a:cxn>
                <a:cxn ang="0">
                  <a:pos x="1978" y="657"/>
                </a:cxn>
                <a:cxn ang="0">
                  <a:pos x="1908" y="714"/>
                </a:cxn>
                <a:cxn ang="0">
                  <a:pos x="1833" y="765"/>
                </a:cxn>
                <a:cxn ang="0">
                  <a:pos x="1755" y="813"/>
                </a:cxn>
                <a:cxn ang="0">
                  <a:pos x="1675" y="854"/>
                </a:cxn>
                <a:cxn ang="0">
                  <a:pos x="1591" y="889"/>
                </a:cxn>
                <a:cxn ang="0">
                  <a:pos x="1506" y="919"/>
                </a:cxn>
                <a:cxn ang="0">
                  <a:pos x="1417" y="942"/>
                </a:cxn>
                <a:cxn ang="0">
                  <a:pos x="1329" y="959"/>
                </a:cxn>
                <a:cxn ang="0">
                  <a:pos x="1239" y="971"/>
                </a:cxn>
                <a:cxn ang="0">
                  <a:pos x="1148" y="976"/>
                </a:cxn>
                <a:cxn ang="0">
                  <a:pos x="1057" y="974"/>
                </a:cxn>
                <a:cxn ang="0">
                  <a:pos x="967" y="966"/>
                </a:cxn>
                <a:cxn ang="0">
                  <a:pos x="877" y="952"/>
                </a:cxn>
                <a:cxn ang="0">
                  <a:pos x="789" y="932"/>
                </a:cxn>
                <a:cxn ang="0">
                  <a:pos x="702" y="905"/>
                </a:cxn>
                <a:cxn ang="0">
                  <a:pos x="618" y="872"/>
                </a:cxn>
                <a:cxn ang="0">
                  <a:pos x="535" y="834"/>
                </a:cxn>
                <a:cxn ang="0">
                  <a:pos x="456" y="789"/>
                </a:cxn>
                <a:cxn ang="0">
                  <a:pos x="380" y="741"/>
                </a:cxn>
                <a:cxn ang="0">
                  <a:pos x="308" y="686"/>
                </a:cxn>
                <a:cxn ang="0">
                  <a:pos x="239" y="626"/>
                </a:cxn>
                <a:cxn ang="0">
                  <a:pos x="175" y="562"/>
                </a:cxn>
                <a:cxn ang="0">
                  <a:pos x="115" y="494"/>
                </a:cxn>
                <a:cxn ang="0">
                  <a:pos x="61" y="421"/>
                </a:cxn>
                <a:cxn ang="0">
                  <a:pos x="11" y="345"/>
                </a:cxn>
                <a:cxn ang="0">
                  <a:pos x="568" y="10"/>
                </a:cxn>
                <a:cxn ang="0">
                  <a:pos x="593" y="48"/>
                </a:cxn>
                <a:cxn ang="0">
                  <a:pos x="621" y="85"/>
                </a:cxn>
                <a:cxn ang="0">
                  <a:pos x="650" y="119"/>
                </a:cxn>
                <a:cxn ang="0">
                  <a:pos x="682" y="151"/>
                </a:cxn>
                <a:cxn ang="0">
                  <a:pos x="717" y="181"/>
                </a:cxn>
                <a:cxn ang="0">
                  <a:pos x="752" y="208"/>
                </a:cxn>
                <a:cxn ang="0">
                  <a:pos x="791" y="233"/>
                </a:cxn>
                <a:cxn ang="0">
                  <a:pos x="830" y="255"/>
                </a:cxn>
                <a:cxn ang="0">
                  <a:pos x="871" y="274"/>
                </a:cxn>
                <a:cxn ang="0">
                  <a:pos x="913" y="290"/>
                </a:cxn>
                <a:cxn ang="0">
                  <a:pos x="958" y="304"/>
                </a:cxn>
                <a:cxn ang="0">
                  <a:pos x="1002" y="313"/>
                </a:cxn>
                <a:cxn ang="0">
                  <a:pos x="1046" y="321"/>
                </a:cxn>
                <a:cxn ang="0">
                  <a:pos x="1091" y="325"/>
                </a:cxn>
                <a:cxn ang="0">
                  <a:pos x="1137" y="326"/>
                </a:cxn>
                <a:cxn ang="0">
                  <a:pos x="1182" y="323"/>
                </a:cxn>
                <a:cxn ang="0">
                  <a:pos x="1227" y="317"/>
                </a:cxn>
                <a:cxn ang="0">
                  <a:pos x="1271" y="309"/>
                </a:cxn>
                <a:cxn ang="0">
                  <a:pos x="1316" y="297"/>
                </a:cxn>
                <a:cxn ang="0">
                  <a:pos x="1358" y="283"/>
                </a:cxn>
                <a:cxn ang="0">
                  <a:pos x="1400" y="264"/>
                </a:cxn>
                <a:cxn ang="0">
                  <a:pos x="1440" y="244"/>
                </a:cxn>
                <a:cxn ang="0">
                  <a:pos x="1479" y="221"/>
                </a:cxn>
                <a:cxn ang="0">
                  <a:pos x="1516" y="194"/>
                </a:cxn>
                <a:cxn ang="0">
                  <a:pos x="1552" y="167"/>
                </a:cxn>
                <a:cxn ang="0">
                  <a:pos x="1584" y="135"/>
                </a:cxn>
                <a:cxn ang="0">
                  <a:pos x="1616" y="102"/>
                </a:cxn>
                <a:cxn ang="0">
                  <a:pos x="1644" y="67"/>
                </a:cxn>
                <a:cxn ang="0">
                  <a:pos x="1671" y="29"/>
                </a:cxn>
                <a:cxn ang="0">
                  <a:pos x="1941" y="252"/>
                </a:cxn>
              </a:cxnLst>
              <a:rect l="0" t="0" r="r" b="b"/>
              <a:pathLst>
                <a:path w="2251" h="977">
                  <a:moveTo>
                    <a:pt x="2250" y="326"/>
                  </a:moveTo>
                  <a:lnTo>
                    <a:pt x="2239" y="345"/>
                  </a:lnTo>
                  <a:lnTo>
                    <a:pt x="2227" y="364"/>
                  </a:lnTo>
                  <a:lnTo>
                    <a:pt x="2215" y="383"/>
                  </a:lnTo>
                  <a:lnTo>
                    <a:pt x="2202" y="403"/>
                  </a:lnTo>
                  <a:lnTo>
                    <a:pt x="2190" y="421"/>
                  </a:lnTo>
                  <a:lnTo>
                    <a:pt x="2177" y="440"/>
                  </a:lnTo>
                  <a:lnTo>
                    <a:pt x="2163" y="458"/>
                  </a:lnTo>
                  <a:lnTo>
                    <a:pt x="2150" y="476"/>
                  </a:lnTo>
                  <a:lnTo>
                    <a:pt x="2135" y="494"/>
                  </a:lnTo>
                  <a:lnTo>
                    <a:pt x="2121" y="511"/>
                  </a:lnTo>
                  <a:lnTo>
                    <a:pt x="2106" y="528"/>
                  </a:lnTo>
                  <a:lnTo>
                    <a:pt x="2091" y="546"/>
                  </a:lnTo>
                  <a:lnTo>
                    <a:pt x="2076" y="562"/>
                  </a:lnTo>
                  <a:lnTo>
                    <a:pt x="2060" y="578"/>
                  </a:lnTo>
                  <a:lnTo>
                    <a:pt x="2044" y="595"/>
                  </a:lnTo>
                  <a:lnTo>
                    <a:pt x="2028" y="611"/>
                  </a:lnTo>
                  <a:lnTo>
                    <a:pt x="2011" y="626"/>
                  </a:lnTo>
                  <a:lnTo>
                    <a:pt x="1995" y="642"/>
                  </a:lnTo>
                  <a:lnTo>
                    <a:pt x="1978" y="657"/>
                  </a:lnTo>
                  <a:lnTo>
                    <a:pt x="1961" y="671"/>
                  </a:lnTo>
                  <a:lnTo>
                    <a:pt x="1943" y="686"/>
                  </a:lnTo>
                  <a:lnTo>
                    <a:pt x="1925" y="700"/>
                  </a:lnTo>
                  <a:lnTo>
                    <a:pt x="1908" y="714"/>
                  </a:lnTo>
                  <a:lnTo>
                    <a:pt x="1890" y="727"/>
                  </a:lnTo>
                  <a:lnTo>
                    <a:pt x="1870" y="741"/>
                  </a:lnTo>
                  <a:lnTo>
                    <a:pt x="1852" y="753"/>
                  </a:lnTo>
                  <a:lnTo>
                    <a:pt x="1833" y="765"/>
                  </a:lnTo>
                  <a:lnTo>
                    <a:pt x="1814" y="778"/>
                  </a:lnTo>
                  <a:lnTo>
                    <a:pt x="1795" y="789"/>
                  </a:lnTo>
                  <a:lnTo>
                    <a:pt x="1775" y="801"/>
                  </a:lnTo>
                  <a:lnTo>
                    <a:pt x="1755" y="813"/>
                  </a:lnTo>
                  <a:lnTo>
                    <a:pt x="1735" y="823"/>
                  </a:lnTo>
                  <a:lnTo>
                    <a:pt x="1715" y="834"/>
                  </a:lnTo>
                  <a:lnTo>
                    <a:pt x="1695" y="844"/>
                  </a:lnTo>
                  <a:lnTo>
                    <a:pt x="1675" y="854"/>
                  </a:lnTo>
                  <a:lnTo>
                    <a:pt x="1653" y="863"/>
                  </a:lnTo>
                  <a:lnTo>
                    <a:pt x="1633" y="872"/>
                  </a:lnTo>
                  <a:lnTo>
                    <a:pt x="1612" y="881"/>
                  </a:lnTo>
                  <a:lnTo>
                    <a:pt x="1591" y="889"/>
                  </a:lnTo>
                  <a:lnTo>
                    <a:pt x="1570" y="897"/>
                  </a:lnTo>
                  <a:lnTo>
                    <a:pt x="1549" y="905"/>
                  </a:lnTo>
                  <a:lnTo>
                    <a:pt x="1527" y="911"/>
                  </a:lnTo>
                  <a:lnTo>
                    <a:pt x="1506" y="919"/>
                  </a:lnTo>
                  <a:lnTo>
                    <a:pt x="1484" y="925"/>
                  </a:lnTo>
                  <a:lnTo>
                    <a:pt x="1461" y="932"/>
                  </a:lnTo>
                  <a:lnTo>
                    <a:pt x="1439" y="937"/>
                  </a:lnTo>
                  <a:lnTo>
                    <a:pt x="1417" y="942"/>
                  </a:lnTo>
                  <a:lnTo>
                    <a:pt x="1395" y="947"/>
                  </a:lnTo>
                  <a:lnTo>
                    <a:pt x="1373" y="952"/>
                  </a:lnTo>
                  <a:lnTo>
                    <a:pt x="1351" y="956"/>
                  </a:lnTo>
                  <a:lnTo>
                    <a:pt x="1329" y="959"/>
                  </a:lnTo>
                  <a:lnTo>
                    <a:pt x="1306" y="963"/>
                  </a:lnTo>
                  <a:lnTo>
                    <a:pt x="1284" y="966"/>
                  </a:lnTo>
                  <a:lnTo>
                    <a:pt x="1261" y="968"/>
                  </a:lnTo>
                  <a:lnTo>
                    <a:pt x="1239" y="971"/>
                  </a:lnTo>
                  <a:lnTo>
                    <a:pt x="1216" y="972"/>
                  </a:lnTo>
                  <a:lnTo>
                    <a:pt x="1194" y="974"/>
                  </a:lnTo>
                  <a:lnTo>
                    <a:pt x="1171" y="975"/>
                  </a:lnTo>
                  <a:lnTo>
                    <a:pt x="1148" y="976"/>
                  </a:lnTo>
                  <a:lnTo>
                    <a:pt x="1126" y="976"/>
                  </a:lnTo>
                  <a:lnTo>
                    <a:pt x="1102" y="976"/>
                  </a:lnTo>
                  <a:lnTo>
                    <a:pt x="1079" y="975"/>
                  </a:lnTo>
                  <a:lnTo>
                    <a:pt x="1057" y="974"/>
                  </a:lnTo>
                  <a:lnTo>
                    <a:pt x="1034" y="972"/>
                  </a:lnTo>
                  <a:lnTo>
                    <a:pt x="1012" y="971"/>
                  </a:lnTo>
                  <a:lnTo>
                    <a:pt x="989" y="968"/>
                  </a:lnTo>
                  <a:lnTo>
                    <a:pt x="967" y="966"/>
                  </a:lnTo>
                  <a:lnTo>
                    <a:pt x="944" y="963"/>
                  </a:lnTo>
                  <a:lnTo>
                    <a:pt x="922" y="959"/>
                  </a:lnTo>
                  <a:lnTo>
                    <a:pt x="900" y="956"/>
                  </a:lnTo>
                  <a:lnTo>
                    <a:pt x="877" y="952"/>
                  </a:lnTo>
                  <a:lnTo>
                    <a:pt x="855" y="947"/>
                  </a:lnTo>
                  <a:lnTo>
                    <a:pt x="833" y="942"/>
                  </a:lnTo>
                  <a:lnTo>
                    <a:pt x="811" y="937"/>
                  </a:lnTo>
                  <a:lnTo>
                    <a:pt x="789" y="932"/>
                  </a:lnTo>
                  <a:lnTo>
                    <a:pt x="767" y="925"/>
                  </a:lnTo>
                  <a:lnTo>
                    <a:pt x="745" y="919"/>
                  </a:lnTo>
                  <a:lnTo>
                    <a:pt x="723" y="911"/>
                  </a:lnTo>
                  <a:lnTo>
                    <a:pt x="702" y="905"/>
                  </a:lnTo>
                  <a:lnTo>
                    <a:pt x="681" y="897"/>
                  </a:lnTo>
                  <a:lnTo>
                    <a:pt x="660" y="889"/>
                  </a:lnTo>
                  <a:lnTo>
                    <a:pt x="639" y="881"/>
                  </a:lnTo>
                  <a:lnTo>
                    <a:pt x="618" y="872"/>
                  </a:lnTo>
                  <a:lnTo>
                    <a:pt x="597" y="863"/>
                  </a:lnTo>
                  <a:lnTo>
                    <a:pt x="576" y="854"/>
                  </a:lnTo>
                  <a:lnTo>
                    <a:pt x="555" y="844"/>
                  </a:lnTo>
                  <a:lnTo>
                    <a:pt x="535" y="834"/>
                  </a:lnTo>
                  <a:lnTo>
                    <a:pt x="515" y="823"/>
                  </a:lnTo>
                  <a:lnTo>
                    <a:pt x="495" y="813"/>
                  </a:lnTo>
                  <a:lnTo>
                    <a:pt x="476" y="801"/>
                  </a:lnTo>
                  <a:lnTo>
                    <a:pt x="456" y="789"/>
                  </a:lnTo>
                  <a:lnTo>
                    <a:pt x="436" y="778"/>
                  </a:lnTo>
                  <a:lnTo>
                    <a:pt x="417" y="765"/>
                  </a:lnTo>
                  <a:lnTo>
                    <a:pt x="399" y="753"/>
                  </a:lnTo>
                  <a:lnTo>
                    <a:pt x="380" y="741"/>
                  </a:lnTo>
                  <a:lnTo>
                    <a:pt x="361" y="727"/>
                  </a:lnTo>
                  <a:lnTo>
                    <a:pt x="343" y="714"/>
                  </a:lnTo>
                  <a:lnTo>
                    <a:pt x="325" y="700"/>
                  </a:lnTo>
                  <a:lnTo>
                    <a:pt x="308" y="686"/>
                  </a:lnTo>
                  <a:lnTo>
                    <a:pt x="289" y="671"/>
                  </a:lnTo>
                  <a:lnTo>
                    <a:pt x="272" y="657"/>
                  </a:lnTo>
                  <a:lnTo>
                    <a:pt x="256" y="642"/>
                  </a:lnTo>
                  <a:lnTo>
                    <a:pt x="239" y="626"/>
                  </a:lnTo>
                  <a:lnTo>
                    <a:pt x="222" y="611"/>
                  </a:lnTo>
                  <a:lnTo>
                    <a:pt x="206" y="595"/>
                  </a:lnTo>
                  <a:lnTo>
                    <a:pt x="191" y="578"/>
                  </a:lnTo>
                  <a:lnTo>
                    <a:pt x="175" y="562"/>
                  </a:lnTo>
                  <a:lnTo>
                    <a:pt x="160" y="546"/>
                  </a:lnTo>
                  <a:lnTo>
                    <a:pt x="145" y="528"/>
                  </a:lnTo>
                  <a:lnTo>
                    <a:pt x="130" y="511"/>
                  </a:lnTo>
                  <a:lnTo>
                    <a:pt x="115" y="494"/>
                  </a:lnTo>
                  <a:lnTo>
                    <a:pt x="101" y="476"/>
                  </a:lnTo>
                  <a:lnTo>
                    <a:pt x="87" y="458"/>
                  </a:lnTo>
                  <a:lnTo>
                    <a:pt x="74" y="440"/>
                  </a:lnTo>
                  <a:lnTo>
                    <a:pt x="61" y="421"/>
                  </a:lnTo>
                  <a:lnTo>
                    <a:pt x="48" y="403"/>
                  </a:lnTo>
                  <a:lnTo>
                    <a:pt x="35" y="383"/>
                  </a:lnTo>
                  <a:lnTo>
                    <a:pt x="23" y="364"/>
                  </a:lnTo>
                  <a:lnTo>
                    <a:pt x="11" y="345"/>
                  </a:lnTo>
                  <a:lnTo>
                    <a:pt x="0" y="326"/>
                  </a:lnTo>
                  <a:lnTo>
                    <a:pt x="213" y="60"/>
                  </a:lnTo>
                  <a:lnTo>
                    <a:pt x="562" y="0"/>
                  </a:lnTo>
                  <a:lnTo>
                    <a:pt x="568" y="10"/>
                  </a:lnTo>
                  <a:lnTo>
                    <a:pt x="575" y="21"/>
                  </a:lnTo>
                  <a:lnTo>
                    <a:pt x="580" y="29"/>
                  </a:lnTo>
                  <a:lnTo>
                    <a:pt x="586" y="39"/>
                  </a:lnTo>
                  <a:lnTo>
                    <a:pt x="593" y="48"/>
                  </a:lnTo>
                  <a:lnTo>
                    <a:pt x="600" y="58"/>
                  </a:lnTo>
                  <a:lnTo>
                    <a:pt x="606" y="67"/>
                  </a:lnTo>
                  <a:lnTo>
                    <a:pt x="613" y="76"/>
                  </a:lnTo>
                  <a:lnTo>
                    <a:pt x="621" y="85"/>
                  </a:lnTo>
                  <a:lnTo>
                    <a:pt x="627" y="94"/>
                  </a:lnTo>
                  <a:lnTo>
                    <a:pt x="635" y="102"/>
                  </a:lnTo>
                  <a:lnTo>
                    <a:pt x="643" y="111"/>
                  </a:lnTo>
                  <a:lnTo>
                    <a:pt x="650" y="119"/>
                  </a:lnTo>
                  <a:lnTo>
                    <a:pt x="658" y="127"/>
                  </a:lnTo>
                  <a:lnTo>
                    <a:pt x="666" y="135"/>
                  </a:lnTo>
                  <a:lnTo>
                    <a:pt x="673" y="143"/>
                  </a:lnTo>
                  <a:lnTo>
                    <a:pt x="682" y="151"/>
                  </a:lnTo>
                  <a:lnTo>
                    <a:pt x="691" y="159"/>
                  </a:lnTo>
                  <a:lnTo>
                    <a:pt x="699" y="167"/>
                  </a:lnTo>
                  <a:lnTo>
                    <a:pt x="708" y="173"/>
                  </a:lnTo>
                  <a:lnTo>
                    <a:pt x="717" y="181"/>
                  </a:lnTo>
                  <a:lnTo>
                    <a:pt x="725" y="188"/>
                  </a:lnTo>
                  <a:lnTo>
                    <a:pt x="734" y="194"/>
                  </a:lnTo>
                  <a:lnTo>
                    <a:pt x="743" y="201"/>
                  </a:lnTo>
                  <a:lnTo>
                    <a:pt x="752" y="208"/>
                  </a:lnTo>
                  <a:lnTo>
                    <a:pt x="762" y="215"/>
                  </a:lnTo>
                  <a:lnTo>
                    <a:pt x="771" y="221"/>
                  </a:lnTo>
                  <a:lnTo>
                    <a:pt x="781" y="227"/>
                  </a:lnTo>
                  <a:lnTo>
                    <a:pt x="791" y="233"/>
                  </a:lnTo>
                  <a:lnTo>
                    <a:pt x="800" y="239"/>
                  </a:lnTo>
                  <a:lnTo>
                    <a:pt x="811" y="244"/>
                  </a:lnTo>
                  <a:lnTo>
                    <a:pt x="820" y="250"/>
                  </a:lnTo>
                  <a:lnTo>
                    <a:pt x="830" y="255"/>
                  </a:lnTo>
                  <a:lnTo>
                    <a:pt x="840" y="260"/>
                  </a:lnTo>
                  <a:lnTo>
                    <a:pt x="851" y="264"/>
                  </a:lnTo>
                  <a:lnTo>
                    <a:pt x="861" y="269"/>
                  </a:lnTo>
                  <a:lnTo>
                    <a:pt x="871" y="274"/>
                  </a:lnTo>
                  <a:lnTo>
                    <a:pt x="882" y="278"/>
                  </a:lnTo>
                  <a:lnTo>
                    <a:pt x="892" y="283"/>
                  </a:lnTo>
                  <a:lnTo>
                    <a:pt x="903" y="286"/>
                  </a:lnTo>
                  <a:lnTo>
                    <a:pt x="913" y="290"/>
                  </a:lnTo>
                  <a:lnTo>
                    <a:pt x="925" y="294"/>
                  </a:lnTo>
                  <a:lnTo>
                    <a:pt x="935" y="297"/>
                  </a:lnTo>
                  <a:lnTo>
                    <a:pt x="946" y="301"/>
                  </a:lnTo>
                  <a:lnTo>
                    <a:pt x="958" y="304"/>
                  </a:lnTo>
                  <a:lnTo>
                    <a:pt x="968" y="307"/>
                  </a:lnTo>
                  <a:lnTo>
                    <a:pt x="979" y="309"/>
                  </a:lnTo>
                  <a:lnTo>
                    <a:pt x="990" y="311"/>
                  </a:lnTo>
                  <a:lnTo>
                    <a:pt x="1002" y="313"/>
                  </a:lnTo>
                  <a:lnTo>
                    <a:pt x="1012" y="315"/>
                  </a:lnTo>
                  <a:lnTo>
                    <a:pt x="1024" y="317"/>
                  </a:lnTo>
                  <a:lnTo>
                    <a:pt x="1035" y="319"/>
                  </a:lnTo>
                  <a:lnTo>
                    <a:pt x="1046" y="321"/>
                  </a:lnTo>
                  <a:lnTo>
                    <a:pt x="1057" y="322"/>
                  </a:lnTo>
                  <a:lnTo>
                    <a:pt x="1069" y="323"/>
                  </a:lnTo>
                  <a:lnTo>
                    <a:pt x="1080" y="324"/>
                  </a:lnTo>
                  <a:lnTo>
                    <a:pt x="1091" y="325"/>
                  </a:lnTo>
                  <a:lnTo>
                    <a:pt x="1102" y="325"/>
                  </a:lnTo>
                  <a:lnTo>
                    <a:pt x="1114" y="326"/>
                  </a:lnTo>
                  <a:lnTo>
                    <a:pt x="1126" y="326"/>
                  </a:lnTo>
                  <a:lnTo>
                    <a:pt x="1137" y="326"/>
                  </a:lnTo>
                  <a:lnTo>
                    <a:pt x="1148" y="325"/>
                  </a:lnTo>
                  <a:lnTo>
                    <a:pt x="1159" y="325"/>
                  </a:lnTo>
                  <a:lnTo>
                    <a:pt x="1171" y="324"/>
                  </a:lnTo>
                  <a:lnTo>
                    <a:pt x="1182" y="323"/>
                  </a:lnTo>
                  <a:lnTo>
                    <a:pt x="1194" y="322"/>
                  </a:lnTo>
                  <a:lnTo>
                    <a:pt x="1204" y="321"/>
                  </a:lnTo>
                  <a:lnTo>
                    <a:pt x="1216" y="319"/>
                  </a:lnTo>
                  <a:lnTo>
                    <a:pt x="1227" y="317"/>
                  </a:lnTo>
                  <a:lnTo>
                    <a:pt x="1238" y="315"/>
                  </a:lnTo>
                  <a:lnTo>
                    <a:pt x="1249" y="313"/>
                  </a:lnTo>
                  <a:lnTo>
                    <a:pt x="1261" y="311"/>
                  </a:lnTo>
                  <a:lnTo>
                    <a:pt x="1271" y="309"/>
                  </a:lnTo>
                  <a:lnTo>
                    <a:pt x="1283" y="307"/>
                  </a:lnTo>
                  <a:lnTo>
                    <a:pt x="1293" y="304"/>
                  </a:lnTo>
                  <a:lnTo>
                    <a:pt x="1304" y="301"/>
                  </a:lnTo>
                  <a:lnTo>
                    <a:pt x="1316" y="297"/>
                  </a:lnTo>
                  <a:lnTo>
                    <a:pt x="1326" y="294"/>
                  </a:lnTo>
                  <a:lnTo>
                    <a:pt x="1337" y="290"/>
                  </a:lnTo>
                  <a:lnTo>
                    <a:pt x="1347" y="286"/>
                  </a:lnTo>
                  <a:lnTo>
                    <a:pt x="1358" y="283"/>
                  </a:lnTo>
                  <a:lnTo>
                    <a:pt x="1368" y="278"/>
                  </a:lnTo>
                  <a:lnTo>
                    <a:pt x="1379" y="274"/>
                  </a:lnTo>
                  <a:lnTo>
                    <a:pt x="1389" y="269"/>
                  </a:lnTo>
                  <a:lnTo>
                    <a:pt x="1400" y="264"/>
                  </a:lnTo>
                  <a:lnTo>
                    <a:pt x="1411" y="260"/>
                  </a:lnTo>
                  <a:lnTo>
                    <a:pt x="1420" y="255"/>
                  </a:lnTo>
                  <a:lnTo>
                    <a:pt x="1431" y="250"/>
                  </a:lnTo>
                  <a:lnTo>
                    <a:pt x="1440" y="244"/>
                  </a:lnTo>
                  <a:lnTo>
                    <a:pt x="1450" y="239"/>
                  </a:lnTo>
                  <a:lnTo>
                    <a:pt x="1460" y="233"/>
                  </a:lnTo>
                  <a:lnTo>
                    <a:pt x="1470" y="227"/>
                  </a:lnTo>
                  <a:lnTo>
                    <a:pt x="1479" y="221"/>
                  </a:lnTo>
                  <a:lnTo>
                    <a:pt x="1488" y="215"/>
                  </a:lnTo>
                  <a:lnTo>
                    <a:pt x="1498" y="208"/>
                  </a:lnTo>
                  <a:lnTo>
                    <a:pt x="1508" y="201"/>
                  </a:lnTo>
                  <a:lnTo>
                    <a:pt x="1516" y="194"/>
                  </a:lnTo>
                  <a:lnTo>
                    <a:pt x="1526" y="188"/>
                  </a:lnTo>
                  <a:lnTo>
                    <a:pt x="1534" y="181"/>
                  </a:lnTo>
                  <a:lnTo>
                    <a:pt x="1543" y="173"/>
                  </a:lnTo>
                  <a:lnTo>
                    <a:pt x="1552" y="167"/>
                  </a:lnTo>
                  <a:lnTo>
                    <a:pt x="1560" y="159"/>
                  </a:lnTo>
                  <a:lnTo>
                    <a:pt x="1568" y="151"/>
                  </a:lnTo>
                  <a:lnTo>
                    <a:pt x="1577" y="143"/>
                  </a:lnTo>
                  <a:lnTo>
                    <a:pt x="1584" y="135"/>
                  </a:lnTo>
                  <a:lnTo>
                    <a:pt x="1593" y="127"/>
                  </a:lnTo>
                  <a:lnTo>
                    <a:pt x="1601" y="119"/>
                  </a:lnTo>
                  <a:lnTo>
                    <a:pt x="1608" y="111"/>
                  </a:lnTo>
                  <a:lnTo>
                    <a:pt x="1616" y="102"/>
                  </a:lnTo>
                  <a:lnTo>
                    <a:pt x="1623" y="94"/>
                  </a:lnTo>
                  <a:lnTo>
                    <a:pt x="1630" y="85"/>
                  </a:lnTo>
                  <a:lnTo>
                    <a:pt x="1637" y="76"/>
                  </a:lnTo>
                  <a:lnTo>
                    <a:pt x="1644" y="67"/>
                  </a:lnTo>
                  <a:lnTo>
                    <a:pt x="1651" y="58"/>
                  </a:lnTo>
                  <a:lnTo>
                    <a:pt x="1657" y="48"/>
                  </a:lnTo>
                  <a:lnTo>
                    <a:pt x="1664" y="39"/>
                  </a:lnTo>
                  <a:lnTo>
                    <a:pt x="1671" y="29"/>
                  </a:lnTo>
                  <a:lnTo>
                    <a:pt x="1676" y="21"/>
                  </a:lnTo>
                  <a:lnTo>
                    <a:pt x="1682" y="10"/>
                  </a:lnTo>
                  <a:lnTo>
                    <a:pt x="1688" y="0"/>
                  </a:lnTo>
                  <a:lnTo>
                    <a:pt x="1941" y="252"/>
                  </a:lnTo>
                  <a:lnTo>
                    <a:pt x="2250" y="326"/>
                  </a:lnTo>
                </a:path>
              </a:pathLst>
            </a:custGeom>
            <a:solidFill>
              <a:schemeClr val="accent2"/>
            </a:solidFill>
            <a:ln w="38100" cap="rnd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lvl="0" indent="0" algn="l" defTabSz="8164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455A6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Text Box 25">
              <a:extLst>
                <a:ext uri="{FF2B5EF4-FFF2-40B4-BE49-F238E27FC236}">
                  <a16:creationId xmlns:a16="http://schemas.microsoft.com/office/drawing/2014/main" id="{9C5E6B2C-6A47-3F4F-9F94-7B560F1D731C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3307413" y="3050439"/>
              <a:ext cx="1181440" cy="25663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 anchorCtr="1">
              <a:spAutoFit/>
            </a:bodyPr>
            <a:lstStyle/>
            <a:p>
              <a:pPr marL="0" marR="0" lvl="0" indent="0" algn="ctr" defTabSz="81648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41E42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Asset </a:t>
              </a:r>
            </a:p>
            <a:p>
              <a:pPr marL="0" marR="0" lvl="0" indent="0" algn="ctr" defTabSz="81648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41E42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Management</a:t>
              </a:r>
            </a:p>
          </p:txBody>
        </p:sp>
        <p:sp>
          <p:nvSpPr>
            <p:cNvPr id="81" name="Text Box 26">
              <a:extLst>
                <a:ext uri="{FF2B5EF4-FFF2-40B4-BE49-F238E27FC236}">
                  <a16:creationId xmlns:a16="http://schemas.microsoft.com/office/drawing/2014/main" id="{1DEA28AC-AC29-BD47-8689-F1AF6B6656E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069733" y="3050438"/>
              <a:ext cx="1289267" cy="25663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 anchorCtr="1">
              <a:spAutoFit/>
            </a:bodyPr>
            <a:lstStyle/>
            <a:p>
              <a:pPr marL="0" marR="0" lvl="0" indent="0" algn="ctr" defTabSz="81648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Projektudvikling</a:t>
              </a: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 </a:t>
              </a:r>
            </a:p>
            <a:p>
              <a:pPr marL="0" marR="0" lvl="0" indent="0" algn="ctr" defTabSz="81648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og</a:t>
              </a: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 </a:t>
              </a:r>
              <a:r>
                <a:rPr kumimoji="0" lang="en-GB" sz="1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salg</a:t>
              </a:r>
              <a:endPara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82" name="Text Box 27">
              <a:extLst>
                <a:ext uri="{FF2B5EF4-FFF2-40B4-BE49-F238E27FC236}">
                  <a16:creationId xmlns:a16="http://schemas.microsoft.com/office/drawing/2014/main" id="{7458C93B-4914-C14E-95E9-1130F0855568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565602" y="5149194"/>
              <a:ext cx="1788860" cy="128319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CAEBE8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 anchorCtr="1">
              <a:spAutoFit/>
            </a:bodyPr>
            <a:lstStyle/>
            <a:p>
              <a:pPr marL="0" marR="0" lvl="0" indent="0" algn="ctr" defTabSz="816485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41E42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Ejerskab</a:t>
              </a: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41E42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 &amp; drift</a:t>
              </a:r>
            </a:p>
          </p:txBody>
        </p:sp>
      </p:grpSp>
      <p:pic>
        <p:nvPicPr>
          <p:cNvPr id="83" name="Billede 10">
            <a:extLst>
              <a:ext uri="{FF2B5EF4-FFF2-40B4-BE49-F238E27FC236}">
                <a16:creationId xmlns:a16="http://schemas.microsoft.com/office/drawing/2014/main" id="{4E41B00D-24DF-EB47-8597-7956A1944FAC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0037" y="2621802"/>
            <a:ext cx="1808629" cy="223328"/>
          </a:xfrm>
          <a:prstGeom prst="rect">
            <a:avLst/>
          </a:prstGeom>
        </p:spPr>
      </p:pic>
      <p:sp>
        <p:nvSpPr>
          <p:cNvPr id="89" name="TextBox 55">
            <a:extLst>
              <a:ext uri="{FF2B5EF4-FFF2-40B4-BE49-F238E27FC236}">
                <a16:creationId xmlns:a16="http://schemas.microsoft.com/office/drawing/2014/main" id="{7F1C21C4-6C0E-CD43-9573-6AB1CDD1B842}"/>
              </a:ext>
            </a:extLst>
          </p:cNvPr>
          <p:cNvSpPr txBox="1"/>
          <p:nvPr/>
        </p:nvSpPr>
        <p:spPr>
          <a:xfrm>
            <a:off x="401805" y="4289790"/>
            <a:ext cx="2455915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kumimoji="0" lang="da-DK" sz="2000" b="1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rojekt-</a:t>
            </a:r>
          </a:p>
          <a:p>
            <a:pPr marL="0" marR="0" lvl="0" indent="0" algn="l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kumimoji="0" lang="da-DK" sz="2000" b="1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udvikling:</a:t>
            </a:r>
          </a:p>
          <a:p>
            <a:pPr marL="0" marR="0" lvl="0" indent="0" algn="l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Vi vil være en førende europæisk udvikler af vedvarende energiprojekter</a:t>
            </a:r>
          </a:p>
          <a:p>
            <a:pPr marL="0" marR="0" lvl="0" indent="0" algn="l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0" name="TextBox 55">
            <a:extLst>
              <a:ext uri="{FF2B5EF4-FFF2-40B4-BE49-F238E27FC236}">
                <a16:creationId xmlns:a16="http://schemas.microsoft.com/office/drawing/2014/main" id="{9F1A9284-F787-8947-9D82-1C63A08A5FAE}"/>
              </a:ext>
            </a:extLst>
          </p:cNvPr>
          <p:cNvSpPr txBox="1"/>
          <p:nvPr/>
        </p:nvSpPr>
        <p:spPr>
          <a:xfrm>
            <a:off x="3033245" y="4289790"/>
            <a:ext cx="2455915" cy="16773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kumimoji="0" lang="da-DK" sz="2000" b="1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jerskab </a:t>
            </a:r>
          </a:p>
          <a:p>
            <a:pPr marL="0" marR="0" lvl="0" indent="0" algn="l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kumimoji="0" lang="da-DK" sz="2000" b="1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&amp; drift:</a:t>
            </a:r>
          </a:p>
          <a:p>
            <a:pPr marL="0" marR="0" lvl="0" indent="0" algn="l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Vi vil udbygge ejerskabet af MW i porteføljen og derved opbygge en energikoncern med produktion af strøm fra vedvarende energikilder</a:t>
            </a:r>
          </a:p>
          <a:p>
            <a:pPr marL="0" marR="0" lvl="0" indent="0" algn="l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91" name="TextBox 55">
            <a:extLst>
              <a:ext uri="{FF2B5EF4-FFF2-40B4-BE49-F238E27FC236}">
                <a16:creationId xmlns:a16="http://schemas.microsoft.com/office/drawing/2014/main" id="{633D6619-2CB2-0A4C-95BA-2FDDC8D59159}"/>
              </a:ext>
            </a:extLst>
          </p:cNvPr>
          <p:cNvSpPr txBox="1"/>
          <p:nvPr/>
        </p:nvSpPr>
        <p:spPr>
          <a:xfrm>
            <a:off x="5776445" y="4289790"/>
            <a:ext cx="2455915" cy="1515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kumimoji="0" lang="da-DK" sz="2000" b="1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Asset Management:</a:t>
            </a:r>
          </a:p>
          <a:p>
            <a:pPr marL="0" marR="0" lvl="0" indent="0" algn="l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Vi vil være en førende europæisk administrator af vind- og solprojekter</a:t>
            </a:r>
          </a:p>
          <a:p>
            <a:pPr marL="128630" marR="0" lvl="0" indent="-128630" algn="l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07692AC1-F6DC-4FD9-9608-D9665F276E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1673A4-D707-475A-BF47-C05C70FAC46A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8595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billede 1">
            <a:extLst>
              <a:ext uri="{FF2B5EF4-FFF2-40B4-BE49-F238E27FC236}">
                <a16:creationId xmlns:a16="http://schemas.microsoft.com/office/drawing/2014/main" id="{F367C0E4-6088-4374-AF66-C5DC0CE22D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46536" y="0"/>
            <a:ext cx="7945464" cy="6858000"/>
          </a:xfrm>
        </p:spPr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41A2C7C8-7A3D-4331-B4D6-2BBE3FA5BE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E4FF9DB7-C4D0-49BC-B1E8-7929A01726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066544"/>
            <a:ext cx="3622109" cy="406026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Vi er 10 medarbejdere </a:t>
            </a:r>
            <a:r>
              <a:rPr lang="da-DK" sz="2000" dirty="0"/>
              <a:t>tilknyttet</a:t>
            </a:r>
            <a:r>
              <a:rPr lang="en-US" sz="2000" dirty="0"/>
              <a:t> DK-afdeling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Bred </a:t>
            </a:r>
            <a:r>
              <a:rPr lang="en-US" sz="2000" dirty="0" err="1"/>
              <a:t>faglig</a:t>
            </a:r>
            <a:r>
              <a:rPr lang="en-US" sz="2000" dirty="0"/>
              <a:t> </a:t>
            </a:r>
            <a:r>
              <a:rPr lang="da-DK" sz="2000" dirty="0"/>
              <a:t>baggru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sz="2000" dirty="0"/>
          </a:p>
          <a:p>
            <a:endParaRPr lang="da-DK" sz="2000" dirty="0"/>
          </a:p>
          <a:p>
            <a:r>
              <a:rPr lang="da-DK" sz="1600" b="1" dirty="0"/>
              <a:t>Eurowind Energy A/S:</a:t>
            </a:r>
          </a:p>
          <a:p>
            <a:r>
              <a:rPr lang="da-DK" sz="1600" dirty="0"/>
              <a:t>Omsætning: 133.717 TEUR</a:t>
            </a:r>
          </a:p>
          <a:p>
            <a:r>
              <a:rPr lang="da-DK" sz="1600" dirty="0"/>
              <a:t>Egenkapital: 280.602 TEUR</a:t>
            </a:r>
          </a:p>
          <a:p>
            <a:endParaRPr lang="da-DK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9F2D079-8F68-41D7-AE1C-98DA4D7C0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800" dirty="0" err="1"/>
              <a:t>Hvem</a:t>
            </a:r>
            <a:r>
              <a:rPr lang="en-US" sz="4800" dirty="0"/>
              <a:t> er vi?</a:t>
            </a:r>
            <a:endParaRPr lang="da-DK" sz="4800" dirty="0"/>
          </a:p>
        </p:txBody>
      </p:sp>
      <p:pic>
        <p:nvPicPr>
          <p:cNvPr id="7" name="Content Placeholder 5">
            <a:extLst>
              <a:ext uri="{FF2B5EF4-FFF2-40B4-BE49-F238E27FC236}">
                <a16:creationId xmlns:a16="http://schemas.microsoft.com/office/drawing/2014/main" id="{CD0D7D1A-A044-4F87-8452-B8A3B791FC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92" b="7592"/>
          <a:stretch/>
        </p:blipFill>
        <p:spPr>
          <a:xfrm>
            <a:off x="10192663" y="2565401"/>
            <a:ext cx="1404322" cy="1440000"/>
          </a:xfrm>
          <a:prstGeom prst="ellipse">
            <a:avLst/>
          </a:prstGeom>
        </p:spPr>
      </p:pic>
      <p:pic>
        <p:nvPicPr>
          <p:cNvPr id="8" name="Content Placeholder 5">
            <a:extLst>
              <a:ext uri="{FF2B5EF4-FFF2-40B4-BE49-F238E27FC236}">
                <a16:creationId xmlns:a16="http://schemas.microsoft.com/office/drawing/2014/main" id="{8470A12F-5519-4F59-82FA-E90B89DCBFF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92" b="7592"/>
          <a:stretch/>
        </p:blipFill>
        <p:spPr>
          <a:xfrm>
            <a:off x="4840806" y="471057"/>
            <a:ext cx="1404322" cy="1440000"/>
          </a:xfrm>
          <a:prstGeom prst="ellipse">
            <a:avLst/>
          </a:prstGeom>
        </p:spPr>
      </p:pic>
      <p:sp>
        <p:nvSpPr>
          <p:cNvPr id="9" name="TextBox 55">
            <a:extLst>
              <a:ext uri="{FF2B5EF4-FFF2-40B4-BE49-F238E27FC236}">
                <a16:creationId xmlns:a16="http://schemas.microsoft.com/office/drawing/2014/main" id="{12855B34-9BA1-415A-9125-BAAFEFA5A7A3}"/>
              </a:ext>
            </a:extLst>
          </p:cNvPr>
          <p:cNvSpPr txBox="1"/>
          <p:nvPr/>
        </p:nvSpPr>
        <p:spPr>
          <a:xfrm>
            <a:off x="4705072" y="1915802"/>
            <a:ext cx="167579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Jesper Houe</a:t>
            </a:r>
          </a:p>
          <a:p>
            <a:pPr marL="0" marR="0" lvl="0" indent="0" algn="ctr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ountry Manager DK</a:t>
            </a:r>
          </a:p>
        </p:txBody>
      </p:sp>
      <p:pic>
        <p:nvPicPr>
          <p:cNvPr id="18" name="Content Placeholder 5">
            <a:extLst>
              <a:ext uri="{FF2B5EF4-FFF2-40B4-BE49-F238E27FC236}">
                <a16:creationId xmlns:a16="http://schemas.microsoft.com/office/drawing/2014/main" id="{BE1E7E20-826C-4E4A-972D-7CB68E1517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92" b="7592"/>
          <a:stretch/>
        </p:blipFill>
        <p:spPr>
          <a:xfrm>
            <a:off x="6643582" y="2568083"/>
            <a:ext cx="1404322" cy="1440000"/>
          </a:xfrm>
          <a:prstGeom prst="ellipse">
            <a:avLst/>
          </a:prstGeom>
        </p:spPr>
      </p:pic>
      <p:pic>
        <p:nvPicPr>
          <p:cNvPr id="19" name="Content Placeholder 5">
            <a:extLst>
              <a:ext uri="{FF2B5EF4-FFF2-40B4-BE49-F238E27FC236}">
                <a16:creationId xmlns:a16="http://schemas.microsoft.com/office/drawing/2014/main" id="{C1303260-62FA-450F-9650-543021624F7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92" b="7592"/>
          <a:stretch/>
        </p:blipFill>
        <p:spPr>
          <a:xfrm>
            <a:off x="4845859" y="2568083"/>
            <a:ext cx="1404322" cy="1440000"/>
          </a:xfrm>
          <a:prstGeom prst="ellipse">
            <a:avLst/>
          </a:prstGeom>
        </p:spPr>
      </p:pic>
      <p:pic>
        <p:nvPicPr>
          <p:cNvPr id="20" name="Content Placeholder 5">
            <a:extLst>
              <a:ext uri="{FF2B5EF4-FFF2-40B4-BE49-F238E27FC236}">
                <a16:creationId xmlns:a16="http://schemas.microsoft.com/office/drawing/2014/main" id="{746476F3-3F7D-487E-8CD5-C433D7EEF2F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" b="33"/>
          <a:stretch/>
        </p:blipFill>
        <p:spPr>
          <a:xfrm>
            <a:off x="10192663" y="449361"/>
            <a:ext cx="1404322" cy="1440000"/>
          </a:xfrm>
          <a:prstGeom prst="ellipse">
            <a:avLst/>
          </a:prstGeom>
        </p:spPr>
      </p:pic>
      <p:pic>
        <p:nvPicPr>
          <p:cNvPr id="21" name="Content Placeholder 5">
            <a:extLst>
              <a:ext uri="{FF2B5EF4-FFF2-40B4-BE49-F238E27FC236}">
                <a16:creationId xmlns:a16="http://schemas.microsoft.com/office/drawing/2014/main" id="{27DCAA8C-90FE-42CC-9499-E1A8FF3B377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" b="33"/>
          <a:stretch/>
        </p:blipFill>
        <p:spPr>
          <a:xfrm>
            <a:off x="8410646" y="449361"/>
            <a:ext cx="1404322" cy="1440000"/>
          </a:xfrm>
          <a:prstGeom prst="ellipse">
            <a:avLst/>
          </a:prstGeom>
        </p:spPr>
      </p:pic>
      <p:pic>
        <p:nvPicPr>
          <p:cNvPr id="22" name="Content Placeholder 5">
            <a:extLst>
              <a:ext uri="{FF2B5EF4-FFF2-40B4-BE49-F238E27FC236}">
                <a16:creationId xmlns:a16="http://schemas.microsoft.com/office/drawing/2014/main" id="{199D9C86-51FC-454F-8935-F4C2FE0BEFE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" b="33"/>
          <a:stretch/>
        </p:blipFill>
        <p:spPr>
          <a:xfrm>
            <a:off x="6625726" y="471057"/>
            <a:ext cx="1404322" cy="1440000"/>
          </a:xfrm>
          <a:prstGeom prst="ellipse">
            <a:avLst/>
          </a:prstGeom>
        </p:spPr>
      </p:pic>
      <p:pic>
        <p:nvPicPr>
          <p:cNvPr id="23" name="Content Placeholder 5">
            <a:extLst>
              <a:ext uri="{FF2B5EF4-FFF2-40B4-BE49-F238E27FC236}">
                <a16:creationId xmlns:a16="http://schemas.microsoft.com/office/drawing/2014/main" id="{0CE0E544-934E-460D-8870-9FAA05873D4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92" b="7592"/>
          <a:stretch/>
        </p:blipFill>
        <p:spPr>
          <a:xfrm>
            <a:off x="8441305" y="2568083"/>
            <a:ext cx="1404322" cy="1440000"/>
          </a:xfrm>
          <a:prstGeom prst="ellipse">
            <a:avLst/>
          </a:prstGeom>
        </p:spPr>
      </p:pic>
      <p:pic>
        <p:nvPicPr>
          <p:cNvPr id="24" name="Content Placeholder 5">
            <a:extLst>
              <a:ext uri="{FF2B5EF4-FFF2-40B4-BE49-F238E27FC236}">
                <a16:creationId xmlns:a16="http://schemas.microsoft.com/office/drawing/2014/main" id="{A66CB15A-D6C0-4DC0-B420-EF7AB9B9F55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92" b="7592"/>
          <a:stretch/>
        </p:blipFill>
        <p:spPr>
          <a:xfrm>
            <a:off x="8441305" y="4686805"/>
            <a:ext cx="1404322" cy="1440000"/>
          </a:xfrm>
          <a:prstGeom prst="ellipse">
            <a:avLst/>
          </a:prstGeom>
        </p:spPr>
      </p:pic>
      <p:pic>
        <p:nvPicPr>
          <p:cNvPr id="25" name="Content Placeholder 5">
            <a:extLst>
              <a:ext uri="{FF2B5EF4-FFF2-40B4-BE49-F238E27FC236}">
                <a16:creationId xmlns:a16="http://schemas.microsoft.com/office/drawing/2014/main" id="{4B807B35-4F08-4DF3-B071-618F43A420D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92" b="7592"/>
          <a:stretch/>
        </p:blipFill>
        <p:spPr>
          <a:xfrm>
            <a:off x="6643582" y="4713041"/>
            <a:ext cx="1404322" cy="1440000"/>
          </a:xfrm>
          <a:prstGeom prst="ellipse">
            <a:avLst/>
          </a:prstGeom>
        </p:spPr>
      </p:pic>
      <p:pic>
        <p:nvPicPr>
          <p:cNvPr id="26" name="Content Placeholder 5">
            <a:extLst>
              <a:ext uri="{FF2B5EF4-FFF2-40B4-BE49-F238E27FC236}">
                <a16:creationId xmlns:a16="http://schemas.microsoft.com/office/drawing/2014/main" id="{39E580CE-88BE-4B47-9C78-2DAD22D908F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68" b="7268"/>
          <a:stretch/>
        </p:blipFill>
        <p:spPr>
          <a:xfrm>
            <a:off x="4840806" y="4713041"/>
            <a:ext cx="1404322" cy="1440000"/>
          </a:xfrm>
          <a:prstGeom prst="ellipse">
            <a:avLst/>
          </a:prstGeom>
        </p:spPr>
      </p:pic>
      <p:pic>
        <p:nvPicPr>
          <p:cNvPr id="27" name="Content Placeholder 5">
            <a:extLst>
              <a:ext uri="{FF2B5EF4-FFF2-40B4-BE49-F238E27FC236}">
                <a16:creationId xmlns:a16="http://schemas.microsoft.com/office/drawing/2014/main" id="{91295607-DBB1-44AC-9517-BFE6018AFB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" b="33"/>
          <a:stretch/>
        </p:blipFill>
        <p:spPr>
          <a:xfrm>
            <a:off x="10192663" y="4713041"/>
            <a:ext cx="1404322" cy="1440000"/>
          </a:xfrm>
          <a:prstGeom prst="ellipse">
            <a:avLst/>
          </a:prstGeom>
        </p:spPr>
      </p:pic>
      <p:sp>
        <p:nvSpPr>
          <p:cNvPr id="29" name="TextBox 55">
            <a:extLst>
              <a:ext uri="{FF2B5EF4-FFF2-40B4-BE49-F238E27FC236}">
                <a16:creationId xmlns:a16="http://schemas.microsoft.com/office/drawing/2014/main" id="{20703A33-3C94-4EA6-8358-D638B5D5022C}"/>
              </a:ext>
            </a:extLst>
          </p:cNvPr>
          <p:cNvSpPr txBox="1"/>
          <p:nvPr/>
        </p:nvSpPr>
        <p:spPr>
          <a:xfrm>
            <a:off x="6485179" y="1915802"/>
            <a:ext cx="167579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Hanne B. Kjeldsen</a:t>
            </a:r>
          </a:p>
          <a:p>
            <a:pPr marL="0" marR="0" lvl="0" indent="0" algn="ctr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lang="da-DK" sz="1050" dirty="0">
                <a:solidFill>
                  <a:prstClr val="white"/>
                </a:solidFill>
                <a:latin typeface="Century Gothic" panose="020F0302020204030204"/>
              </a:rPr>
              <a:t>Project Coordinator</a:t>
            </a: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0" name="TextBox 55">
            <a:extLst>
              <a:ext uri="{FF2B5EF4-FFF2-40B4-BE49-F238E27FC236}">
                <a16:creationId xmlns:a16="http://schemas.microsoft.com/office/drawing/2014/main" id="{83513E79-9E9A-4E5F-AF68-660AF061635F}"/>
              </a:ext>
            </a:extLst>
          </p:cNvPr>
          <p:cNvSpPr txBox="1"/>
          <p:nvPr/>
        </p:nvSpPr>
        <p:spPr>
          <a:xfrm>
            <a:off x="6385158" y="6152249"/>
            <a:ext cx="186899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lang="da-DK" sz="1050" dirty="0">
                <a:solidFill>
                  <a:prstClr val="white"/>
                </a:solidFill>
                <a:latin typeface="Century Gothic" panose="020F0302020204030204"/>
              </a:rPr>
              <a:t>Christian Møller Hansen</a:t>
            </a: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lang="da-DK" sz="1050" dirty="0">
                <a:solidFill>
                  <a:prstClr val="white"/>
                </a:solidFill>
                <a:latin typeface="Century Gothic" panose="020F0302020204030204"/>
              </a:rPr>
              <a:t>Project Assistant</a:t>
            </a: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1" name="TextBox 55">
            <a:extLst>
              <a:ext uri="{FF2B5EF4-FFF2-40B4-BE49-F238E27FC236}">
                <a16:creationId xmlns:a16="http://schemas.microsoft.com/office/drawing/2014/main" id="{3423927A-2D92-4395-83EA-9B2DAD883636}"/>
              </a:ext>
            </a:extLst>
          </p:cNvPr>
          <p:cNvSpPr txBox="1"/>
          <p:nvPr/>
        </p:nvSpPr>
        <p:spPr>
          <a:xfrm>
            <a:off x="4700776" y="6152249"/>
            <a:ext cx="167579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lang="da-DK" sz="1050" dirty="0" err="1">
                <a:solidFill>
                  <a:prstClr val="white"/>
                </a:solidFill>
                <a:latin typeface="Century Gothic" panose="020F0302020204030204"/>
              </a:rPr>
              <a:t>Uli</a:t>
            </a:r>
            <a:r>
              <a:rPr lang="da-DK" sz="1050" dirty="0">
                <a:solidFill>
                  <a:prstClr val="white"/>
                </a:solidFill>
                <a:latin typeface="Century Gothic" panose="020F0302020204030204"/>
              </a:rPr>
              <a:t> Stolz</a:t>
            </a: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lang="da-DK" sz="1050" dirty="0">
                <a:solidFill>
                  <a:prstClr val="white"/>
                </a:solidFill>
                <a:latin typeface="Century Gothic" panose="020F0302020204030204"/>
              </a:rPr>
              <a:t>Project </a:t>
            </a: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anager </a:t>
            </a:r>
          </a:p>
        </p:txBody>
      </p:sp>
      <p:sp>
        <p:nvSpPr>
          <p:cNvPr id="32" name="TextBox 55">
            <a:extLst>
              <a:ext uri="{FF2B5EF4-FFF2-40B4-BE49-F238E27FC236}">
                <a16:creationId xmlns:a16="http://schemas.microsoft.com/office/drawing/2014/main" id="{486DD68F-7D08-49D9-83D1-E7B540F06EBB}"/>
              </a:ext>
            </a:extLst>
          </p:cNvPr>
          <p:cNvSpPr txBox="1"/>
          <p:nvPr/>
        </p:nvSpPr>
        <p:spPr>
          <a:xfrm>
            <a:off x="10013576" y="4005401"/>
            <a:ext cx="167579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lang="da-DK" sz="1050" dirty="0">
                <a:solidFill>
                  <a:prstClr val="white"/>
                </a:solidFill>
                <a:latin typeface="Century Gothic" panose="020F0302020204030204"/>
              </a:rPr>
              <a:t>Niels Thorkilsen</a:t>
            </a: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lang="da-DK" sz="1050" dirty="0">
                <a:solidFill>
                  <a:prstClr val="white"/>
                </a:solidFill>
                <a:latin typeface="Century Gothic" panose="020F0302020204030204"/>
              </a:rPr>
              <a:t>Project </a:t>
            </a: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anager</a:t>
            </a:r>
          </a:p>
        </p:txBody>
      </p:sp>
      <p:sp>
        <p:nvSpPr>
          <p:cNvPr id="33" name="TextBox 55">
            <a:extLst>
              <a:ext uri="{FF2B5EF4-FFF2-40B4-BE49-F238E27FC236}">
                <a16:creationId xmlns:a16="http://schemas.microsoft.com/office/drawing/2014/main" id="{6AC9A258-812D-449D-AB18-404C78E3D1F4}"/>
              </a:ext>
            </a:extLst>
          </p:cNvPr>
          <p:cNvSpPr txBox="1"/>
          <p:nvPr/>
        </p:nvSpPr>
        <p:spPr>
          <a:xfrm>
            <a:off x="8274912" y="4013414"/>
            <a:ext cx="167579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lang="da-DK" sz="1050" dirty="0">
                <a:solidFill>
                  <a:prstClr val="white"/>
                </a:solidFill>
                <a:latin typeface="Century Gothic" panose="020F0302020204030204"/>
              </a:rPr>
              <a:t>Claus Just Pedersen</a:t>
            </a: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lang="da-DK" sz="1050" dirty="0">
                <a:solidFill>
                  <a:prstClr val="white"/>
                </a:solidFill>
                <a:latin typeface="Century Gothic" panose="020F0302020204030204"/>
              </a:rPr>
              <a:t>Project </a:t>
            </a: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anager</a:t>
            </a:r>
          </a:p>
        </p:txBody>
      </p:sp>
      <p:sp>
        <p:nvSpPr>
          <p:cNvPr id="34" name="TextBox 55">
            <a:extLst>
              <a:ext uri="{FF2B5EF4-FFF2-40B4-BE49-F238E27FC236}">
                <a16:creationId xmlns:a16="http://schemas.microsoft.com/office/drawing/2014/main" id="{B64844A4-D5F4-4183-82B8-D497285AC2CE}"/>
              </a:ext>
            </a:extLst>
          </p:cNvPr>
          <p:cNvSpPr txBox="1"/>
          <p:nvPr/>
        </p:nvSpPr>
        <p:spPr>
          <a:xfrm>
            <a:off x="6390885" y="4037117"/>
            <a:ext cx="191468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lang="da-DK" sz="1050" dirty="0">
                <a:solidFill>
                  <a:prstClr val="white"/>
                </a:solidFill>
                <a:latin typeface="Century Gothic" panose="020F0302020204030204"/>
              </a:rPr>
              <a:t>Martin Stentebjerg-Olesen</a:t>
            </a: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lang="da-DK" sz="1050" dirty="0">
                <a:solidFill>
                  <a:prstClr val="white"/>
                </a:solidFill>
                <a:latin typeface="Century Gothic" panose="020F0302020204030204"/>
              </a:rPr>
              <a:t>Project </a:t>
            </a: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anager</a:t>
            </a:r>
          </a:p>
        </p:txBody>
      </p:sp>
      <p:sp>
        <p:nvSpPr>
          <p:cNvPr id="35" name="TextBox 55">
            <a:extLst>
              <a:ext uri="{FF2B5EF4-FFF2-40B4-BE49-F238E27FC236}">
                <a16:creationId xmlns:a16="http://schemas.microsoft.com/office/drawing/2014/main" id="{D1C4D1C0-795B-47D6-954E-3A89E684731C}"/>
              </a:ext>
            </a:extLst>
          </p:cNvPr>
          <p:cNvSpPr txBox="1"/>
          <p:nvPr/>
        </p:nvSpPr>
        <p:spPr>
          <a:xfrm>
            <a:off x="4705072" y="4005401"/>
            <a:ext cx="167579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lang="da-DK" sz="1050" dirty="0">
                <a:solidFill>
                  <a:prstClr val="white"/>
                </a:solidFill>
                <a:latin typeface="Century Gothic" panose="020F0302020204030204"/>
              </a:rPr>
              <a:t>Mogens Børsting</a:t>
            </a: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lang="da-DK" sz="1050" dirty="0">
                <a:solidFill>
                  <a:prstClr val="white"/>
                </a:solidFill>
                <a:latin typeface="Century Gothic" panose="020F0302020204030204"/>
              </a:rPr>
              <a:t>Project</a:t>
            </a: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Manager</a:t>
            </a:r>
          </a:p>
        </p:txBody>
      </p:sp>
      <p:sp>
        <p:nvSpPr>
          <p:cNvPr id="37" name="TextBox 55">
            <a:extLst>
              <a:ext uri="{FF2B5EF4-FFF2-40B4-BE49-F238E27FC236}">
                <a16:creationId xmlns:a16="http://schemas.microsoft.com/office/drawing/2014/main" id="{79873B84-D53F-4B2E-A3A8-2C33D2D41077}"/>
              </a:ext>
            </a:extLst>
          </p:cNvPr>
          <p:cNvSpPr txBox="1"/>
          <p:nvPr/>
        </p:nvSpPr>
        <p:spPr>
          <a:xfrm>
            <a:off x="8160969" y="1889361"/>
            <a:ext cx="19169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ina Bødker</a:t>
            </a:r>
          </a:p>
          <a:p>
            <a:pPr marL="0" marR="0" lvl="0" indent="0" algn="ctr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lang="da-DK" sz="1050" dirty="0">
                <a:solidFill>
                  <a:prstClr val="white"/>
                </a:solidFill>
                <a:latin typeface="Century Gothic" panose="020F0302020204030204"/>
              </a:rPr>
              <a:t>Project Manager - Planner</a:t>
            </a: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8" name="TextBox 55">
            <a:extLst>
              <a:ext uri="{FF2B5EF4-FFF2-40B4-BE49-F238E27FC236}">
                <a16:creationId xmlns:a16="http://schemas.microsoft.com/office/drawing/2014/main" id="{3F73C3A1-28D2-4C56-B668-C6124A1F5098}"/>
              </a:ext>
            </a:extLst>
          </p:cNvPr>
          <p:cNvSpPr txBox="1"/>
          <p:nvPr/>
        </p:nvSpPr>
        <p:spPr>
          <a:xfrm>
            <a:off x="10056929" y="6142780"/>
            <a:ext cx="167579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</a:p>
        </p:txBody>
      </p:sp>
      <p:sp>
        <p:nvSpPr>
          <p:cNvPr id="39" name="TextBox 55">
            <a:extLst>
              <a:ext uri="{FF2B5EF4-FFF2-40B4-BE49-F238E27FC236}">
                <a16:creationId xmlns:a16="http://schemas.microsoft.com/office/drawing/2014/main" id="{1A2E81AF-1FBF-4958-BA41-8A052D3E72CA}"/>
              </a:ext>
            </a:extLst>
          </p:cNvPr>
          <p:cNvSpPr txBox="1"/>
          <p:nvPr/>
        </p:nvSpPr>
        <p:spPr>
          <a:xfrm>
            <a:off x="8337786" y="6155489"/>
            <a:ext cx="167579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lang="da-DK" sz="1050" dirty="0">
                <a:solidFill>
                  <a:prstClr val="white"/>
                </a:solidFill>
                <a:latin typeface="Century Gothic" panose="020F0302020204030204"/>
              </a:rPr>
              <a:t>Laust Porret Merrild</a:t>
            </a: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ctr" defTabSz="816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75D68"/>
              </a:buClr>
              <a:buSzTx/>
              <a:buFontTx/>
              <a:buNone/>
              <a:tabLst/>
              <a:defRPr/>
            </a:pPr>
            <a:r>
              <a:rPr lang="da-DK" sz="1050" dirty="0">
                <a:solidFill>
                  <a:prstClr val="white"/>
                </a:solidFill>
                <a:latin typeface="Century Gothic" panose="020F0302020204030204"/>
              </a:rPr>
              <a:t>Project Developer</a:t>
            </a: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36" name="Content Placeholder 5">
            <a:extLst>
              <a:ext uri="{FF2B5EF4-FFF2-40B4-BE49-F238E27FC236}">
                <a16:creationId xmlns:a16="http://schemas.microsoft.com/office/drawing/2014/main" id="{56381573-F3DE-45C5-8702-3D1A75F3179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57" b="7257"/>
          <a:stretch/>
        </p:blipFill>
        <p:spPr>
          <a:xfrm>
            <a:off x="10282218" y="2573414"/>
            <a:ext cx="1404322" cy="14400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3998228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C0DBB39-5A46-413E-A4E2-EA2759C90D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C0DBB39-5A46-413E-A4E2-EA2759C90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2" name="Picture Placeholder 1">
            <a:extLst>
              <a:ext uri="{FF2B5EF4-FFF2-40B4-BE49-F238E27FC236}">
                <a16:creationId xmlns:a16="http://schemas.microsoft.com/office/drawing/2014/main" id="{849B3347-9076-B64B-AB54-80F7408BF755}"/>
              </a:ext>
            </a:extLst>
          </p:cNvPr>
          <p:cNvSpPr txBox="1">
            <a:spLocks/>
          </p:cNvSpPr>
          <p:nvPr/>
        </p:nvSpPr>
        <p:spPr>
          <a:xfrm>
            <a:off x="4079776" y="-207074"/>
            <a:ext cx="8112224" cy="7452851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K" sz="1800" b="0" i="0" u="none" strike="noStrike" kern="1200" cap="none" spc="0" normalizeH="0" baseline="0" noProof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36" name="Title 6">
            <a:extLst>
              <a:ext uri="{FF2B5EF4-FFF2-40B4-BE49-F238E27FC236}">
                <a16:creationId xmlns:a16="http://schemas.microsoft.com/office/drawing/2014/main" id="{EF55A8A8-85C2-534A-9DD7-8848DDC266FE}"/>
              </a:ext>
            </a:extLst>
          </p:cNvPr>
          <p:cNvSpPr txBox="1">
            <a:spLocks/>
          </p:cNvSpPr>
          <p:nvPr/>
        </p:nvSpPr>
        <p:spPr>
          <a:xfrm>
            <a:off x="515938" y="981074"/>
            <a:ext cx="7814029" cy="14398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K" sz="4800" b="1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j-ea"/>
                <a:cs typeface="+mj-cs"/>
              </a:rPr>
              <a:t>Projekter</a:t>
            </a:r>
          </a:p>
        </p:txBody>
      </p:sp>
      <p:sp>
        <p:nvSpPr>
          <p:cNvPr id="439" name="Tekstfelt 162">
            <a:extLst>
              <a:ext uri="{FF2B5EF4-FFF2-40B4-BE49-F238E27FC236}">
                <a16:creationId xmlns:a16="http://schemas.microsoft.com/office/drawing/2014/main" id="{54FE3196-B75F-844E-8755-37E32D221F76}"/>
              </a:ext>
            </a:extLst>
          </p:cNvPr>
          <p:cNvSpPr txBox="1"/>
          <p:nvPr/>
        </p:nvSpPr>
        <p:spPr>
          <a:xfrm>
            <a:off x="916053" y="2940047"/>
            <a:ext cx="2795096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151B4A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Gennemførte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151B4A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151B4A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rojekter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151B4A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151B4A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151B4A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Igangværende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151B4A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151B4A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rojekter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151B4A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151B4A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151B4A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lanlagte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151B4A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151B4A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rojekter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151B4A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151B4A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151B4A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WE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151B4A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kontor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151B4A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151B4A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kern="0" dirty="0">
              <a:solidFill>
                <a:srgbClr val="151B4A"/>
              </a:solidFill>
              <a:latin typeface="Century Gothic" panose="020F0302020204030204"/>
            </a:endParaRPr>
          </a:p>
          <a:p>
            <a:pPr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j-ea"/>
                <a:cs typeface="+mj-cs"/>
              </a:rPr>
              <a:t>Vi driver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j-ea"/>
                <a:cs typeface="+mj-cs"/>
              </a:rPr>
              <a:t>og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j-ea"/>
                <a:cs typeface="+mj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j-ea"/>
                <a:cs typeface="+mj-cs"/>
              </a:rPr>
              <a:t>ejer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j-ea"/>
                <a:cs typeface="+mj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j-ea"/>
                <a:cs typeface="+mj-cs"/>
              </a:rPr>
              <a:t>vindmøller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j-ea"/>
                <a:cs typeface="+mj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j-ea"/>
                <a:cs typeface="+mj-cs"/>
              </a:rPr>
              <a:t>og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j-ea"/>
                <a:cs typeface="+mj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j-ea"/>
                <a:cs typeface="+mj-cs"/>
              </a:rPr>
              <a:t>solcelleanlæg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j-ea"/>
                <a:cs typeface="+mj-cs"/>
              </a:rPr>
              <a:t>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j-ea"/>
                <a:cs typeface="+mj-cs"/>
              </a:rPr>
              <a:t>i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j-ea"/>
                <a:cs typeface="+mj-cs"/>
              </a:rPr>
              <a:t> hele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j-ea"/>
                <a:cs typeface="+mj-cs"/>
              </a:rPr>
              <a:t>landet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j-ea"/>
                <a:cs typeface="+mj-cs"/>
              </a:rPr>
              <a:t>.</a:t>
            </a:r>
            <a:endParaRPr kumimoji="0" lang="en-DK" sz="1600" b="0" i="0" u="none" strike="noStrike" kern="120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151B4A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kern="0" dirty="0">
              <a:solidFill>
                <a:srgbClr val="151B4A"/>
              </a:solidFill>
              <a:latin typeface="Century Gothic" panose="020F0302020204030204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151B4A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77CAC64-1BF0-AC42-9592-4754B1094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379" y="1854537"/>
            <a:ext cx="3564397" cy="718457"/>
          </a:xfrm>
        </p:spPr>
        <p:txBody>
          <a:bodyPr vert="horz"/>
          <a:lstStyle/>
          <a:p>
            <a:r>
              <a:rPr lang="da-DK" dirty="0"/>
              <a:t>Igangværende og </a:t>
            </a:r>
            <a:br>
              <a:rPr lang="da-DK" dirty="0"/>
            </a:br>
            <a:r>
              <a:rPr lang="da-DK" dirty="0"/>
              <a:t>gennemførte projekter:</a:t>
            </a:r>
            <a:endParaRPr lang="en-DK" dirty="0"/>
          </a:p>
        </p:txBody>
      </p:sp>
      <p:sp>
        <p:nvSpPr>
          <p:cNvPr id="239" name="Denmark">
            <a:extLst>
              <a:ext uri="{FF2B5EF4-FFF2-40B4-BE49-F238E27FC236}">
                <a16:creationId xmlns:a16="http://schemas.microsoft.com/office/drawing/2014/main" id="{DF678BBB-2705-1945-84E0-BB63959EAEB7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4331301" y="193489"/>
            <a:ext cx="8064896" cy="6371406"/>
          </a:xfrm>
          <a:custGeom>
            <a:avLst/>
            <a:gdLst>
              <a:gd name="T0" fmla="*/ 55 w 553"/>
              <a:gd name="T1" fmla="*/ 78 h 334"/>
              <a:gd name="T2" fmla="*/ 92 w 553"/>
              <a:gd name="T3" fmla="*/ 78 h 334"/>
              <a:gd name="T4" fmla="*/ 125 w 553"/>
              <a:gd name="T5" fmla="*/ 74 h 334"/>
              <a:gd name="T6" fmla="*/ 89 w 553"/>
              <a:gd name="T7" fmla="*/ 103 h 334"/>
              <a:gd name="T8" fmla="*/ 91 w 553"/>
              <a:gd name="T9" fmla="*/ 121 h 334"/>
              <a:gd name="T10" fmla="*/ 72 w 553"/>
              <a:gd name="T11" fmla="*/ 100 h 334"/>
              <a:gd name="T12" fmla="*/ 41 w 553"/>
              <a:gd name="T13" fmla="*/ 132 h 334"/>
              <a:gd name="T14" fmla="*/ 8 w 553"/>
              <a:gd name="T15" fmla="*/ 112 h 334"/>
              <a:gd name="T16" fmla="*/ 12 w 553"/>
              <a:gd name="T17" fmla="*/ 150 h 334"/>
              <a:gd name="T18" fmla="*/ 11 w 553"/>
              <a:gd name="T19" fmla="*/ 175 h 334"/>
              <a:gd name="T20" fmla="*/ 19 w 553"/>
              <a:gd name="T21" fmla="*/ 239 h 334"/>
              <a:gd name="T22" fmla="*/ 44 w 553"/>
              <a:gd name="T23" fmla="*/ 274 h 334"/>
              <a:gd name="T24" fmla="*/ 43 w 553"/>
              <a:gd name="T25" fmla="*/ 289 h 334"/>
              <a:gd name="T26" fmla="*/ 114 w 553"/>
              <a:gd name="T27" fmla="*/ 301 h 334"/>
              <a:gd name="T28" fmla="*/ 113 w 553"/>
              <a:gd name="T29" fmla="*/ 285 h 334"/>
              <a:gd name="T30" fmla="*/ 121 w 553"/>
              <a:gd name="T31" fmla="*/ 259 h 334"/>
              <a:gd name="T32" fmla="*/ 122 w 553"/>
              <a:gd name="T33" fmla="*/ 233 h 334"/>
              <a:gd name="T34" fmla="*/ 150 w 553"/>
              <a:gd name="T35" fmla="*/ 211 h 334"/>
              <a:gd name="T36" fmla="*/ 170 w 553"/>
              <a:gd name="T37" fmla="*/ 178 h 334"/>
              <a:gd name="T38" fmla="*/ 178 w 553"/>
              <a:gd name="T39" fmla="*/ 165 h 334"/>
              <a:gd name="T40" fmla="*/ 206 w 553"/>
              <a:gd name="T41" fmla="*/ 166 h 334"/>
              <a:gd name="T42" fmla="*/ 167 w 553"/>
              <a:gd name="T43" fmla="*/ 126 h 334"/>
              <a:gd name="T44" fmla="*/ 170 w 553"/>
              <a:gd name="T45" fmla="*/ 99 h 334"/>
              <a:gd name="T46" fmla="*/ 191 w 553"/>
              <a:gd name="T47" fmla="*/ 54 h 334"/>
              <a:gd name="T48" fmla="*/ 116 w 553"/>
              <a:gd name="T49" fmla="*/ 52 h 334"/>
              <a:gd name="T50" fmla="*/ 14 w 553"/>
              <a:gd name="T51" fmla="*/ 103 h 334"/>
              <a:gd name="T52" fmla="*/ 207 w 553"/>
              <a:gd name="T53" fmla="*/ 238 h 334"/>
              <a:gd name="T54" fmla="*/ 155 w 553"/>
              <a:gd name="T55" fmla="*/ 279 h 334"/>
              <a:gd name="T56" fmla="*/ 139 w 553"/>
              <a:gd name="T57" fmla="*/ 254 h 334"/>
              <a:gd name="T58" fmla="*/ 137 w 553"/>
              <a:gd name="T59" fmla="*/ 234 h 334"/>
              <a:gd name="T60" fmla="*/ 182 w 553"/>
              <a:gd name="T61" fmla="*/ 240 h 334"/>
              <a:gd name="T62" fmla="*/ 353 w 553"/>
              <a:gd name="T63" fmla="*/ 181 h 334"/>
              <a:gd name="T64" fmla="*/ 334 w 553"/>
              <a:gd name="T65" fmla="*/ 248 h 334"/>
              <a:gd name="T66" fmla="*/ 316 w 553"/>
              <a:gd name="T67" fmla="*/ 280 h 334"/>
              <a:gd name="T68" fmla="*/ 282 w 553"/>
              <a:gd name="T69" fmla="*/ 277 h 334"/>
              <a:gd name="T70" fmla="*/ 250 w 553"/>
              <a:gd name="T71" fmla="*/ 262 h 334"/>
              <a:gd name="T72" fmla="*/ 242 w 553"/>
              <a:gd name="T73" fmla="*/ 240 h 334"/>
              <a:gd name="T74" fmla="*/ 218 w 553"/>
              <a:gd name="T75" fmla="*/ 210 h 334"/>
              <a:gd name="T76" fmla="*/ 267 w 553"/>
              <a:gd name="T77" fmla="*/ 197 h 334"/>
              <a:gd name="T78" fmla="*/ 278 w 553"/>
              <a:gd name="T79" fmla="*/ 194 h 334"/>
              <a:gd name="T80" fmla="*/ 293 w 553"/>
              <a:gd name="T81" fmla="*/ 209 h 334"/>
              <a:gd name="T82" fmla="*/ 302 w 553"/>
              <a:gd name="T83" fmla="*/ 218 h 334"/>
              <a:gd name="T84" fmla="*/ 296 w 553"/>
              <a:gd name="T85" fmla="*/ 297 h 334"/>
              <a:gd name="T86" fmla="*/ 295 w 553"/>
              <a:gd name="T87" fmla="*/ 317 h 334"/>
              <a:gd name="T88" fmla="*/ 254 w 553"/>
              <a:gd name="T89" fmla="*/ 297 h 334"/>
              <a:gd name="T90" fmla="*/ 291 w 553"/>
              <a:gd name="T91" fmla="*/ 323 h 334"/>
              <a:gd name="T92" fmla="*/ 230 w 553"/>
              <a:gd name="T93" fmla="*/ 297 h 334"/>
              <a:gd name="T94" fmla="*/ 199 w 553"/>
              <a:gd name="T95" fmla="*/ 285 h 334"/>
              <a:gd name="T96" fmla="*/ 201 w 553"/>
              <a:gd name="T97" fmla="*/ 197 h 334"/>
              <a:gd name="T98" fmla="*/ 179 w 553"/>
              <a:gd name="T99" fmla="*/ 301 h 334"/>
              <a:gd name="T100" fmla="*/ 165 w 553"/>
              <a:gd name="T101" fmla="*/ 292 h 334"/>
              <a:gd name="T102" fmla="*/ 146 w 553"/>
              <a:gd name="T103" fmla="*/ 304 h 334"/>
              <a:gd name="T104" fmla="*/ 263 w 553"/>
              <a:gd name="T105" fmla="*/ 295 h 334"/>
              <a:gd name="T106" fmla="*/ 277 w 553"/>
              <a:gd name="T107" fmla="*/ 108 h 334"/>
              <a:gd name="T108" fmla="*/ 59 w 553"/>
              <a:gd name="T109" fmla="*/ 91 h 334"/>
              <a:gd name="T110" fmla="*/ 44 w 553"/>
              <a:gd name="T111" fmla="*/ 95 h 334"/>
              <a:gd name="T112" fmla="*/ 320 w 553"/>
              <a:gd name="T113" fmla="*/ 301 h 334"/>
              <a:gd name="T114" fmla="*/ 151 w 553"/>
              <a:gd name="T115" fmla="*/ 294 h 334"/>
              <a:gd name="T116" fmla="*/ 120 w 553"/>
              <a:gd name="T117" fmla="*/ 283 h 334"/>
              <a:gd name="T118" fmla="*/ 205 w 553"/>
              <a:gd name="T119" fmla="*/ 292 h 334"/>
              <a:gd name="T120" fmla="*/ 551 w 553"/>
              <a:gd name="T121" fmla="*/ 286 h 334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553"/>
              <a:gd name="T184" fmla="*/ 0 h 334"/>
              <a:gd name="T185" fmla="*/ 553 w 553"/>
              <a:gd name="T186" fmla="*/ 334 h 334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553" h="334">
                <a:moveTo>
                  <a:pt x="31" y="112"/>
                </a:moveTo>
                <a:lnTo>
                  <a:pt x="31" y="112"/>
                </a:lnTo>
                <a:lnTo>
                  <a:pt x="27" y="112"/>
                </a:lnTo>
                <a:lnTo>
                  <a:pt x="29" y="111"/>
                </a:lnTo>
                <a:lnTo>
                  <a:pt x="32" y="112"/>
                </a:lnTo>
                <a:lnTo>
                  <a:pt x="34" y="111"/>
                </a:lnTo>
                <a:lnTo>
                  <a:pt x="34" y="109"/>
                </a:lnTo>
                <a:lnTo>
                  <a:pt x="31" y="109"/>
                </a:lnTo>
                <a:lnTo>
                  <a:pt x="31" y="107"/>
                </a:lnTo>
                <a:lnTo>
                  <a:pt x="32" y="106"/>
                </a:lnTo>
                <a:lnTo>
                  <a:pt x="32" y="104"/>
                </a:lnTo>
                <a:lnTo>
                  <a:pt x="30" y="102"/>
                </a:lnTo>
                <a:lnTo>
                  <a:pt x="31" y="100"/>
                </a:lnTo>
                <a:lnTo>
                  <a:pt x="38" y="97"/>
                </a:lnTo>
                <a:lnTo>
                  <a:pt x="41" y="93"/>
                </a:lnTo>
                <a:lnTo>
                  <a:pt x="42" y="89"/>
                </a:lnTo>
                <a:lnTo>
                  <a:pt x="44" y="86"/>
                </a:lnTo>
                <a:lnTo>
                  <a:pt x="46" y="84"/>
                </a:lnTo>
                <a:lnTo>
                  <a:pt x="52" y="85"/>
                </a:lnTo>
                <a:lnTo>
                  <a:pt x="58" y="80"/>
                </a:lnTo>
                <a:lnTo>
                  <a:pt x="55" y="78"/>
                </a:lnTo>
                <a:lnTo>
                  <a:pt x="58" y="79"/>
                </a:lnTo>
                <a:lnTo>
                  <a:pt x="59" y="78"/>
                </a:lnTo>
                <a:lnTo>
                  <a:pt x="59" y="76"/>
                </a:lnTo>
                <a:lnTo>
                  <a:pt x="60" y="76"/>
                </a:lnTo>
                <a:lnTo>
                  <a:pt x="61" y="76"/>
                </a:lnTo>
                <a:lnTo>
                  <a:pt x="63" y="78"/>
                </a:lnTo>
                <a:lnTo>
                  <a:pt x="64" y="79"/>
                </a:lnTo>
                <a:lnTo>
                  <a:pt x="71" y="76"/>
                </a:lnTo>
                <a:lnTo>
                  <a:pt x="75" y="77"/>
                </a:lnTo>
                <a:lnTo>
                  <a:pt x="76" y="76"/>
                </a:lnTo>
                <a:lnTo>
                  <a:pt x="81" y="75"/>
                </a:lnTo>
                <a:lnTo>
                  <a:pt x="81" y="74"/>
                </a:lnTo>
                <a:lnTo>
                  <a:pt x="73" y="68"/>
                </a:lnTo>
                <a:lnTo>
                  <a:pt x="73" y="67"/>
                </a:lnTo>
                <a:lnTo>
                  <a:pt x="73" y="66"/>
                </a:lnTo>
                <a:lnTo>
                  <a:pt x="74" y="66"/>
                </a:lnTo>
                <a:lnTo>
                  <a:pt x="79" y="72"/>
                </a:lnTo>
                <a:lnTo>
                  <a:pt x="84" y="75"/>
                </a:lnTo>
                <a:lnTo>
                  <a:pt x="87" y="78"/>
                </a:lnTo>
                <a:lnTo>
                  <a:pt x="89" y="80"/>
                </a:lnTo>
                <a:lnTo>
                  <a:pt x="91" y="79"/>
                </a:lnTo>
                <a:lnTo>
                  <a:pt x="92" y="78"/>
                </a:lnTo>
                <a:lnTo>
                  <a:pt x="102" y="74"/>
                </a:lnTo>
                <a:lnTo>
                  <a:pt x="108" y="74"/>
                </a:lnTo>
                <a:lnTo>
                  <a:pt x="111" y="72"/>
                </a:lnTo>
                <a:lnTo>
                  <a:pt x="111" y="74"/>
                </a:lnTo>
                <a:lnTo>
                  <a:pt x="113" y="74"/>
                </a:lnTo>
                <a:lnTo>
                  <a:pt x="118" y="73"/>
                </a:lnTo>
                <a:lnTo>
                  <a:pt x="121" y="71"/>
                </a:lnTo>
                <a:lnTo>
                  <a:pt x="129" y="72"/>
                </a:lnTo>
                <a:lnTo>
                  <a:pt x="130" y="71"/>
                </a:lnTo>
                <a:lnTo>
                  <a:pt x="131" y="68"/>
                </a:lnTo>
                <a:lnTo>
                  <a:pt x="132" y="68"/>
                </a:lnTo>
                <a:lnTo>
                  <a:pt x="136" y="68"/>
                </a:lnTo>
                <a:lnTo>
                  <a:pt x="143" y="72"/>
                </a:lnTo>
                <a:lnTo>
                  <a:pt x="144" y="73"/>
                </a:lnTo>
                <a:lnTo>
                  <a:pt x="146" y="72"/>
                </a:lnTo>
                <a:lnTo>
                  <a:pt x="144" y="73"/>
                </a:lnTo>
                <a:lnTo>
                  <a:pt x="142" y="72"/>
                </a:lnTo>
                <a:lnTo>
                  <a:pt x="138" y="74"/>
                </a:lnTo>
                <a:lnTo>
                  <a:pt x="136" y="75"/>
                </a:lnTo>
                <a:lnTo>
                  <a:pt x="133" y="74"/>
                </a:lnTo>
                <a:lnTo>
                  <a:pt x="125" y="74"/>
                </a:lnTo>
                <a:lnTo>
                  <a:pt x="124" y="76"/>
                </a:lnTo>
                <a:lnTo>
                  <a:pt x="122" y="79"/>
                </a:lnTo>
                <a:lnTo>
                  <a:pt x="116" y="83"/>
                </a:lnTo>
                <a:lnTo>
                  <a:pt x="116" y="85"/>
                </a:lnTo>
                <a:lnTo>
                  <a:pt x="115" y="86"/>
                </a:lnTo>
                <a:lnTo>
                  <a:pt x="113" y="83"/>
                </a:lnTo>
                <a:lnTo>
                  <a:pt x="115" y="82"/>
                </a:lnTo>
                <a:lnTo>
                  <a:pt x="116" y="80"/>
                </a:lnTo>
                <a:lnTo>
                  <a:pt x="110" y="78"/>
                </a:lnTo>
                <a:lnTo>
                  <a:pt x="104" y="78"/>
                </a:lnTo>
                <a:lnTo>
                  <a:pt x="96" y="78"/>
                </a:lnTo>
                <a:lnTo>
                  <a:pt x="90" y="82"/>
                </a:lnTo>
                <a:lnTo>
                  <a:pt x="88" y="85"/>
                </a:lnTo>
                <a:lnTo>
                  <a:pt x="86" y="86"/>
                </a:lnTo>
                <a:lnTo>
                  <a:pt x="84" y="91"/>
                </a:lnTo>
                <a:lnTo>
                  <a:pt x="87" y="94"/>
                </a:lnTo>
                <a:lnTo>
                  <a:pt x="87" y="95"/>
                </a:lnTo>
                <a:lnTo>
                  <a:pt x="85" y="97"/>
                </a:lnTo>
                <a:lnTo>
                  <a:pt x="85" y="99"/>
                </a:lnTo>
                <a:lnTo>
                  <a:pt x="87" y="103"/>
                </a:lnTo>
                <a:lnTo>
                  <a:pt x="89" y="103"/>
                </a:lnTo>
                <a:lnTo>
                  <a:pt x="90" y="104"/>
                </a:lnTo>
                <a:lnTo>
                  <a:pt x="89" y="108"/>
                </a:lnTo>
                <a:lnTo>
                  <a:pt x="85" y="112"/>
                </a:lnTo>
                <a:lnTo>
                  <a:pt x="84" y="113"/>
                </a:lnTo>
                <a:lnTo>
                  <a:pt x="86" y="114"/>
                </a:lnTo>
                <a:lnTo>
                  <a:pt x="88" y="111"/>
                </a:lnTo>
                <a:lnTo>
                  <a:pt x="92" y="110"/>
                </a:lnTo>
                <a:lnTo>
                  <a:pt x="94" y="111"/>
                </a:lnTo>
                <a:lnTo>
                  <a:pt x="95" y="112"/>
                </a:lnTo>
                <a:lnTo>
                  <a:pt x="96" y="116"/>
                </a:lnTo>
                <a:lnTo>
                  <a:pt x="95" y="118"/>
                </a:lnTo>
                <a:lnTo>
                  <a:pt x="95" y="122"/>
                </a:lnTo>
                <a:lnTo>
                  <a:pt x="94" y="124"/>
                </a:lnTo>
                <a:lnTo>
                  <a:pt x="96" y="125"/>
                </a:lnTo>
                <a:lnTo>
                  <a:pt x="100" y="124"/>
                </a:lnTo>
                <a:lnTo>
                  <a:pt x="101" y="124"/>
                </a:lnTo>
                <a:lnTo>
                  <a:pt x="101" y="127"/>
                </a:lnTo>
                <a:lnTo>
                  <a:pt x="97" y="127"/>
                </a:lnTo>
                <a:lnTo>
                  <a:pt x="94" y="129"/>
                </a:lnTo>
                <a:lnTo>
                  <a:pt x="92" y="126"/>
                </a:lnTo>
                <a:lnTo>
                  <a:pt x="91" y="123"/>
                </a:lnTo>
                <a:lnTo>
                  <a:pt x="91" y="121"/>
                </a:lnTo>
                <a:lnTo>
                  <a:pt x="93" y="120"/>
                </a:lnTo>
                <a:lnTo>
                  <a:pt x="93" y="118"/>
                </a:lnTo>
                <a:lnTo>
                  <a:pt x="88" y="118"/>
                </a:lnTo>
                <a:lnTo>
                  <a:pt x="86" y="118"/>
                </a:lnTo>
                <a:lnTo>
                  <a:pt x="85" y="118"/>
                </a:lnTo>
                <a:lnTo>
                  <a:pt x="83" y="117"/>
                </a:lnTo>
                <a:lnTo>
                  <a:pt x="83" y="116"/>
                </a:lnTo>
                <a:lnTo>
                  <a:pt x="82" y="118"/>
                </a:lnTo>
                <a:lnTo>
                  <a:pt x="83" y="120"/>
                </a:lnTo>
                <a:lnTo>
                  <a:pt x="79" y="121"/>
                </a:lnTo>
                <a:lnTo>
                  <a:pt x="79" y="125"/>
                </a:lnTo>
                <a:lnTo>
                  <a:pt x="77" y="124"/>
                </a:lnTo>
                <a:lnTo>
                  <a:pt x="75" y="121"/>
                </a:lnTo>
                <a:lnTo>
                  <a:pt x="75" y="118"/>
                </a:lnTo>
                <a:lnTo>
                  <a:pt x="80" y="115"/>
                </a:lnTo>
                <a:lnTo>
                  <a:pt x="83" y="109"/>
                </a:lnTo>
                <a:lnTo>
                  <a:pt x="83" y="108"/>
                </a:lnTo>
                <a:lnTo>
                  <a:pt x="79" y="100"/>
                </a:lnTo>
                <a:lnTo>
                  <a:pt x="77" y="99"/>
                </a:lnTo>
                <a:lnTo>
                  <a:pt x="74" y="99"/>
                </a:lnTo>
                <a:lnTo>
                  <a:pt x="72" y="100"/>
                </a:lnTo>
                <a:lnTo>
                  <a:pt x="70" y="99"/>
                </a:lnTo>
                <a:lnTo>
                  <a:pt x="68" y="99"/>
                </a:lnTo>
                <a:lnTo>
                  <a:pt x="66" y="100"/>
                </a:lnTo>
                <a:lnTo>
                  <a:pt x="59" y="107"/>
                </a:lnTo>
                <a:lnTo>
                  <a:pt x="60" y="109"/>
                </a:lnTo>
                <a:lnTo>
                  <a:pt x="64" y="109"/>
                </a:lnTo>
                <a:lnTo>
                  <a:pt x="64" y="110"/>
                </a:lnTo>
                <a:lnTo>
                  <a:pt x="64" y="111"/>
                </a:lnTo>
                <a:lnTo>
                  <a:pt x="61" y="112"/>
                </a:lnTo>
                <a:lnTo>
                  <a:pt x="56" y="112"/>
                </a:lnTo>
                <a:lnTo>
                  <a:pt x="53" y="115"/>
                </a:lnTo>
                <a:lnTo>
                  <a:pt x="52" y="118"/>
                </a:lnTo>
                <a:lnTo>
                  <a:pt x="46" y="118"/>
                </a:lnTo>
                <a:lnTo>
                  <a:pt x="46" y="120"/>
                </a:lnTo>
                <a:lnTo>
                  <a:pt x="49" y="123"/>
                </a:lnTo>
                <a:lnTo>
                  <a:pt x="52" y="125"/>
                </a:lnTo>
                <a:lnTo>
                  <a:pt x="50" y="128"/>
                </a:lnTo>
                <a:lnTo>
                  <a:pt x="52" y="131"/>
                </a:lnTo>
                <a:lnTo>
                  <a:pt x="50" y="133"/>
                </a:lnTo>
                <a:lnTo>
                  <a:pt x="48" y="133"/>
                </a:lnTo>
                <a:lnTo>
                  <a:pt x="44" y="133"/>
                </a:lnTo>
                <a:lnTo>
                  <a:pt x="41" y="132"/>
                </a:lnTo>
                <a:lnTo>
                  <a:pt x="40" y="131"/>
                </a:lnTo>
                <a:lnTo>
                  <a:pt x="40" y="129"/>
                </a:lnTo>
                <a:lnTo>
                  <a:pt x="39" y="127"/>
                </a:lnTo>
                <a:lnTo>
                  <a:pt x="39" y="125"/>
                </a:lnTo>
                <a:lnTo>
                  <a:pt x="37" y="124"/>
                </a:lnTo>
                <a:lnTo>
                  <a:pt x="36" y="124"/>
                </a:lnTo>
                <a:lnTo>
                  <a:pt x="36" y="126"/>
                </a:lnTo>
                <a:lnTo>
                  <a:pt x="34" y="126"/>
                </a:lnTo>
                <a:lnTo>
                  <a:pt x="25" y="123"/>
                </a:lnTo>
                <a:lnTo>
                  <a:pt x="22" y="124"/>
                </a:lnTo>
                <a:lnTo>
                  <a:pt x="19" y="123"/>
                </a:lnTo>
                <a:lnTo>
                  <a:pt x="17" y="125"/>
                </a:lnTo>
                <a:lnTo>
                  <a:pt x="16" y="124"/>
                </a:lnTo>
                <a:lnTo>
                  <a:pt x="15" y="124"/>
                </a:lnTo>
                <a:lnTo>
                  <a:pt x="16" y="122"/>
                </a:lnTo>
                <a:lnTo>
                  <a:pt x="11" y="121"/>
                </a:lnTo>
                <a:lnTo>
                  <a:pt x="11" y="119"/>
                </a:lnTo>
                <a:lnTo>
                  <a:pt x="9" y="117"/>
                </a:lnTo>
                <a:lnTo>
                  <a:pt x="10" y="114"/>
                </a:lnTo>
                <a:lnTo>
                  <a:pt x="12" y="111"/>
                </a:lnTo>
                <a:lnTo>
                  <a:pt x="9" y="111"/>
                </a:lnTo>
                <a:lnTo>
                  <a:pt x="8" y="112"/>
                </a:lnTo>
                <a:lnTo>
                  <a:pt x="2" y="125"/>
                </a:lnTo>
                <a:lnTo>
                  <a:pt x="2" y="128"/>
                </a:lnTo>
                <a:lnTo>
                  <a:pt x="3" y="131"/>
                </a:lnTo>
                <a:lnTo>
                  <a:pt x="2" y="135"/>
                </a:lnTo>
                <a:lnTo>
                  <a:pt x="3" y="139"/>
                </a:lnTo>
                <a:lnTo>
                  <a:pt x="3" y="145"/>
                </a:lnTo>
                <a:lnTo>
                  <a:pt x="3" y="144"/>
                </a:lnTo>
                <a:lnTo>
                  <a:pt x="4" y="138"/>
                </a:lnTo>
                <a:lnTo>
                  <a:pt x="10" y="139"/>
                </a:lnTo>
                <a:lnTo>
                  <a:pt x="11" y="140"/>
                </a:lnTo>
                <a:lnTo>
                  <a:pt x="12" y="142"/>
                </a:lnTo>
                <a:lnTo>
                  <a:pt x="10" y="142"/>
                </a:lnTo>
                <a:lnTo>
                  <a:pt x="8" y="141"/>
                </a:lnTo>
                <a:lnTo>
                  <a:pt x="6" y="141"/>
                </a:lnTo>
                <a:lnTo>
                  <a:pt x="6" y="142"/>
                </a:lnTo>
                <a:lnTo>
                  <a:pt x="13" y="148"/>
                </a:lnTo>
                <a:lnTo>
                  <a:pt x="18" y="149"/>
                </a:lnTo>
                <a:lnTo>
                  <a:pt x="13" y="154"/>
                </a:lnTo>
                <a:lnTo>
                  <a:pt x="12" y="154"/>
                </a:lnTo>
                <a:lnTo>
                  <a:pt x="12" y="153"/>
                </a:lnTo>
                <a:lnTo>
                  <a:pt x="12" y="151"/>
                </a:lnTo>
                <a:lnTo>
                  <a:pt x="12" y="150"/>
                </a:lnTo>
                <a:lnTo>
                  <a:pt x="8" y="150"/>
                </a:lnTo>
                <a:lnTo>
                  <a:pt x="6" y="149"/>
                </a:lnTo>
                <a:lnTo>
                  <a:pt x="5" y="149"/>
                </a:lnTo>
                <a:lnTo>
                  <a:pt x="4" y="149"/>
                </a:lnTo>
                <a:lnTo>
                  <a:pt x="4" y="146"/>
                </a:lnTo>
                <a:lnTo>
                  <a:pt x="2" y="146"/>
                </a:lnTo>
                <a:lnTo>
                  <a:pt x="3" y="151"/>
                </a:lnTo>
                <a:lnTo>
                  <a:pt x="3" y="155"/>
                </a:lnTo>
                <a:lnTo>
                  <a:pt x="4" y="156"/>
                </a:lnTo>
                <a:lnTo>
                  <a:pt x="4" y="159"/>
                </a:lnTo>
                <a:lnTo>
                  <a:pt x="3" y="166"/>
                </a:lnTo>
                <a:lnTo>
                  <a:pt x="1" y="171"/>
                </a:lnTo>
                <a:lnTo>
                  <a:pt x="1" y="178"/>
                </a:lnTo>
                <a:lnTo>
                  <a:pt x="1" y="181"/>
                </a:lnTo>
                <a:lnTo>
                  <a:pt x="2" y="184"/>
                </a:lnTo>
                <a:lnTo>
                  <a:pt x="3" y="185"/>
                </a:lnTo>
                <a:lnTo>
                  <a:pt x="5" y="184"/>
                </a:lnTo>
                <a:lnTo>
                  <a:pt x="3" y="182"/>
                </a:lnTo>
                <a:lnTo>
                  <a:pt x="4" y="176"/>
                </a:lnTo>
                <a:lnTo>
                  <a:pt x="3" y="173"/>
                </a:lnTo>
                <a:lnTo>
                  <a:pt x="3" y="172"/>
                </a:lnTo>
                <a:lnTo>
                  <a:pt x="11" y="175"/>
                </a:lnTo>
                <a:lnTo>
                  <a:pt x="16" y="178"/>
                </a:lnTo>
                <a:lnTo>
                  <a:pt x="18" y="184"/>
                </a:lnTo>
                <a:lnTo>
                  <a:pt x="23" y="190"/>
                </a:lnTo>
                <a:lnTo>
                  <a:pt x="24" y="193"/>
                </a:lnTo>
                <a:lnTo>
                  <a:pt x="16" y="199"/>
                </a:lnTo>
                <a:lnTo>
                  <a:pt x="8" y="203"/>
                </a:lnTo>
                <a:lnTo>
                  <a:pt x="8" y="199"/>
                </a:lnTo>
                <a:lnTo>
                  <a:pt x="8" y="198"/>
                </a:lnTo>
                <a:lnTo>
                  <a:pt x="6" y="193"/>
                </a:lnTo>
                <a:lnTo>
                  <a:pt x="5" y="187"/>
                </a:lnTo>
                <a:lnTo>
                  <a:pt x="4" y="187"/>
                </a:lnTo>
                <a:lnTo>
                  <a:pt x="5" y="192"/>
                </a:lnTo>
                <a:lnTo>
                  <a:pt x="6" y="196"/>
                </a:lnTo>
                <a:lnTo>
                  <a:pt x="8" y="208"/>
                </a:lnTo>
                <a:lnTo>
                  <a:pt x="8" y="211"/>
                </a:lnTo>
                <a:lnTo>
                  <a:pt x="4" y="222"/>
                </a:lnTo>
                <a:lnTo>
                  <a:pt x="0" y="230"/>
                </a:lnTo>
                <a:lnTo>
                  <a:pt x="0" y="232"/>
                </a:lnTo>
                <a:lnTo>
                  <a:pt x="6" y="232"/>
                </a:lnTo>
                <a:lnTo>
                  <a:pt x="10" y="234"/>
                </a:lnTo>
                <a:lnTo>
                  <a:pt x="17" y="240"/>
                </a:lnTo>
                <a:lnTo>
                  <a:pt x="19" y="239"/>
                </a:lnTo>
                <a:lnTo>
                  <a:pt x="18" y="238"/>
                </a:lnTo>
                <a:lnTo>
                  <a:pt x="16" y="236"/>
                </a:lnTo>
                <a:lnTo>
                  <a:pt x="16" y="235"/>
                </a:lnTo>
                <a:lnTo>
                  <a:pt x="12" y="234"/>
                </a:lnTo>
                <a:lnTo>
                  <a:pt x="14" y="232"/>
                </a:lnTo>
                <a:lnTo>
                  <a:pt x="12" y="231"/>
                </a:lnTo>
                <a:lnTo>
                  <a:pt x="11" y="230"/>
                </a:lnTo>
                <a:lnTo>
                  <a:pt x="14" y="228"/>
                </a:lnTo>
                <a:lnTo>
                  <a:pt x="18" y="228"/>
                </a:lnTo>
                <a:lnTo>
                  <a:pt x="19" y="228"/>
                </a:lnTo>
                <a:lnTo>
                  <a:pt x="17" y="230"/>
                </a:lnTo>
                <a:lnTo>
                  <a:pt x="27" y="240"/>
                </a:lnTo>
                <a:lnTo>
                  <a:pt x="39" y="242"/>
                </a:lnTo>
                <a:lnTo>
                  <a:pt x="42" y="243"/>
                </a:lnTo>
                <a:lnTo>
                  <a:pt x="45" y="254"/>
                </a:lnTo>
                <a:lnTo>
                  <a:pt x="44" y="259"/>
                </a:lnTo>
                <a:lnTo>
                  <a:pt x="44" y="261"/>
                </a:lnTo>
                <a:lnTo>
                  <a:pt x="44" y="267"/>
                </a:lnTo>
                <a:lnTo>
                  <a:pt x="47" y="271"/>
                </a:lnTo>
                <a:lnTo>
                  <a:pt x="47" y="274"/>
                </a:lnTo>
                <a:lnTo>
                  <a:pt x="44" y="274"/>
                </a:lnTo>
                <a:lnTo>
                  <a:pt x="37" y="273"/>
                </a:lnTo>
                <a:lnTo>
                  <a:pt x="36" y="272"/>
                </a:lnTo>
                <a:lnTo>
                  <a:pt x="37" y="272"/>
                </a:lnTo>
                <a:lnTo>
                  <a:pt x="40" y="269"/>
                </a:lnTo>
                <a:lnTo>
                  <a:pt x="39" y="268"/>
                </a:lnTo>
                <a:lnTo>
                  <a:pt x="37" y="268"/>
                </a:lnTo>
                <a:lnTo>
                  <a:pt x="35" y="268"/>
                </a:lnTo>
                <a:lnTo>
                  <a:pt x="33" y="268"/>
                </a:lnTo>
                <a:lnTo>
                  <a:pt x="31" y="268"/>
                </a:lnTo>
                <a:lnTo>
                  <a:pt x="30" y="269"/>
                </a:lnTo>
                <a:lnTo>
                  <a:pt x="30" y="272"/>
                </a:lnTo>
                <a:lnTo>
                  <a:pt x="29" y="275"/>
                </a:lnTo>
                <a:lnTo>
                  <a:pt x="30" y="280"/>
                </a:lnTo>
                <a:lnTo>
                  <a:pt x="32" y="282"/>
                </a:lnTo>
                <a:lnTo>
                  <a:pt x="33" y="281"/>
                </a:lnTo>
                <a:lnTo>
                  <a:pt x="35" y="280"/>
                </a:lnTo>
                <a:lnTo>
                  <a:pt x="37" y="279"/>
                </a:lnTo>
                <a:lnTo>
                  <a:pt x="36" y="274"/>
                </a:lnTo>
                <a:lnTo>
                  <a:pt x="47" y="274"/>
                </a:lnTo>
                <a:lnTo>
                  <a:pt x="44" y="281"/>
                </a:lnTo>
                <a:lnTo>
                  <a:pt x="43" y="286"/>
                </a:lnTo>
                <a:lnTo>
                  <a:pt x="43" y="289"/>
                </a:lnTo>
                <a:lnTo>
                  <a:pt x="46" y="294"/>
                </a:lnTo>
                <a:lnTo>
                  <a:pt x="45" y="298"/>
                </a:lnTo>
                <a:lnTo>
                  <a:pt x="45" y="297"/>
                </a:lnTo>
                <a:lnTo>
                  <a:pt x="47" y="300"/>
                </a:lnTo>
                <a:lnTo>
                  <a:pt x="49" y="300"/>
                </a:lnTo>
                <a:lnTo>
                  <a:pt x="57" y="298"/>
                </a:lnTo>
                <a:lnTo>
                  <a:pt x="66" y="298"/>
                </a:lnTo>
                <a:lnTo>
                  <a:pt x="74" y="301"/>
                </a:lnTo>
                <a:lnTo>
                  <a:pt x="81" y="302"/>
                </a:lnTo>
                <a:lnTo>
                  <a:pt x="89" y="304"/>
                </a:lnTo>
                <a:lnTo>
                  <a:pt x="89" y="306"/>
                </a:lnTo>
                <a:lnTo>
                  <a:pt x="89" y="307"/>
                </a:lnTo>
                <a:lnTo>
                  <a:pt x="91" y="309"/>
                </a:lnTo>
                <a:lnTo>
                  <a:pt x="93" y="308"/>
                </a:lnTo>
                <a:lnTo>
                  <a:pt x="98" y="309"/>
                </a:lnTo>
                <a:lnTo>
                  <a:pt x="99" y="308"/>
                </a:lnTo>
                <a:lnTo>
                  <a:pt x="102" y="306"/>
                </a:lnTo>
                <a:lnTo>
                  <a:pt x="106" y="307"/>
                </a:lnTo>
                <a:lnTo>
                  <a:pt x="105" y="307"/>
                </a:lnTo>
                <a:lnTo>
                  <a:pt x="110" y="302"/>
                </a:lnTo>
                <a:lnTo>
                  <a:pt x="114" y="301"/>
                </a:lnTo>
                <a:lnTo>
                  <a:pt x="118" y="296"/>
                </a:lnTo>
                <a:lnTo>
                  <a:pt x="121" y="297"/>
                </a:lnTo>
                <a:lnTo>
                  <a:pt x="122" y="297"/>
                </a:lnTo>
                <a:lnTo>
                  <a:pt x="121" y="298"/>
                </a:lnTo>
                <a:lnTo>
                  <a:pt x="118" y="299"/>
                </a:lnTo>
                <a:lnTo>
                  <a:pt x="121" y="301"/>
                </a:lnTo>
                <a:lnTo>
                  <a:pt x="119" y="304"/>
                </a:lnTo>
                <a:lnTo>
                  <a:pt x="124" y="303"/>
                </a:lnTo>
                <a:lnTo>
                  <a:pt x="126" y="304"/>
                </a:lnTo>
                <a:lnTo>
                  <a:pt x="128" y="307"/>
                </a:lnTo>
                <a:lnTo>
                  <a:pt x="129" y="306"/>
                </a:lnTo>
                <a:lnTo>
                  <a:pt x="130" y="303"/>
                </a:lnTo>
                <a:lnTo>
                  <a:pt x="129" y="302"/>
                </a:lnTo>
                <a:lnTo>
                  <a:pt x="126" y="301"/>
                </a:lnTo>
                <a:lnTo>
                  <a:pt x="127" y="299"/>
                </a:lnTo>
                <a:lnTo>
                  <a:pt x="131" y="300"/>
                </a:lnTo>
                <a:lnTo>
                  <a:pt x="129" y="296"/>
                </a:lnTo>
                <a:lnTo>
                  <a:pt x="129" y="292"/>
                </a:lnTo>
                <a:lnTo>
                  <a:pt x="127" y="290"/>
                </a:lnTo>
                <a:lnTo>
                  <a:pt x="119" y="287"/>
                </a:lnTo>
                <a:lnTo>
                  <a:pt x="116" y="284"/>
                </a:lnTo>
                <a:lnTo>
                  <a:pt x="113" y="285"/>
                </a:lnTo>
                <a:lnTo>
                  <a:pt x="107" y="286"/>
                </a:lnTo>
                <a:lnTo>
                  <a:pt x="105" y="285"/>
                </a:lnTo>
                <a:lnTo>
                  <a:pt x="106" y="284"/>
                </a:lnTo>
                <a:lnTo>
                  <a:pt x="110" y="283"/>
                </a:lnTo>
                <a:lnTo>
                  <a:pt x="113" y="281"/>
                </a:lnTo>
                <a:lnTo>
                  <a:pt x="113" y="280"/>
                </a:lnTo>
                <a:lnTo>
                  <a:pt x="110" y="277"/>
                </a:lnTo>
                <a:lnTo>
                  <a:pt x="107" y="276"/>
                </a:lnTo>
                <a:lnTo>
                  <a:pt x="108" y="274"/>
                </a:lnTo>
                <a:lnTo>
                  <a:pt x="111" y="274"/>
                </a:lnTo>
                <a:lnTo>
                  <a:pt x="109" y="274"/>
                </a:lnTo>
                <a:lnTo>
                  <a:pt x="109" y="272"/>
                </a:lnTo>
                <a:lnTo>
                  <a:pt x="116" y="268"/>
                </a:lnTo>
                <a:lnTo>
                  <a:pt x="118" y="271"/>
                </a:lnTo>
                <a:lnTo>
                  <a:pt x="119" y="270"/>
                </a:lnTo>
                <a:lnTo>
                  <a:pt x="122" y="268"/>
                </a:lnTo>
                <a:lnTo>
                  <a:pt x="124" y="265"/>
                </a:lnTo>
                <a:lnTo>
                  <a:pt x="126" y="263"/>
                </a:lnTo>
                <a:lnTo>
                  <a:pt x="124" y="260"/>
                </a:lnTo>
                <a:lnTo>
                  <a:pt x="121" y="259"/>
                </a:lnTo>
                <a:lnTo>
                  <a:pt x="119" y="259"/>
                </a:lnTo>
                <a:lnTo>
                  <a:pt x="119" y="258"/>
                </a:lnTo>
                <a:lnTo>
                  <a:pt x="121" y="258"/>
                </a:lnTo>
                <a:lnTo>
                  <a:pt x="121" y="256"/>
                </a:lnTo>
                <a:lnTo>
                  <a:pt x="119" y="256"/>
                </a:lnTo>
                <a:lnTo>
                  <a:pt x="120" y="254"/>
                </a:lnTo>
                <a:lnTo>
                  <a:pt x="119" y="250"/>
                </a:lnTo>
                <a:lnTo>
                  <a:pt x="118" y="250"/>
                </a:lnTo>
                <a:lnTo>
                  <a:pt x="119" y="247"/>
                </a:lnTo>
                <a:lnTo>
                  <a:pt x="117" y="244"/>
                </a:lnTo>
                <a:lnTo>
                  <a:pt x="118" y="243"/>
                </a:lnTo>
                <a:lnTo>
                  <a:pt x="122" y="242"/>
                </a:lnTo>
                <a:lnTo>
                  <a:pt x="124" y="240"/>
                </a:lnTo>
                <a:lnTo>
                  <a:pt x="123" y="239"/>
                </a:lnTo>
                <a:lnTo>
                  <a:pt x="119" y="237"/>
                </a:lnTo>
                <a:lnTo>
                  <a:pt x="111" y="238"/>
                </a:lnTo>
                <a:lnTo>
                  <a:pt x="110" y="238"/>
                </a:lnTo>
                <a:lnTo>
                  <a:pt x="110" y="236"/>
                </a:lnTo>
                <a:lnTo>
                  <a:pt x="114" y="236"/>
                </a:lnTo>
                <a:lnTo>
                  <a:pt x="116" y="233"/>
                </a:lnTo>
                <a:lnTo>
                  <a:pt x="120" y="234"/>
                </a:lnTo>
                <a:lnTo>
                  <a:pt x="122" y="233"/>
                </a:lnTo>
                <a:lnTo>
                  <a:pt x="126" y="233"/>
                </a:lnTo>
                <a:lnTo>
                  <a:pt x="126" y="232"/>
                </a:lnTo>
                <a:lnTo>
                  <a:pt x="127" y="230"/>
                </a:lnTo>
                <a:lnTo>
                  <a:pt x="130" y="229"/>
                </a:lnTo>
                <a:lnTo>
                  <a:pt x="132" y="226"/>
                </a:lnTo>
                <a:lnTo>
                  <a:pt x="138" y="224"/>
                </a:lnTo>
                <a:lnTo>
                  <a:pt x="138" y="223"/>
                </a:lnTo>
                <a:lnTo>
                  <a:pt x="136" y="222"/>
                </a:lnTo>
                <a:lnTo>
                  <a:pt x="129" y="223"/>
                </a:lnTo>
                <a:lnTo>
                  <a:pt x="128" y="222"/>
                </a:lnTo>
                <a:lnTo>
                  <a:pt x="127" y="220"/>
                </a:lnTo>
                <a:lnTo>
                  <a:pt x="121" y="216"/>
                </a:lnTo>
                <a:lnTo>
                  <a:pt x="116" y="215"/>
                </a:lnTo>
                <a:lnTo>
                  <a:pt x="114" y="214"/>
                </a:lnTo>
                <a:lnTo>
                  <a:pt x="122" y="214"/>
                </a:lnTo>
                <a:lnTo>
                  <a:pt x="125" y="214"/>
                </a:lnTo>
                <a:lnTo>
                  <a:pt x="128" y="216"/>
                </a:lnTo>
                <a:lnTo>
                  <a:pt x="134" y="217"/>
                </a:lnTo>
                <a:lnTo>
                  <a:pt x="148" y="214"/>
                </a:lnTo>
                <a:lnTo>
                  <a:pt x="151" y="214"/>
                </a:lnTo>
                <a:lnTo>
                  <a:pt x="150" y="211"/>
                </a:lnTo>
                <a:lnTo>
                  <a:pt x="154" y="210"/>
                </a:lnTo>
                <a:lnTo>
                  <a:pt x="150" y="208"/>
                </a:lnTo>
                <a:lnTo>
                  <a:pt x="153" y="202"/>
                </a:lnTo>
                <a:lnTo>
                  <a:pt x="140" y="200"/>
                </a:lnTo>
                <a:lnTo>
                  <a:pt x="139" y="199"/>
                </a:lnTo>
                <a:lnTo>
                  <a:pt x="141" y="198"/>
                </a:lnTo>
                <a:lnTo>
                  <a:pt x="146" y="199"/>
                </a:lnTo>
                <a:lnTo>
                  <a:pt x="149" y="196"/>
                </a:lnTo>
                <a:lnTo>
                  <a:pt x="158" y="196"/>
                </a:lnTo>
                <a:lnTo>
                  <a:pt x="160" y="198"/>
                </a:lnTo>
                <a:lnTo>
                  <a:pt x="160" y="200"/>
                </a:lnTo>
                <a:lnTo>
                  <a:pt x="164" y="201"/>
                </a:lnTo>
                <a:lnTo>
                  <a:pt x="165" y="198"/>
                </a:lnTo>
                <a:lnTo>
                  <a:pt x="163" y="196"/>
                </a:lnTo>
                <a:lnTo>
                  <a:pt x="166" y="195"/>
                </a:lnTo>
                <a:lnTo>
                  <a:pt x="168" y="192"/>
                </a:lnTo>
                <a:lnTo>
                  <a:pt x="169" y="188"/>
                </a:lnTo>
                <a:lnTo>
                  <a:pt x="168" y="184"/>
                </a:lnTo>
                <a:lnTo>
                  <a:pt x="171" y="181"/>
                </a:lnTo>
                <a:lnTo>
                  <a:pt x="170" y="180"/>
                </a:lnTo>
                <a:lnTo>
                  <a:pt x="168" y="181"/>
                </a:lnTo>
                <a:lnTo>
                  <a:pt x="170" y="178"/>
                </a:lnTo>
                <a:lnTo>
                  <a:pt x="168" y="174"/>
                </a:lnTo>
                <a:lnTo>
                  <a:pt x="167" y="172"/>
                </a:lnTo>
                <a:lnTo>
                  <a:pt x="168" y="169"/>
                </a:lnTo>
                <a:lnTo>
                  <a:pt x="168" y="166"/>
                </a:lnTo>
                <a:lnTo>
                  <a:pt x="170" y="163"/>
                </a:lnTo>
                <a:lnTo>
                  <a:pt x="174" y="160"/>
                </a:lnTo>
                <a:lnTo>
                  <a:pt x="175" y="157"/>
                </a:lnTo>
                <a:lnTo>
                  <a:pt x="177" y="155"/>
                </a:lnTo>
                <a:lnTo>
                  <a:pt x="179" y="153"/>
                </a:lnTo>
                <a:lnTo>
                  <a:pt x="183" y="153"/>
                </a:lnTo>
                <a:lnTo>
                  <a:pt x="187" y="155"/>
                </a:lnTo>
                <a:lnTo>
                  <a:pt x="187" y="156"/>
                </a:lnTo>
                <a:lnTo>
                  <a:pt x="184" y="157"/>
                </a:lnTo>
                <a:lnTo>
                  <a:pt x="183" y="159"/>
                </a:lnTo>
                <a:lnTo>
                  <a:pt x="184" y="160"/>
                </a:lnTo>
                <a:lnTo>
                  <a:pt x="183" y="161"/>
                </a:lnTo>
                <a:lnTo>
                  <a:pt x="182" y="161"/>
                </a:lnTo>
                <a:lnTo>
                  <a:pt x="181" y="160"/>
                </a:lnTo>
                <a:lnTo>
                  <a:pt x="179" y="161"/>
                </a:lnTo>
                <a:lnTo>
                  <a:pt x="176" y="162"/>
                </a:lnTo>
                <a:lnTo>
                  <a:pt x="176" y="163"/>
                </a:lnTo>
                <a:lnTo>
                  <a:pt x="178" y="165"/>
                </a:lnTo>
                <a:lnTo>
                  <a:pt x="179" y="167"/>
                </a:lnTo>
                <a:lnTo>
                  <a:pt x="182" y="167"/>
                </a:lnTo>
                <a:lnTo>
                  <a:pt x="184" y="165"/>
                </a:lnTo>
                <a:lnTo>
                  <a:pt x="189" y="166"/>
                </a:lnTo>
                <a:lnTo>
                  <a:pt x="189" y="167"/>
                </a:lnTo>
                <a:lnTo>
                  <a:pt x="188" y="169"/>
                </a:lnTo>
                <a:lnTo>
                  <a:pt x="186" y="169"/>
                </a:lnTo>
                <a:lnTo>
                  <a:pt x="188" y="173"/>
                </a:lnTo>
                <a:lnTo>
                  <a:pt x="190" y="173"/>
                </a:lnTo>
                <a:lnTo>
                  <a:pt x="192" y="172"/>
                </a:lnTo>
                <a:lnTo>
                  <a:pt x="192" y="169"/>
                </a:lnTo>
                <a:lnTo>
                  <a:pt x="190" y="166"/>
                </a:lnTo>
                <a:lnTo>
                  <a:pt x="192" y="163"/>
                </a:lnTo>
                <a:lnTo>
                  <a:pt x="193" y="161"/>
                </a:lnTo>
                <a:lnTo>
                  <a:pt x="195" y="160"/>
                </a:lnTo>
                <a:lnTo>
                  <a:pt x="199" y="160"/>
                </a:lnTo>
                <a:lnTo>
                  <a:pt x="201" y="161"/>
                </a:lnTo>
                <a:lnTo>
                  <a:pt x="201" y="163"/>
                </a:lnTo>
                <a:lnTo>
                  <a:pt x="198" y="164"/>
                </a:lnTo>
                <a:lnTo>
                  <a:pt x="202" y="169"/>
                </a:lnTo>
                <a:lnTo>
                  <a:pt x="204" y="169"/>
                </a:lnTo>
                <a:lnTo>
                  <a:pt x="206" y="166"/>
                </a:lnTo>
                <a:lnTo>
                  <a:pt x="205" y="163"/>
                </a:lnTo>
                <a:lnTo>
                  <a:pt x="206" y="160"/>
                </a:lnTo>
                <a:lnTo>
                  <a:pt x="214" y="152"/>
                </a:lnTo>
                <a:lnTo>
                  <a:pt x="219" y="149"/>
                </a:lnTo>
                <a:lnTo>
                  <a:pt x="220" y="147"/>
                </a:lnTo>
                <a:lnTo>
                  <a:pt x="220" y="144"/>
                </a:lnTo>
                <a:lnTo>
                  <a:pt x="221" y="141"/>
                </a:lnTo>
                <a:lnTo>
                  <a:pt x="224" y="137"/>
                </a:lnTo>
                <a:lnTo>
                  <a:pt x="223" y="137"/>
                </a:lnTo>
                <a:lnTo>
                  <a:pt x="217" y="133"/>
                </a:lnTo>
                <a:lnTo>
                  <a:pt x="216" y="130"/>
                </a:lnTo>
                <a:lnTo>
                  <a:pt x="214" y="129"/>
                </a:lnTo>
                <a:lnTo>
                  <a:pt x="209" y="127"/>
                </a:lnTo>
                <a:lnTo>
                  <a:pt x="207" y="128"/>
                </a:lnTo>
                <a:lnTo>
                  <a:pt x="199" y="129"/>
                </a:lnTo>
                <a:lnTo>
                  <a:pt x="190" y="130"/>
                </a:lnTo>
                <a:lnTo>
                  <a:pt x="186" y="130"/>
                </a:lnTo>
                <a:lnTo>
                  <a:pt x="179" y="127"/>
                </a:lnTo>
                <a:lnTo>
                  <a:pt x="177" y="125"/>
                </a:lnTo>
                <a:lnTo>
                  <a:pt x="174" y="121"/>
                </a:lnTo>
                <a:lnTo>
                  <a:pt x="168" y="124"/>
                </a:lnTo>
                <a:lnTo>
                  <a:pt x="167" y="126"/>
                </a:lnTo>
                <a:lnTo>
                  <a:pt x="167" y="131"/>
                </a:lnTo>
                <a:lnTo>
                  <a:pt x="168" y="133"/>
                </a:lnTo>
                <a:lnTo>
                  <a:pt x="164" y="134"/>
                </a:lnTo>
                <a:lnTo>
                  <a:pt x="166" y="131"/>
                </a:lnTo>
                <a:lnTo>
                  <a:pt x="166" y="124"/>
                </a:lnTo>
                <a:lnTo>
                  <a:pt x="171" y="119"/>
                </a:lnTo>
                <a:lnTo>
                  <a:pt x="176" y="118"/>
                </a:lnTo>
                <a:lnTo>
                  <a:pt x="176" y="117"/>
                </a:lnTo>
                <a:lnTo>
                  <a:pt x="176" y="115"/>
                </a:lnTo>
                <a:lnTo>
                  <a:pt x="173" y="113"/>
                </a:lnTo>
                <a:lnTo>
                  <a:pt x="169" y="110"/>
                </a:lnTo>
                <a:lnTo>
                  <a:pt x="163" y="112"/>
                </a:lnTo>
                <a:lnTo>
                  <a:pt x="161" y="109"/>
                </a:lnTo>
                <a:lnTo>
                  <a:pt x="166" y="109"/>
                </a:lnTo>
                <a:lnTo>
                  <a:pt x="169" y="109"/>
                </a:lnTo>
                <a:lnTo>
                  <a:pt x="172" y="110"/>
                </a:lnTo>
                <a:lnTo>
                  <a:pt x="174" y="110"/>
                </a:lnTo>
                <a:lnTo>
                  <a:pt x="174" y="109"/>
                </a:lnTo>
                <a:lnTo>
                  <a:pt x="174" y="107"/>
                </a:lnTo>
                <a:lnTo>
                  <a:pt x="173" y="105"/>
                </a:lnTo>
                <a:lnTo>
                  <a:pt x="170" y="99"/>
                </a:lnTo>
                <a:lnTo>
                  <a:pt x="169" y="97"/>
                </a:lnTo>
                <a:lnTo>
                  <a:pt x="169" y="90"/>
                </a:lnTo>
                <a:lnTo>
                  <a:pt x="171" y="81"/>
                </a:lnTo>
                <a:lnTo>
                  <a:pt x="166" y="81"/>
                </a:lnTo>
                <a:lnTo>
                  <a:pt x="162" y="79"/>
                </a:lnTo>
                <a:lnTo>
                  <a:pt x="160" y="77"/>
                </a:lnTo>
                <a:lnTo>
                  <a:pt x="149" y="71"/>
                </a:lnTo>
                <a:lnTo>
                  <a:pt x="147" y="70"/>
                </a:lnTo>
                <a:lnTo>
                  <a:pt x="146" y="72"/>
                </a:lnTo>
                <a:lnTo>
                  <a:pt x="148" y="69"/>
                </a:lnTo>
                <a:lnTo>
                  <a:pt x="150" y="69"/>
                </a:lnTo>
                <a:lnTo>
                  <a:pt x="160" y="75"/>
                </a:lnTo>
                <a:lnTo>
                  <a:pt x="162" y="77"/>
                </a:lnTo>
                <a:lnTo>
                  <a:pt x="167" y="80"/>
                </a:lnTo>
                <a:lnTo>
                  <a:pt x="174" y="79"/>
                </a:lnTo>
                <a:lnTo>
                  <a:pt x="176" y="78"/>
                </a:lnTo>
                <a:lnTo>
                  <a:pt x="177" y="74"/>
                </a:lnTo>
                <a:lnTo>
                  <a:pt x="179" y="70"/>
                </a:lnTo>
                <a:lnTo>
                  <a:pt x="182" y="64"/>
                </a:lnTo>
                <a:lnTo>
                  <a:pt x="184" y="60"/>
                </a:lnTo>
                <a:lnTo>
                  <a:pt x="190" y="56"/>
                </a:lnTo>
                <a:lnTo>
                  <a:pt x="191" y="54"/>
                </a:lnTo>
                <a:lnTo>
                  <a:pt x="189" y="39"/>
                </a:lnTo>
                <a:lnTo>
                  <a:pt x="190" y="35"/>
                </a:lnTo>
                <a:lnTo>
                  <a:pt x="192" y="32"/>
                </a:lnTo>
                <a:lnTo>
                  <a:pt x="192" y="31"/>
                </a:lnTo>
                <a:lnTo>
                  <a:pt x="189" y="28"/>
                </a:lnTo>
                <a:lnTo>
                  <a:pt x="183" y="25"/>
                </a:lnTo>
                <a:lnTo>
                  <a:pt x="182" y="18"/>
                </a:lnTo>
                <a:lnTo>
                  <a:pt x="182" y="16"/>
                </a:lnTo>
                <a:lnTo>
                  <a:pt x="183" y="12"/>
                </a:lnTo>
                <a:lnTo>
                  <a:pt x="185" y="9"/>
                </a:lnTo>
                <a:lnTo>
                  <a:pt x="190" y="6"/>
                </a:lnTo>
                <a:lnTo>
                  <a:pt x="199" y="1"/>
                </a:lnTo>
                <a:lnTo>
                  <a:pt x="195" y="0"/>
                </a:lnTo>
                <a:lnTo>
                  <a:pt x="190" y="1"/>
                </a:lnTo>
                <a:lnTo>
                  <a:pt x="176" y="12"/>
                </a:lnTo>
                <a:lnTo>
                  <a:pt x="168" y="15"/>
                </a:lnTo>
                <a:lnTo>
                  <a:pt x="159" y="17"/>
                </a:lnTo>
                <a:lnTo>
                  <a:pt x="145" y="17"/>
                </a:lnTo>
                <a:lnTo>
                  <a:pt x="141" y="22"/>
                </a:lnTo>
                <a:lnTo>
                  <a:pt x="131" y="30"/>
                </a:lnTo>
                <a:lnTo>
                  <a:pt x="123" y="44"/>
                </a:lnTo>
                <a:lnTo>
                  <a:pt x="116" y="52"/>
                </a:lnTo>
                <a:lnTo>
                  <a:pt x="111" y="56"/>
                </a:lnTo>
                <a:lnTo>
                  <a:pt x="103" y="61"/>
                </a:lnTo>
                <a:lnTo>
                  <a:pt x="94" y="63"/>
                </a:lnTo>
                <a:lnTo>
                  <a:pt x="88" y="64"/>
                </a:lnTo>
                <a:lnTo>
                  <a:pt x="83" y="64"/>
                </a:lnTo>
                <a:lnTo>
                  <a:pt x="73" y="62"/>
                </a:lnTo>
                <a:lnTo>
                  <a:pt x="70" y="62"/>
                </a:lnTo>
                <a:lnTo>
                  <a:pt x="58" y="67"/>
                </a:lnTo>
                <a:lnTo>
                  <a:pt x="53" y="68"/>
                </a:lnTo>
                <a:lnTo>
                  <a:pt x="42" y="66"/>
                </a:lnTo>
                <a:lnTo>
                  <a:pt x="38" y="67"/>
                </a:lnTo>
                <a:lnTo>
                  <a:pt x="35" y="72"/>
                </a:lnTo>
                <a:lnTo>
                  <a:pt x="28" y="77"/>
                </a:lnTo>
                <a:lnTo>
                  <a:pt x="22" y="84"/>
                </a:lnTo>
                <a:lnTo>
                  <a:pt x="14" y="95"/>
                </a:lnTo>
                <a:lnTo>
                  <a:pt x="11" y="101"/>
                </a:lnTo>
                <a:lnTo>
                  <a:pt x="11" y="106"/>
                </a:lnTo>
                <a:lnTo>
                  <a:pt x="12" y="109"/>
                </a:lnTo>
                <a:lnTo>
                  <a:pt x="14" y="108"/>
                </a:lnTo>
                <a:lnTo>
                  <a:pt x="13" y="104"/>
                </a:lnTo>
                <a:lnTo>
                  <a:pt x="13" y="103"/>
                </a:lnTo>
                <a:lnTo>
                  <a:pt x="14" y="103"/>
                </a:lnTo>
                <a:lnTo>
                  <a:pt x="16" y="104"/>
                </a:lnTo>
                <a:lnTo>
                  <a:pt x="18" y="106"/>
                </a:lnTo>
                <a:lnTo>
                  <a:pt x="18" y="109"/>
                </a:lnTo>
                <a:lnTo>
                  <a:pt x="19" y="111"/>
                </a:lnTo>
                <a:lnTo>
                  <a:pt x="22" y="112"/>
                </a:lnTo>
                <a:lnTo>
                  <a:pt x="28" y="115"/>
                </a:lnTo>
                <a:lnTo>
                  <a:pt x="31" y="117"/>
                </a:lnTo>
                <a:lnTo>
                  <a:pt x="33" y="118"/>
                </a:lnTo>
                <a:lnTo>
                  <a:pt x="34" y="122"/>
                </a:lnTo>
                <a:lnTo>
                  <a:pt x="35" y="123"/>
                </a:lnTo>
                <a:lnTo>
                  <a:pt x="39" y="121"/>
                </a:lnTo>
                <a:lnTo>
                  <a:pt x="39" y="118"/>
                </a:lnTo>
                <a:lnTo>
                  <a:pt x="38" y="115"/>
                </a:lnTo>
                <a:lnTo>
                  <a:pt x="38" y="112"/>
                </a:lnTo>
                <a:lnTo>
                  <a:pt x="36" y="112"/>
                </a:lnTo>
                <a:lnTo>
                  <a:pt x="33" y="114"/>
                </a:lnTo>
                <a:lnTo>
                  <a:pt x="31" y="113"/>
                </a:lnTo>
                <a:lnTo>
                  <a:pt x="31" y="112"/>
                </a:lnTo>
                <a:close/>
                <a:moveTo>
                  <a:pt x="200" y="228"/>
                </a:moveTo>
                <a:lnTo>
                  <a:pt x="203" y="234"/>
                </a:lnTo>
                <a:lnTo>
                  <a:pt x="207" y="238"/>
                </a:lnTo>
                <a:lnTo>
                  <a:pt x="203" y="239"/>
                </a:lnTo>
                <a:lnTo>
                  <a:pt x="202" y="240"/>
                </a:lnTo>
                <a:lnTo>
                  <a:pt x="202" y="242"/>
                </a:lnTo>
                <a:lnTo>
                  <a:pt x="210" y="251"/>
                </a:lnTo>
                <a:lnTo>
                  <a:pt x="214" y="258"/>
                </a:lnTo>
                <a:lnTo>
                  <a:pt x="211" y="256"/>
                </a:lnTo>
                <a:lnTo>
                  <a:pt x="210" y="258"/>
                </a:lnTo>
                <a:lnTo>
                  <a:pt x="211" y="268"/>
                </a:lnTo>
                <a:lnTo>
                  <a:pt x="209" y="276"/>
                </a:lnTo>
                <a:lnTo>
                  <a:pt x="207" y="281"/>
                </a:lnTo>
                <a:lnTo>
                  <a:pt x="200" y="283"/>
                </a:lnTo>
                <a:lnTo>
                  <a:pt x="197" y="282"/>
                </a:lnTo>
                <a:lnTo>
                  <a:pt x="192" y="285"/>
                </a:lnTo>
                <a:lnTo>
                  <a:pt x="189" y="285"/>
                </a:lnTo>
                <a:lnTo>
                  <a:pt x="180" y="284"/>
                </a:lnTo>
                <a:lnTo>
                  <a:pt x="178" y="283"/>
                </a:lnTo>
                <a:lnTo>
                  <a:pt x="174" y="282"/>
                </a:lnTo>
                <a:lnTo>
                  <a:pt x="166" y="278"/>
                </a:lnTo>
                <a:lnTo>
                  <a:pt x="165" y="282"/>
                </a:lnTo>
                <a:lnTo>
                  <a:pt x="161" y="279"/>
                </a:lnTo>
                <a:lnTo>
                  <a:pt x="155" y="279"/>
                </a:lnTo>
                <a:lnTo>
                  <a:pt x="156" y="278"/>
                </a:lnTo>
                <a:lnTo>
                  <a:pt x="161" y="276"/>
                </a:lnTo>
                <a:lnTo>
                  <a:pt x="161" y="275"/>
                </a:lnTo>
                <a:lnTo>
                  <a:pt x="158" y="268"/>
                </a:lnTo>
                <a:lnTo>
                  <a:pt x="157" y="268"/>
                </a:lnTo>
                <a:lnTo>
                  <a:pt x="155" y="271"/>
                </a:lnTo>
                <a:lnTo>
                  <a:pt x="151" y="268"/>
                </a:lnTo>
                <a:lnTo>
                  <a:pt x="149" y="268"/>
                </a:lnTo>
                <a:lnTo>
                  <a:pt x="149" y="270"/>
                </a:lnTo>
                <a:lnTo>
                  <a:pt x="151" y="273"/>
                </a:lnTo>
                <a:lnTo>
                  <a:pt x="152" y="275"/>
                </a:lnTo>
                <a:lnTo>
                  <a:pt x="151" y="276"/>
                </a:lnTo>
                <a:lnTo>
                  <a:pt x="148" y="275"/>
                </a:lnTo>
                <a:lnTo>
                  <a:pt x="149" y="274"/>
                </a:lnTo>
                <a:lnTo>
                  <a:pt x="147" y="270"/>
                </a:lnTo>
                <a:lnTo>
                  <a:pt x="148" y="266"/>
                </a:lnTo>
                <a:lnTo>
                  <a:pt x="147" y="266"/>
                </a:lnTo>
                <a:lnTo>
                  <a:pt x="143" y="265"/>
                </a:lnTo>
                <a:lnTo>
                  <a:pt x="140" y="262"/>
                </a:lnTo>
                <a:lnTo>
                  <a:pt x="140" y="261"/>
                </a:lnTo>
                <a:lnTo>
                  <a:pt x="141" y="259"/>
                </a:lnTo>
                <a:lnTo>
                  <a:pt x="139" y="254"/>
                </a:lnTo>
                <a:lnTo>
                  <a:pt x="140" y="253"/>
                </a:lnTo>
                <a:lnTo>
                  <a:pt x="139" y="252"/>
                </a:lnTo>
                <a:lnTo>
                  <a:pt x="136" y="252"/>
                </a:lnTo>
                <a:lnTo>
                  <a:pt x="132" y="249"/>
                </a:lnTo>
                <a:lnTo>
                  <a:pt x="135" y="248"/>
                </a:lnTo>
                <a:lnTo>
                  <a:pt x="137" y="246"/>
                </a:lnTo>
                <a:lnTo>
                  <a:pt x="132" y="245"/>
                </a:lnTo>
                <a:lnTo>
                  <a:pt x="135" y="244"/>
                </a:lnTo>
                <a:lnTo>
                  <a:pt x="129" y="243"/>
                </a:lnTo>
                <a:lnTo>
                  <a:pt x="126" y="240"/>
                </a:lnTo>
                <a:lnTo>
                  <a:pt x="127" y="240"/>
                </a:lnTo>
                <a:lnTo>
                  <a:pt x="132" y="242"/>
                </a:lnTo>
                <a:lnTo>
                  <a:pt x="134" y="242"/>
                </a:lnTo>
                <a:lnTo>
                  <a:pt x="131" y="239"/>
                </a:lnTo>
                <a:lnTo>
                  <a:pt x="128" y="238"/>
                </a:lnTo>
                <a:lnTo>
                  <a:pt x="124" y="236"/>
                </a:lnTo>
                <a:lnTo>
                  <a:pt x="128" y="234"/>
                </a:lnTo>
                <a:lnTo>
                  <a:pt x="130" y="232"/>
                </a:lnTo>
                <a:lnTo>
                  <a:pt x="132" y="232"/>
                </a:lnTo>
                <a:lnTo>
                  <a:pt x="135" y="230"/>
                </a:lnTo>
                <a:lnTo>
                  <a:pt x="136" y="231"/>
                </a:lnTo>
                <a:lnTo>
                  <a:pt x="137" y="234"/>
                </a:lnTo>
                <a:lnTo>
                  <a:pt x="142" y="235"/>
                </a:lnTo>
                <a:lnTo>
                  <a:pt x="148" y="232"/>
                </a:lnTo>
                <a:lnTo>
                  <a:pt x="161" y="228"/>
                </a:lnTo>
                <a:lnTo>
                  <a:pt x="165" y="226"/>
                </a:lnTo>
                <a:lnTo>
                  <a:pt x="169" y="225"/>
                </a:lnTo>
                <a:lnTo>
                  <a:pt x="171" y="225"/>
                </a:lnTo>
                <a:lnTo>
                  <a:pt x="171" y="227"/>
                </a:lnTo>
                <a:lnTo>
                  <a:pt x="172" y="227"/>
                </a:lnTo>
                <a:lnTo>
                  <a:pt x="173" y="226"/>
                </a:lnTo>
                <a:lnTo>
                  <a:pt x="172" y="224"/>
                </a:lnTo>
                <a:lnTo>
                  <a:pt x="174" y="224"/>
                </a:lnTo>
                <a:lnTo>
                  <a:pt x="180" y="226"/>
                </a:lnTo>
                <a:lnTo>
                  <a:pt x="184" y="230"/>
                </a:lnTo>
                <a:lnTo>
                  <a:pt x="189" y="232"/>
                </a:lnTo>
                <a:lnTo>
                  <a:pt x="191" y="233"/>
                </a:lnTo>
                <a:lnTo>
                  <a:pt x="189" y="232"/>
                </a:lnTo>
                <a:lnTo>
                  <a:pt x="186" y="233"/>
                </a:lnTo>
                <a:lnTo>
                  <a:pt x="186" y="234"/>
                </a:lnTo>
                <a:lnTo>
                  <a:pt x="187" y="235"/>
                </a:lnTo>
                <a:lnTo>
                  <a:pt x="188" y="236"/>
                </a:lnTo>
                <a:lnTo>
                  <a:pt x="183" y="239"/>
                </a:lnTo>
                <a:lnTo>
                  <a:pt x="182" y="240"/>
                </a:lnTo>
                <a:lnTo>
                  <a:pt x="182" y="242"/>
                </a:lnTo>
                <a:lnTo>
                  <a:pt x="186" y="242"/>
                </a:lnTo>
                <a:lnTo>
                  <a:pt x="187" y="242"/>
                </a:lnTo>
                <a:lnTo>
                  <a:pt x="188" y="240"/>
                </a:lnTo>
                <a:lnTo>
                  <a:pt x="191" y="240"/>
                </a:lnTo>
                <a:lnTo>
                  <a:pt x="197" y="237"/>
                </a:lnTo>
                <a:lnTo>
                  <a:pt x="197" y="236"/>
                </a:lnTo>
                <a:lnTo>
                  <a:pt x="196" y="235"/>
                </a:lnTo>
                <a:lnTo>
                  <a:pt x="193" y="234"/>
                </a:lnTo>
                <a:lnTo>
                  <a:pt x="194" y="233"/>
                </a:lnTo>
                <a:lnTo>
                  <a:pt x="196" y="234"/>
                </a:lnTo>
                <a:lnTo>
                  <a:pt x="197" y="234"/>
                </a:lnTo>
                <a:lnTo>
                  <a:pt x="196" y="228"/>
                </a:lnTo>
                <a:lnTo>
                  <a:pt x="196" y="229"/>
                </a:lnTo>
                <a:lnTo>
                  <a:pt x="198" y="229"/>
                </a:lnTo>
                <a:lnTo>
                  <a:pt x="196" y="224"/>
                </a:lnTo>
                <a:lnTo>
                  <a:pt x="197" y="224"/>
                </a:lnTo>
                <a:lnTo>
                  <a:pt x="200" y="228"/>
                </a:lnTo>
                <a:close/>
                <a:moveTo>
                  <a:pt x="347" y="175"/>
                </a:moveTo>
                <a:lnTo>
                  <a:pt x="351" y="178"/>
                </a:lnTo>
                <a:lnTo>
                  <a:pt x="353" y="181"/>
                </a:lnTo>
                <a:lnTo>
                  <a:pt x="352" y="182"/>
                </a:lnTo>
                <a:lnTo>
                  <a:pt x="350" y="185"/>
                </a:lnTo>
                <a:lnTo>
                  <a:pt x="347" y="189"/>
                </a:lnTo>
                <a:lnTo>
                  <a:pt x="345" y="193"/>
                </a:lnTo>
                <a:lnTo>
                  <a:pt x="349" y="199"/>
                </a:lnTo>
                <a:lnTo>
                  <a:pt x="350" y="205"/>
                </a:lnTo>
                <a:lnTo>
                  <a:pt x="352" y="208"/>
                </a:lnTo>
                <a:lnTo>
                  <a:pt x="353" y="211"/>
                </a:lnTo>
                <a:lnTo>
                  <a:pt x="353" y="214"/>
                </a:lnTo>
                <a:lnTo>
                  <a:pt x="348" y="219"/>
                </a:lnTo>
                <a:lnTo>
                  <a:pt x="342" y="223"/>
                </a:lnTo>
                <a:lnTo>
                  <a:pt x="342" y="226"/>
                </a:lnTo>
                <a:lnTo>
                  <a:pt x="341" y="226"/>
                </a:lnTo>
                <a:lnTo>
                  <a:pt x="338" y="224"/>
                </a:lnTo>
                <a:lnTo>
                  <a:pt x="335" y="224"/>
                </a:lnTo>
                <a:lnTo>
                  <a:pt x="324" y="230"/>
                </a:lnTo>
                <a:lnTo>
                  <a:pt x="321" y="234"/>
                </a:lnTo>
                <a:lnTo>
                  <a:pt x="319" y="239"/>
                </a:lnTo>
                <a:lnTo>
                  <a:pt x="320" y="242"/>
                </a:lnTo>
                <a:lnTo>
                  <a:pt x="323" y="244"/>
                </a:lnTo>
                <a:lnTo>
                  <a:pt x="334" y="248"/>
                </a:lnTo>
                <a:lnTo>
                  <a:pt x="337" y="251"/>
                </a:lnTo>
                <a:lnTo>
                  <a:pt x="339" y="254"/>
                </a:lnTo>
                <a:lnTo>
                  <a:pt x="339" y="257"/>
                </a:lnTo>
                <a:lnTo>
                  <a:pt x="340" y="259"/>
                </a:lnTo>
                <a:lnTo>
                  <a:pt x="340" y="260"/>
                </a:lnTo>
                <a:lnTo>
                  <a:pt x="337" y="261"/>
                </a:lnTo>
                <a:lnTo>
                  <a:pt x="332" y="264"/>
                </a:lnTo>
                <a:lnTo>
                  <a:pt x="323" y="264"/>
                </a:lnTo>
                <a:lnTo>
                  <a:pt x="318" y="265"/>
                </a:lnTo>
                <a:lnTo>
                  <a:pt x="315" y="267"/>
                </a:lnTo>
                <a:lnTo>
                  <a:pt x="313" y="269"/>
                </a:lnTo>
                <a:lnTo>
                  <a:pt x="312" y="274"/>
                </a:lnTo>
                <a:lnTo>
                  <a:pt x="310" y="273"/>
                </a:lnTo>
                <a:lnTo>
                  <a:pt x="311" y="271"/>
                </a:lnTo>
                <a:lnTo>
                  <a:pt x="309" y="270"/>
                </a:lnTo>
                <a:lnTo>
                  <a:pt x="306" y="271"/>
                </a:lnTo>
                <a:lnTo>
                  <a:pt x="306" y="273"/>
                </a:lnTo>
                <a:lnTo>
                  <a:pt x="308" y="274"/>
                </a:lnTo>
                <a:lnTo>
                  <a:pt x="317" y="277"/>
                </a:lnTo>
                <a:lnTo>
                  <a:pt x="317" y="279"/>
                </a:lnTo>
                <a:lnTo>
                  <a:pt x="316" y="280"/>
                </a:lnTo>
                <a:lnTo>
                  <a:pt x="312" y="279"/>
                </a:lnTo>
                <a:lnTo>
                  <a:pt x="311" y="280"/>
                </a:lnTo>
                <a:lnTo>
                  <a:pt x="313" y="281"/>
                </a:lnTo>
                <a:lnTo>
                  <a:pt x="313" y="283"/>
                </a:lnTo>
                <a:lnTo>
                  <a:pt x="317" y="287"/>
                </a:lnTo>
                <a:lnTo>
                  <a:pt x="317" y="289"/>
                </a:lnTo>
                <a:lnTo>
                  <a:pt x="312" y="289"/>
                </a:lnTo>
                <a:lnTo>
                  <a:pt x="306" y="292"/>
                </a:lnTo>
                <a:lnTo>
                  <a:pt x="302" y="292"/>
                </a:lnTo>
                <a:lnTo>
                  <a:pt x="298" y="289"/>
                </a:lnTo>
                <a:lnTo>
                  <a:pt x="296" y="291"/>
                </a:lnTo>
                <a:lnTo>
                  <a:pt x="295" y="291"/>
                </a:lnTo>
                <a:lnTo>
                  <a:pt x="293" y="289"/>
                </a:lnTo>
                <a:lnTo>
                  <a:pt x="288" y="285"/>
                </a:lnTo>
                <a:lnTo>
                  <a:pt x="282" y="283"/>
                </a:lnTo>
                <a:lnTo>
                  <a:pt x="277" y="280"/>
                </a:lnTo>
                <a:lnTo>
                  <a:pt x="284" y="282"/>
                </a:lnTo>
                <a:lnTo>
                  <a:pt x="290" y="285"/>
                </a:lnTo>
                <a:lnTo>
                  <a:pt x="292" y="284"/>
                </a:lnTo>
                <a:lnTo>
                  <a:pt x="290" y="281"/>
                </a:lnTo>
                <a:lnTo>
                  <a:pt x="285" y="280"/>
                </a:lnTo>
                <a:lnTo>
                  <a:pt x="282" y="277"/>
                </a:lnTo>
                <a:lnTo>
                  <a:pt x="282" y="276"/>
                </a:lnTo>
                <a:lnTo>
                  <a:pt x="287" y="276"/>
                </a:lnTo>
                <a:lnTo>
                  <a:pt x="290" y="274"/>
                </a:lnTo>
                <a:lnTo>
                  <a:pt x="289" y="273"/>
                </a:lnTo>
                <a:lnTo>
                  <a:pt x="284" y="272"/>
                </a:lnTo>
                <a:lnTo>
                  <a:pt x="282" y="272"/>
                </a:lnTo>
                <a:lnTo>
                  <a:pt x="281" y="272"/>
                </a:lnTo>
                <a:lnTo>
                  <a:pt x="282" y="268"/>
                </a:lnTo>
                <a:lnTo>
                  <a:pt x="280" y="268"/>
                </a:lnTo>
                <a:lnTo>
                  <a:pt x="276" y="271"/>
                </a:lnTo>
                <a:lnTo>
                  <a:pt x="271" y="268"/>
                </a:lnTo>
                <a:lnTo>
                  <a:pt x="267" y="268"/>
                </a:lnTo>
                <a:lnTo>
                  <a:pt x="260" y="266"/>
                </a:lnTo>
                <a:lnTo>
                  <a:pt x="255" y="267"/>
                </a:lnTo>
                <a:lnTo>
                  <a:pt x="251" y="267"/>
                </a:lnTo>
                <a:lnTo>
                  <a:pt x="253" y="268"/>
                </a:lnTo>
                <a:lnTo>
                  <a:pt x="252" y="268"/>
                </a:lnTo>
                <a:lnTo>
                  <a:pt x="247" y="267"/>
                </a:lnTo>
                <a:lnTo>
                  <a:pt x="246" y="264"/>
                </a:lnTo>
                <a:lnTo>
                  <a:pt x="248" y="264"/>
                </a:lnTo>
                <a:lnTo>
                  <a:pt x="250" y="262"/>
                </a:lnTo>
                <a:lnTo>
                  <a:pt x="248" y="262"/>
                </a:lnTo>
                <a:lnTo>
                  <a:pt x="246" y="262"/>
                </a:lnTo>
                <a:lnTo>
                  <a:pt x="246" y="260"/>
                </a:lnTo>
                <a:lnTo>
                  <a:pt x="245" y="259"/>
                </a:lnTo>
                <a:lnTo>
                  <a:pt x="240" y="255"/>
                </a:lnTo>
                <a:lnTo>
                  <a:pt x="240" y="254"/>
                </a:lnTo>
                <a:lnTo>
                  <a:pt x="242" y="254"/>
                </a:lnTo>
                <a:lnTo>
                  <a:pt x="242" y="253"/>
                </a:lnTo>
                <a:lnTo>
                  <a:pt x="241" y="252"/>
                </a:lnTo>
                <a:lnTo>
                  <a:pt x="238" y="252"/>
                </a:lnTo>
                <a:lnTo>
                  <a:pt x="238" y="253"/>
                </a:lnTo>
                <a:lnTo>
                  <a:pt x="237" y="254"/>
                </a:lnTo>
                <a:lnTo>
                  <a:pt x="235" y="253"/>
                </a:lnTo>
                <a:lnTo>
                  <a:pt x="234" y="250"/>
                </a:lnTo>
                <a:lnTo>
                  <a:pt x="235" y="250"/>
                </a:lnTo>
                <a:lnTo>
                  <a:pt x="238" y="250"/>
                </a:lnTo>
                <a:lnTo>
                  <a:pt x="240" y="248"/>
                </a:lnTo>
                <a:lnTo>
                  <a:pt x="243" y="248"/>
                </a:lnTo>
                <a:lnTo>
                  <a:pt x="243" y="247"/>
                </a:lnTo>
                <a:lnTo>
                  <a:pt x="241" y="245"/>
                </a:lnTo>
                <a:lnTo>
                  <a:pt x="242" y="240"/>
                </a:lnTo>
                <a:lnTo>
                  <a:pt x="238" y="235"/>
                </a:lnTo>
                <a:lnTo>
                  <a:pt x="237" y="234"/>
                </a:lnTo>
                <a:lnTo>
                  <a:pt x="234" y="236"/>
                </a:lnTo>
                <a:lnTo>
                  <a:pt x="234" y="234"/>
                </a:lnTo>
                <a:lnTo>
                  <a:pt x="234" y="232"/>
                </a:lnTo>
                <a:lnTo>
                  <a:pt x="238" y="232"/>
                </a:lnTo>
                <a:lnTo>
                  <a:pt x="239" y="231"/>
                </a:lnTo>
                <a:lnTo>
                  <a:pt x="240" y="230"/>
                </a:lnTo>
                <a:lnTo>
                  <a:pt x="239" y="228"/>
                </a:lnTo>
                <a:lnTo>
                  <a:pt x="235" y="223"/>
                </a:lnTo>
                <a:lnTo>
                  <a:pt x="232" y="222"/>
                </a:lnTo>
                <a:lnTo>
                  <a:pt x="221" y="219"/>
                </a:lnTo>
                <a:lnTo>
                  <a:pt x="221" y="218"/>
                </a:lnTo>
                <a:lnTo>
                  <a:pt x="232" y="220"/>
                </a:lnTo>
                <a:lnTo>
                  <a:pt x="234" y="219"/>
                </a:lnTo>
                <a:lnTo>
                  <a:pt x="234" y="218"/>
                </a:lnTo>
                <a:lnTo>
                  <a:pt x="234" y="217"/>
                </a:lnTo>
                <a:lnTo>
                  <a:pt x="227" y="216"/>
                </a:lnTo>
                <a:lnTo>
                  <a:pt x="224" y="212"/>
                </a:lnTo>
                <a:lnTo>
                  <a:pt x="218" y="211"/>
                </a:lnTo>
                <a:lnTo>
                  <a:pt x="218" y="210"/>
                </a:lnTo>
                <a:lnTo>
                  <a:pt x="223" y="210"/>
                </a:lnTo>
                <a:lnTo>
                  <a:pt x="231" y="211"/>
                </a:lnTo>
                <a:lnTo>
                  <a:pt x="234" y="211"/>
                </a:lnTo>
                <a:lnTo>
                  <a:pt x="237" y="210"/>
                </a:lnTo>
                <a:lnTo>
                  <a:pt x="240" y="210"/>
                </a:lnTo>
                <a:lnTo>
                  <a:pt x="238" y="210"/>
                </a:lnTo>
                <a:lnTo>
                  <a:pt x="237" y="211"/>
                </a:lnTo>
                <a:lnTo>
                  <a:pt x="238" y="213"/>
                </a:lnTo>
                <a:lnTo>
                  <a:pt x="240" y="214"/>
                </a:lnTo>
                <a:lnTo>
                  <a:pt x="244" y="215"/>
                </a:lnTo>
                <a:lnTo>
                  <a:pt x="244" y="214"/>
                </a:lnTo>
                <a:lnTo>
                  <a:pt x="241" y="211"/>
                </a:lnTo>
                <a:lnTo>
                  <a:pt x="247" y="212"/>
                </a:lnTo>
                <a:lnTo>
                  <a:pt x="255" y="209"/>
                </a:lnTo>
                <a:lnTo>
                  <a:pt x="256" y="207"/>
                </a:lnTo>
                <a:lnTo>
                  <a:pt x="257" y="204"/>
                </a:lnTo>
                <a:lnTo>
                  <a:pt x="255" y="201"/>
                </a:lnTo>
                <a:lnTo>
                  <a:pt x="259" y="202"/>
                </a:lnTo>
                <a:lnTo>
                  <a:pt x="262" y="199"/>
                </a:lnTo>
                <a:lnTo>
                  <a:pt x="265" y="200"/>
                </a:lnTo>
                <a:lnTo>
                  <a:pt x="267" y="197"/>
                </a:lnTo>
                <a:lnTo>
                  <a:pt x="268" y="194"/>
                </a:lnTo>
                <a:lnTo>
                  <a:pt x="268" y="192"/>
                </a:lnTo>
                <a:lnTo>
                  <a:pt x="267" y="191"/>
                </a:lnTo>
                <a:lnTo>
                  <a:pt x="264" y="190"/>
                </a:lnTo>
                <a:lnTo>
                  <a:pt x="255" y="188"/>
                </a:lnTo>
                <a:lnTo>
                  <a:pt x="250" y="186"/>
                </a:lnTo>
                <a:lnTo>
                  <a:pt x="249" y="185"/>
                </a:lnTo>
                <a:lnTo>
                  <a:pt x="249" y="184"/>
                </a:lnTo>
                <a:lnTo>
                  <a:pt x="258" y="187"/>
                </a:lnTo>
                <a:lnTo>
                  <a:pt x="269" y="188"/>
                </a:lnTo>
                <a:lnTo>
                  <a:pt x="272" y="188"/>
                </a:lnTo>
                <a:lnTo>
                  <a:pt x="273" y="190"/>
                </a:lnTo>
                <a:lnTo>
                  <a:pt x="275" y="190"/>
                </a:lnTo>
                <a:lnTo>
                  <a:pt x="279" y="189"/>
                </a:lnTo>
                <a:lnTo>
                  <a:pt x="287" y="187"/>
                </a:lnTo>
                <a:lnTo>
                  <a:pt x="289" y="187"/>
                </a:lnTo>
                <a:lnTo>
                  <a:pt x="286" y="190"/>
                </a:lnTo>
                <a:lnTo>
                  <a:pt x="285" y="191"/>
                </a:lnTo>
                <a:lnTo>
                  <a:pt x="287" y="193"/>
                </a:lnTo>
                <a:lnTo>
                  <a:pt x="286" y="196"/>
                </a:lnTo>
                <a:lnTo>
                  <a:pt x="279" y="193"/>
                </a:lnTo>
                <a:lnTo>
                  <a:pt x="278" y="194"/>
                </a:lnTo>
                <a:lnTo>
                  <a:pt x="278" y="196"/>
                </a:lnTo>
                <a:lnTo>
                  <a:pt x="283" y="201"/>
                </a:lnTo>
                <a:lnTo>
                  <a:pt x="284" y="204"/>
                </a:lnTo>
                <a:lnTo>
                  <a:pt x="282" y="204"/>
                </a:lnTo>
                <a:lnTo>
                  <a:pt x="279" y="203"/>
                </a:lnTo>
                <a:lnTo>
                  <a:pt x="277" y="203"/>
                </a:lnTo>
                <a:lnTo>
                  <a:pt x="277" y="205"/>
                </a:lnTo>
                <a:lnTo>
                  <a:pt x="275" y="205"/>
                </a:lnTo>
                <a:lnTo>
                  <a:pt x="275" y="207"/>
                </a:lnTo>
                <a:lnTo>
                  <a:pt x="279" y="208"/>
                </a:lnTo>
                <a:lnTo>
                  <a:pt x="283" y="205"/>
                </a:lnTo>
                <a:lnTo>
                  <a:pt x="286" y="207"/>
                </a:lnTo>
                <a:lnTo>
                  <a:pt x="287" y="208"/>
                </a:lnTo>
                <a:lnTo>
                  <a:pt x="285" y="209"/>
                </a:lnTo>
                <a:lnTo>
                  <a:pt x="290" y="216"/>
                </a:lnTo>
                <a:lnTo>
                  <a:pt x="288" y="218"/>
                </a:lnTo>
                <a:lnTo>
                  <a:pt x="289" y="219"/>
                </a:lnTo>
                <a:lnTo>
                  <a:pt x="292" y="217"/>
                </a:lnTo>
                <a:lnTo>
                  <a:pt x="293" y="213"/>
                </a:lnTo>
                <a:lnTo>
                  <a:pt x="294" y="211"/>
                </a:lnTo>
                <a:lnTo>
                  <a:pt x="293" y="209"/>
                </a:lnTo>
                <a:lnTo>
                  <a:pt x="293" y="208"/>
                </a:lnTo>
                <a:lnTo>
                  <a:pt x="295" y="205"/>
                </a:lnTo>
                <a:lnTo>
                  <a:pt x="295" y="204"/>
                </a:lnTo>
                <a:lnTo>
                  <a:pt x="298" y="202"/>
                </a:lnTo>
                <a:lnTo>
                  <a:pt x="300" y="200"/>
                </a:lnTo>
                <a:lnTo>
                  <a:pt x="300" y="199"/>
                </a:lnTo>
                <a:lnTo>
                  <a:pt x="299" y="197"/>
                </a:lnTo>
                <a:lnTo>
                  <a:pt x="298" y="191"/>
                </a:lnTo>
                <a:lnTo>
                  <a:pt x="298" y="190"/>
                </a:lnTo>
                <a:lnTo>
                  <a:pt x="300" y="191"/>
                </a:lnTo>
                <a:lnTo>
                  <a:pt x="305" y="193"/>
                </a:lnTo>
                <a:lnTo>
                  <a:pt x="306" y="195"/>
                </a:lnTo>
                <a:lnTo>
                  <a:pt x="304" y="198"/>
                </a:lnTo>
                <a:lnTo>
                  <a:pt x="307" y="201"/>
                </a:lnTo>
                <a:lnTo>
                  <a:pt x="310" y="211"/>
                </a:lnTo>
                <a:lnTo>
                  <a:pt x="308" y="213"/>
                </a:lnTo>
                <a:lnTo>
                  <a:pt x="303" y="212"/>
                </a:lnTo>
                <a:lnTo>
                  <a:pt x="302" y="216"/>
                </a:lnTo>
                <a:lnTo>
                  <a:pt x="299" y="217"/>
                </a:lnTo>
                <a:lnTo>
                  <a:pt x="299" y="220"/>
                </a:lnTo>
                <a:lnTo>
                  <a:pt x="300" y="220"/>
                </a:lnTo>
                <a:lnTo>
                  <a:pt x="302" y="218"/>
                </a:lnTo>
                <a:lnTo>
                  <a:pt x="304" y="218"/>
                </a:lnTo>
                <a:lnTo>
                  <a:pt x="310" y="220"/>
                </a:lnTo>
                <a:lnTo>
                  <a:pt x="311" y="216"/>
                </a:lnTo>
                <a:lnTo>
                  <a:pt x="312" y="216"/>
                </a:lnTo>
                <a:lnTo>
                  <a:pt x="313" y="214"/>
                </a:lnTo>
                <a:lnTo>
                  <a:pt x="311" y="207"/>
                </a:lnTo>
                <a:lnTo>
                  <a:pt x="311" y="203"/>
                </a:lnTo>
                <a:lnTo>
                  <a:pt x="309" y="200"/>
                </a:lnTo>
                <a:lnTo>
                  <a:pt x="310" y="198"/>
                </a:lnTo>
                <a:lnTo>
                  <a:pt x="308" y="194"/>
                </a:lnTo>
                <a:lnTo>
                  <a:pt x="309" y="191"/>
                </a:lnTo>
                <a:lnTo>
                  <a:pt x="306" y="187"/>
                </a:lnTo>
                <a:lnTo>
                  <a:pt x="295" y="190"/>
                </a:lnTo>
                <a:lnTo>
                  <a:pt x="293" y="188"/>
                </a:lnTo>
                <a:lnTo>
                  <a:pt x="294" y="187"/>
                </a:lnTo>
                <a:lnTo>
                  <a:pt x="315" y="175"/>
                </a:lnTo>
                <a:lnTo>
                  <a:pt x="325" y="172"/>
                </a:lnTo>
                <a:lnTo>
                  <a:pt x="329" y="172"/>
                </a:lnTo>
                <a:lnTo>
                  <a:pt x="347" y="175"/>
                </a:lnTo>
                <a:close/>
                <a:moveTo>
                  <a:pt x="292" y="293"/>
                </a:moveTo>
                <a:lnTo>
                  <a:pt x="296" y="297"/>
                </a:lnTo>
                <a:lnTo>
                  <a:pt x="298" y="296"/>
                </a:lnTo>
                <a:lnTo>
                  <a:pt x="300" y="296"/>
                </a:lnTo>
                <a:lnTo>
                  <a:pt x="301" y="297"/>
                </a:lnTo>
                <a:lnTo>
                  <a:pt x="302" y="298"/>
                </a:lnTo>
                <a:lnTo>
                  <a:pt x="312" y="300"/>
                </a:lnTo>
                <a:lnTo>
                  <a:pt x="313" y="301"/>
                </a:lnTo>
                <a:lnTo>
                  <a:pt x="316" y="305"/>
                </a:lnTo>
                <a:lnTo>
                  <a:pt x="316" y="307"/>
                </a:lnTo>
                <a:lnTo>
                  <a:pt x="315" y="308"/>
                </a:lnTo>
                <a:lnTo>
                  <a:pt x="306" y="313"/>
                </a:lnTo>
                <a:lnTo>
                  <a:pt x="306" y="317"/>
                </a:lnTo>
                <a:lnTo>
                  <a:pt x="301" y="321"/>
                </a:lnTo>
                <a:lnTo>
                  <a:pt x="300" y="325"/>
                </a:lnTo>
                <a:lnTo>
                  <a:pt x="300" y="329"/>
                </a:lnTo>
                <a:lnTo>
                  <a:pt x="301" y="333"/>
                </a:lnTo>
                <a:lnTo>
                  <a:pt x="301" y="334"/>
                </a:lnTo>
                <a:lnTo>
                  <a:pt x="298" y="333"/>
                </a:lnTo>
                <a:lnTo>
                  <a:pt x="297" y="330"/>
                </a:lnTo>
                <a:lnTo>
                  <a:pt x="293" y="324"/>
                </a:lnTo>
                <a:lnTo>
                  <a:pt x="293" y="323"/>
                </a:lnTo>
                <a:lnTo>
                  <a:pt x="296" y="318"/>
                </a:lnTo>
                <a:lnTo>
                  <a:pt x="295" y="317"/>
                </a:lnTo>
                <a:lnTo>
                  <a:pt x="295" y="316"/>
                </a:lnTo>
                <a:lnTo>
                  <a:pt x="294" y="315"/>
                </a:lnTo>
                <a:lnTo>
                  <a:pt x="290" y="311"/>
                </a:lnTo>
                <a:lnTo>
                  <a:pt x="290" y="309"/>
                </a:lnTo>
                <a:lnTo>
                  <a:pt x="290" y="307"/>
                </a:lnTo>
                <a:lnTo>
                  <a:pt x="289" y="305"/>
                </a:lnTo>
                <a:lnTo>
                  <a:pt x="285" y="303"/>
                </a:lnTo>
                <a:lnTo>
                  <a:pt x="285" y="298"/>
                </a:lnTo>
                <a:lnTo>
                  <a:pt x="284" y="297"/>
                </a:lnTo>
                <a:lnTo>
                  <a:pt x="281" y="297"/>
                </a:lnTo>
                <a:lnTo>
                  <a:pt x="281" y="296"/>
                </a:lnTo>
                <a:lnTo>
                  <a:pt x="282" y="295"/>
                </a:lnTo>
                <a:lnTo>
                  <a:pt x="285" y="293"/>
                </a:lnTo>
                <a:lnTo>
                  <a:pt x="287" y="294"/>
                </a:lnTo>
                <a:lnTo>
                  <a:pt x="289" y="295"/>
                </a:lnTo>
                <a:lnTo>
                  <a:pt x="290" y="295"/>
                </a:lnTo>
                <a:lnTo>
                  <a:pt x="290" y="292"/>
                </a:lnTo>
                <a:lnTo>
                  <a:pt x="292" y="293"/>
                </a:lnTo>
                <a:close/>
                <a:moveTo>
                  <a:pt x="245" y="293"/>
                </a:moveTo>
                <a:lnTo>
                  <a:pt x="250" y="295"/>
                </a:lnTo>
                <a:lnTo>
                  <a:pt x="254" y="297"/>
                </a:lnTo>
                <a:lnTo>
                  <a:pt x="256" y="301"/>
                </a:lnTo>
                <a:lnTo>
                  <a:pt x="258" y="303"/>
                </a:lnTo>
                <a:lnTo>
                  <a:pt x="268" y="307"/>
                </a:lnTo>
                <a:lnTo>
                  <a:pt x="271" y="307"/>
                </a:lnTo>
                <a:lnTo>
                  <a:pt x="274" y="309"/>
                </a:lnTo>
                <a:lnTo>
                  <a:pt x="272" y="305"/>
                </a:lnTo>
                <a:lnTo>
                  <a:pt x="277" y="304"/>
                </a:lnTo>
                <a:lnTo>
                  <a:pt x="276" y="299"/>
                </a:lnTo>
                <a:lnTo>
                  <a:pt x="278" y="300"/>
                </a:lnTo>
                <a:lnTo>
                  <a:pt x="283" y="303"/>
                </a:lnTo>
                <a:lnTo>
                  <a:pt x="284" y="306"/>
                </a:lnTo>
                <a:lnTo>
                  <a:pt x="287" y="307"/>
                </a:lnTo>
                <a:lnTo>
                  <a:pt x="287" y="309"/>
                </a:lnTo>
                <a:lnTo>
                  <a:pt x="293" y="315"/>
                </a:lnTo>
                <a:lnTo>
                  <a:pt x="293" y="317"/>
                </a:lnTo>
                <a:lnTo>
                  <a:pt x="292" y="317"/>
                </a:lnTo>
                <a:lnTo>
                  <a:pt x="290" y="317"/>
                </a:lnTo>
                <a:lnTo>
                  <a:pt x="290" y="319"/>
                </a:lnTo>
                <a:lnTo>
                  <a:pt x="290" y="321"/>
                </a:lnTo>
                <a:lnTo>
                  <a:pt x="292" y="321"/>
                </a:lnTo>
                <a:lnTo>
                  <a:pt x="292" y="322"/>
                </a:lnTo>
                <a:lnTo>
                  <a:pt x="291" y="323"/>
                </a:lnTo>
                <a:lnTo>
                  <a:pt x="291" y="325"/>
                </a:lnTo>
                <a:lnTo>
                  <a:pt x="289" y="326"/>
                </a:lnTo>
                <a:lnTo>
                  <a:pt x="285" y="326"/>
                </a:lnTo>
                <a:lnTo>
                  <a:pt x="283" y="325"/>
                </a:lnTo>
                <a:lnTo>
                  <a:pt x="273" y="324"/>
                </a:lnTo>
                <a:lnTo>
                  <a:pt x="267" y="327"/>
                </a:lnTo>
                <a:lnTo>
                  <a:pt x="263" y="330"/>
                </a:lnTo>
                <a:lnTo>
                  <a:pt x="260" y="329"/>
                </a:lnTo>
                <a:lnTo>
                  <a:pt x="244" y="319"/>
                </a:lnTo>
                <a:lnTo>
                  <a:pt x="229" y="315"/>
                </a:lnTo>
                <a:lnTo>
                  <a:pt x="226" y="311"/>
                </a:lnTo>
                <a:lnTo>
                  <a:pt x="226" y="310"/>
                </a:lnTo>
                <a:lnTo>
                  <a:pt x="227" y="309"/>
                </a:lnTo>
                <a:lnTo>
                  <a:pt x="226" y="308"/>
                </a:lnTo>
                <a:lnTo>
                  <a:pt x="232" y="310"/>
                </a:lnTo>
                <a:lnTo>
                  <a:pt x="235" y="308"/>
                </a:lnTo>
                <a:lnTo>
                  <a:pt x="236" y="307"/>
                </a:lnTo>
                <a:lnTo>
                  <a:pt x="232" y="305"/>
                </a:lnTo>
                <a:lnTo>
                  <a:pt x="232" y="303"/>
                </a:lnTo>
                <a:lnTo>
                  <a:pt x="229" y="301"/>
                </a:lnTo>
                <a:lnTo>
                  <a:pt x="229" y="299"/>
                </a:lnTo>
                <a:lnTo>
                  <a:pt x="230" y="297"/>
                </a:lnTo>
                <a:lnTo>
                  <a:pt x="233" y="295"/>
                </a:lnTo>
                <a:lnTo>
                  <a:pt x="235" y="295"/>
                </a:lnTo>
                <a:lnTo>
                  <a:pt x="237" y="293"/>
                </a:lnTo>
                <a:lnTo>
                  <a:pt x="245" y="293"/>
                </a:lnTo>
                <a:close/>
                <a:moveTo>
                  <a:pt x="199" y="285"/>
                </a:moveTo>
                <a:lnTo>
                  <a:pt x="200" y="286"/>
                </a:lnTo>
                <a:lnTo>
                  <a:pt x="199" y="289"/>
                </a:lnTo>
                <a:lnTo>
                  <a:pt x="202" y="289"/>
                </a:lnTo>
                <a:lnTo>
                  <a:pt x="201" y="291"/>
                </a:lnTo>
                <a:lnTo>
                  <a:pt x="199" y="291"/>
                </a:lnTo>
                <a:lnTo>
                  <a:pt x="197" y="294"/>
                </a:lnTo>
                <a:lnTo>
                  <a:pt x="195" y="293"/>
                </a:lnTo>
                <a:lnTo>
                  <a:pt x="193" y="294"/>
                </a:lnTo>
                <a:lnTo>
                  <a:pt x="188" y="289"/>
                </a:lnTo>
                <a:lnTo>
                  <a:pt x="189" y="287"/>
                </a:lnTo>
                <a:lnTo>
                  <a:pt x="195" y="286"/>
                </a:lnTo>
                <a:lnTo>
                  <a:pt x="198" y="284"/>
                </a:lnTo>
                <a:lnTo>
                  <a:pt x="199" y="284"/>
                </a:lnTo>
                <a:lnTo>
                  <a:pt x="199" y="285"/>
                </a:lnTo>
                <a:close/>
                <a:moveTo>
                  <a:pt x="354" y="216"/>
                </a:moveTo>
                <a:lnTo>
                  <a:pt x="355" y="220"/>
                </a:lnTo>
                <a:lnTo>
                  <a:pt x="357" y="223"/>
                </a:lnTo>
                <a:lnTo>
                  <a:pt x="356" y="226"/>
                </a:lnTo>
                <a:lnTo>
                  <a:pt x="350" y="230"/>
                </a:lnTo>
                <a:lnTo>
                  <a:pt x="348" y="230"/>
                </a:lnTo>
                <a:lnTo>
                  <a:pt x="345" y="227"/>
                </a:lnTo>
                <a:lnTo>
                  <a:pt x="346" y="225"/>
                </a:lnTo>
                <a:lnTo>
                  <a:pt x="349" y="222"/>
                </a:lnTo>
                <a:lnTo>
                  <a:pt x="349" y="220"/>
                </a:lnTo>
                <a:lnTo>
                  <a:pt x="353" y="215"/>
                </a:lnTo>
                <a:lnTo>
                  <a:pt x="354" y="216"/>
                </a:lnTo>
                <a:close/>
                <a:moveTo>
                  <a:pt x="193" y="186"/>
                </a:moveTo>
                <a:lnTo>
                  <a:pt x="193" y="188"/>
                </a:lnTo>
                <a:lnTo>
                  <a:pt x="195" y="191"/>
                </a:lnTo>
                <a:lnTo>
                  <a:pt x="198" y="192"/>
                </a:lnTo>
                <a:lnTo>
                  <a:pt x="197" y="194"/>
                </a:lnTo>
                <a:lnTo>
                  <a:pt x="198" y="197"/>
                </a:lnTo>
                <a:lnTo>
                  <a:pt x="201" y="197"/>
                </a:lnTo>
                <a:lnTo>
                  <a:pt x="201" y="196"/>
                </a:lnTo>
                <a:lnTo>
                  <a:pt x="201" y="197"/>
                </a:lnTo>
                <a:lnTo>
                  <a:pt x="198" y="201"/>
                </a:lnTo>
                <a:lnTo>
                  <a:pt x="198" y="204"/>
                </a:lnTo>
                <a:lnTo>
                  <a:pt x="197" y="208"/>
                </a:lnTo>
                <a:lnTo>
                  <a:pt x="191" y="208"/>
                </a:lnTo>
                <a:lnTo>
                  <a:pt x="189" y="204"/>
                </a:lnTo>
                <a:lnTo>
                  <a:pt x="190" y="199"/>
                </a:lnTo>
                <a:lnTo>
                  <a:pt x="191" y="198"/>
                </a:lnTo>
                <a:lnTo>
                  <a:pt x="194" y="197"/>
                </a:lnTo>
                <a:lnTo>
                  <a:pt x="195" y="196"/>
                </a:lnTo>
                <a:lnTo>
                  <a:pt x="195" y="193"/>
                </a:lnTo>
                <a:lnTo>
                  <a:pt x="194" y="191"/>
                </a:lnTo>
                <a:lnTo>
                  <a:pt x="190" y="190"/>
                </a:lnTo>
                <a:lnTo>
                  <a:pt x="190" y="186"/>
                </a:lnTo>
                <a:lnTo>
                  <a:pt x="190" y="185"/>
                </a:lnTo>
                <a:lnTo>
                  <a:pt x="193" y="183"/>
                </a:lnTo>
                <a:lnTo>
                  <a:pt x="193" y="184"/>
                </a:lnTo>
                <a:lnTo>
                  <a:pt x="193" y="186"/>
                </a:lnTo>
                <a:close/>
                <a:moveTo>
                  <a:pt x="165" y="292"/>
                </a:moveTo>
                <a:lnTo>
                  <a:pt x="173" y="296"/>
                </a:lnTo>
                <a:lnTo>
                  <a:pt x="178" y="301"/>
                </a:lnTo>
                <a:lnTo>
                  <a:pt x="179" y="301"/>
                </a:lnTo>
                <a:lnTo>
                  <a:pt x="180" y="299"/>
                </a:lnTo>
                <a:lnTo>
                  <a:pt x="179" y="297"/>
                </a:lnTo>
                <a:lnTo>
                  <a:pt x="182" y="299"/>
                </a:lnTo>
                <a:lnTo>
                  <a:pt x="182" y="302"/>
                </a:lnTo>
                <a:lnTo>
                  <a:pt x="183" y="303"/>
                </a:lnTo>
                <a:lnTo>
                  <a:pt x="184" y="303"/>
                </a:lnTo>
                <a:lnTo>
                  <a:pt x="186" y="302"/>
                </a:lnTo>
                <a:lnTo>
                  <a:pt x="184" y="300"/>
                </a:lnTo>
                <a:lnTo>
                  <a:pt x="184" y="299"/>
                </a:lnTo>
                <a:lnTo>
                  <a:pt x="188" y="302"/>
                </a:lnTo>
                <a:lnTo>
                  <a:pt x="188" y="303"/>
                </a:lnTo>
                <a:lnTo>
                  <a:pt x="190" y="304"/>
                </a:lnTo>
                <a:lnTo>
                  <a:pt x="183" y="305"/>
                </a:lnTo>
                <a:lnTo>
                  <a:pt x="181" y="307"/>
                </a:lnTo>
                <a:lnTo>
                  <a:pt x="174" y="303"/>
                </a:lnTo>
                <a:lnTo>
                  <a:pt x="173" y="301"/>
                </a:lnTo>
                <a:lnTo>
                  <a:pt x="168" y="298"/>
                </a:lnTo>
                <a:lnTo>
                  <a:pt x="164" y="292"/>
                </a:lnTo>
                <a:lnTo>
                  <a:pt x="163" y="291"/>
                </a:lnTo>
                <a:lnTo>
                  <a:pt x="164" y="291"/>
                </a:lnTo>
                <a:lnTo>
                  <a:pt x="165" y="292"/>
                </a:lnTo>
                <a:close/>
                <a:moveTo>
                  <a:pt x="242" y="46"/>
                </a:moveTo>
                <a:lnTo>
                  <a:pt x="241" y="47"/>
                </a:lnTo>
                <a:lnTo>
                  <a:pt x="234" y="48"/>
                </a:lnTo>
                <a:lnTo>
                  <a:pt x="233" y="49"/>
                </a:lnTo>
                <a:lnTo>
                  <a:pt x="234" y="50"/>
                </a:lnTo>
                <a:lnTo>
                  <a:pt x="233" y="52"/>
                </a:lnTo>
                <a:lnTo>
                  <a:pt x="229" y="54"/>
                </a:lnTo>
                <a:lnTo>
                  <a:pt x="230" y="55"/>
                </a:lnTo>
                <a:lnTo>
                  <a:pt x="224" y="55"/>
                </a:lnTo>
                <a:lnTo>
                  <a:pt x="224" y="54"/>
                </a:lnTo>
                <a:lnTo>
                  <a:pt x="217" y="52"/>
                </a:lnTo>
                <a:lnTo>
                  <a:pt x="217" y="51"/>
                </a:lnTo>
                <a:lnTo>
                  <a:pt x="220" y="49"/>
                </a:lnTo>
                <a:lnTo>
                  <a:pt x="221" y="48"/>
                </a:lnTo>
                <a:lnTo>
                  <a:pt x="221" y="47"/>
                </a:lnTo>
                <a:lnTo>
                  <a:pt x="240" y="44"/>
                </a:lnTo>
                <a:lnTo>
                  <a:pt x="242" y="46"/>
                </a:lnTo>
                <a:close/>
                <a:moveTo>
                  <a:pt x="140" y="301"/>
                </a:moveTo>
                <a:lnTo>
                  <a:pt x="142" y="301"/>
                </a:lnTo>
                <a:lnTo>
                  <a:pt x="147" y="303"/>
                </a:lnTo>
                <a:lnTo>
                  <a:pt x="146" y="304"/>
                </a:lnTo>
                <a:lnTo>
                  <a:pt x="141" y="303"/>
                </a:lnTo>
                <a:lnTo>
                  <a:pt x="139" y="301"/>
                </a:lnTo>
                <a:lnTo>
                  <a:pt x="140" y="301"/>
                </a:lnTo>
                <a:close/>
                <a:moveTo>
                  <a:pt x="25" y="240"/>
                </a:moveTo>
                <a:lnTo>
                  <a:pt x="26" y="244"/>
                </a:lnTo>
                <a:lnTo>
                  <a:pt x="28" y="243"/>
                </a:lnTo>
                <a:lnTo>
                  <a:pt x="29" y="244"/>
                </a:lnTo>
                <a:lnTo>
                  <a:pt x="28" y="248"/>
                </a:lnTo>
                <a:lnTo>
                  <a:pt x="30" y="253"/>
                </a:lnTo>
                <a:lnTo>
                  <a:pt x="28" y="253"/>
                </a:lnTo>
                <a:lnTo>
                  <a:pt x="27" y="252"/>
                </a:lnTo>
                <a:lnTo>
                  <a:pt x="23" y="246"/>
                </a:lnTo>
                <a:lnTo>
                  <a:pt x="21" y="241"/>
                </a:lnTo>
                <a:lnTo>
                  <a:pt x="23" y="239"/>
                </a:lnTo>
                <a:lnTo>
                  <a:pt x="24" y="239"/>
                </a:lnTo>
                <a:lnTo>
                  <a:pt x="25" y="240"/>
                </a:lnTo>
                <a:close/>
                <a:moveTo>
                  <a:pt x="259" y="292"/>
                </a:moveTo>
                <a:lnTo>
                  <a:pt x="261" y="292"/>
                </a:lnTo>
                <a:lnTo>
                  <a:pt x="263" y="295"/>
                </a:lnTo>
                <a:lnTo>
                  <a:pt x="259" y="295"/>
                </a:lnTo>
                <a:lnTo>
                  <a:pt x="256" y="296"/>
                </a:lnTo>
                <a:lnTo>
                  <a:pt x="255" y="295"/>
                </a:lnTo>
                <a:lnTo>
                  <a:pt x="257" y="293"/>
                </a:lnTo>
                <a:lnTo>
                  <a:pt x="257" y="292"/>
                </a:lnTo>
                <a:lnTo>
                  <a:pt x="259" y="292"/>
                </a:lnTo>
                <a:close/>
                <a:moveTo>
                  <a:pt x="268" y="290"/>
                </a:moveTo>
                <a:lnTo>
                  <a:pt x="271" y="291"/>
                </a:lnTo>
                <a:lnTo>
                  <a:pt x="269" y="293"/>
                </a:lnTo>
                <a:lnTo>
                  <a:pt x="268" y="293"/>
                </a:lnTo>
                <a:lnTo>
                  <a:pt x="266" y="292"/>
                </a:lnTo>
                <a:lnTo>
                  <a:pt x="266" y="291"/>
                </a:lnTo>
                <a:lnTo>
                  <a:pt x="268" y="290"/>
                </a:lnTo>
                <a:close/>
                <a:moveTo>
                  <a:pt x="277" y="108"/>
                </a:moveTo>
                <a:lnTo>
                  <a:pt x="271" y="112"/>
                </a:lnTo>
                <a:lnTo>
                  <a:pt x="267" y="109"/>
                </a:lnTo>
                <a:lnTo>
                  <a:pt x="267" y="108"/>
                </a:lnTo>
                <a:lnTo>
                  <a:pt x="278" y="106"/>
                </a:lnTo>
                <a:lnTo>
                  <a:pt x="277" y="108"/>
                </a:lnTo>
                <a:close/>
                <a:moveTo>
                  <a:pt x="292" y="205"/>
                </a:moveTo>
                <a:lnTo>
                  <a:pt x="292" y="209"/>
                </a:lnTo>
                <a:lnTo>
                  <a:pt x="291" y="210"/>
                </a:lnTo>
                <a:lnTo>
                  <a:pt x="290" y="209"/>
                </a:lnTo>
                <a:lnTo>
                  <a:pt x="287" y="208"/>
                </a:lnTo>
                <a:lnTo>
                  <a:pt x="291" y="205"/>
                </a:lnTo>
                <a:lnTo>
                  <a:pt x="292" y="205"/>
                </a:lnTo>
                <a:close/>
                <a:moveTo>
                  <a:pt x="365" y="220"/>
                </a:moveTo>
                <a:lnTo>
                  <a:pt x="365" y="225"/>
                </a:lnTo>
                <a:lnTo>
                  <a:pt x="364" y="225"/>
                </a:lnTo>
                <a:lnTo>
                  <a:pt x="361" y="222"/>
                </a:lnTo>
                <a:lnTo>
                  <a:pt x="361" y="220"/>
                </a:lnTo>
                <a:lnTo>
                  <a:pt x="364" y="217"/>
                </a:lnTo>
                <a:lnTo>
                  <a:pt x="365" y="218"/>
                </a:lnTo>
                <a:lnTo>
                  <a:pt x="365" y="220"/>
                </a:lnTo>
                <a:close/>
                <a:moveTo>
                  <a:pt x="64" y="86"/>
                </a:moveTo>
                <a:lnTo>
                  <a:pt x="63" y="92"/>
                </a:lnTo>
                <a:lnTo>
                  <a:pt x="60" y="91"/>
                </a:lnTo>
                <a:lnTo>
                  <a:pt x="59" y="91"/>
                </a:lnTo>
                <a:lnTo>
                  <a:pt x="59" y="97"/>
                </a:lnTo>
                <a:lnTo>
                  <a:pt x="62" y="98"/>
                </a:lnTo>
                <a:lnTo>
                  <a:pt x="62" y="100"/>
                </a:lnTo>
                <a:lnTo>
                  <a:pt x="58" y="105"/>
                </a:lnTo>
                <a:lnTo>
                  <a:pt x="55" y="108"/>
                </a:lnTo>
                <a:lnTo>
                  <a:pt x="52" y="111"/>
                </a:lnTo>
                <a:lnTo>
                  <a:pt x="52" y="112"/>
                </a:lnTo>
                <a:lnTo>
                  <a:pt x="44" y="112"/>
                </a:lnTo>
                <a:lnTo>
                  <a:pt x="43" y="112"/>
                </a:lnTo>
                <a:lnTo>
                  <a:pt x="40" y="107"/>
                </a:lnTo>
                <a:lnTo>
                  <a:pt x="36" y="106"/>
                </a:lnTo>
                <a:lnTo>
                  <a:pt x="34" y="107"/>
                </a:lnTo>
                <a:lnTo>
                  <a:pt x="34" y="105"/>
                </a:lnTo>
                <a:lnTo>
                  <a:pt x="37" y="103"/>
                </a:lnTo>
                <a:lnTo>
                  <a:pt x="36" y="102"/>
                </a:lnTo>
                <a:lnTo>
                  <a:pt x="41" y="101"/>
                </a:lnTo>
                <a:lnTo>
                  <a:pt x="44" y="98"/>
                </a:lnTo>
                <a:lnTo>
                  <a:pt x="45" y="98"/>
                </a:lnTo>
                <a:lnTo>
                  <a:pt x="44" y="97"/>
                </a:lnTo>
                <a:lnTo>
                  <a:pt x="42" y="97"/>
                </a:lnTo>
                <a:lnTo>
                  <a:pt x="44" y="95"/>
                </a:lnTo>
                <a:lnTo>
                  <a:pt x="43" y="91"/>
                </a:lnTo>
                <a:lnTo>
                  <a:pt x="56" y="89"/>
                </a:lnTo>
                <a:lnTo>
                  <a:pt x="58" y="88"/>
                </a:lnTo>
                <a:lnTo>
                  <a:pt x="59" y="85"/>
                </a:lnTo>
                <a:lnTo>
                  <a:pt x="63" y="85"/>
                </a:lnTo>
                <a:lnTo>
                  <a:pt x="64" y="82"/>
                </a:lnTo>
                <a:lnTo>
                  <a:pt x="65" y="82"/>
                </a:lnTo>
                <a:lnTo>
                  <a:pt x="64" y="86"/>
                </a:lnTo>
                <a:close/>
                <a:moveTo>
                  <a:pt x="326" y="284"/>
                </a:moveTo>
                <a:lnTo>
                  <a:pt x="329" y="286"/>
                </a:lnTo>
                <a:lnTo>
                  <a:pt x="341" y="286"/>
                </a:lnTo>
                <a:lnTo>
                  <a:pt x="345" y="290"/>
                </a:lnTo>
                <a:lnTo>
                  <a:pt x="347" y="292"/>
                </a:lnTo>
                <a:lnTo>
                  <a:pt x="347" y="294"/>
                </a:lnTo>
                <a:lnTo>
                  <a:pt x="345" y="295"/>
                </a:lnTo>
                <a:lnTo>
                  <a:pt x="336" y="293"/>
                </a:lnTo>
                <a:lnTo>
                  <a:pt x="330" y="293"/>
                </a:lnTo>
                <a:lnTo>
                  <a:pt x="327" y="294"/>
                </a:lnTo>
                <a:lnTo>
                  <a:pt x="326" y="295"/>
                </a:lnTo>
                <a:lnTo>
                  <a:pt x="322" y="299"/>
                </a:lnTo>
                <a:lnTo>
                  <a:pt x="320" y="301"/>
                </a:lnTo>
                <a:lnTo>
                  <a:pt x="317" y="301"/>
                </a:lnTo>
                <a:lnTo>
                  <a:pt x="313" y="299"/>
                </a:lnTo>
                <a:lnTo>
                  <a:pt x="312" y="298"/>
                </a:lnTo>
                <a:lnTo>
                  <a:pt x="312" y="297"/>
                </a:lnTo>
                <a:lnTo>
                  <a:pt x="315" y="295"/>
                </a:lnTo>
                <a:lnTo>
                  <a:pt x="313" y="294"/>
                </a:lnTo>
                <a:lnTo>
                  <a:pt x="313" y="292"/>
                </a:lnTo>
                <a:lnTo>
                  <a:pt x="317" y="292"/>
                </a:lnTo>
                <a:lnTo>
                  <a:pt x="317" y="291"/>
                </a:lnTo>
                <a:lnTo>
                  <a:pt x="318" y="291"/>
                </a:lnTo>
                <a:lnTo>
                  <a:pt x="323" y="291"/>
                </a:lnTo>
                <a:lnTo>
                  <a:pt x="325" y="291"/>
                </a:lnTo>
                <a:lnTo>
                  <a:pt x="326" y="286"/>
                </a:lnTo>
                <a:lnTo>
                  <a:pt x="325" y="285"/>
                </a:lnTo>
                <a:lnTo>
                  <a:pt x="323" y="284"/>
                </a:lnTo>
                <a:lnTo>
                  <a:pt x="326" y="284"/>
                </a:lnTo>
                <a:close/>
                <a:moveTo>
                  <a:pt x="131" y="281"/>
                </a:moveTo>
                <a:lnTo>
                  <a:pt x="136" y="283"/>
                </a:lnTo>
                <a:lnTo>
                  <a:pt x="141" y="286"/>
                </a:lnTo>
                <a:lnTo>
                  <a:pt x="146" y="289"/>
                </a:lnTo>
                <a:lnTo>
                  <a:pt x="151" y="294"/>
                </a:lnTo>
                <a:lnTo>
                  <a:pt x="154" y="301"/>
                </a:lnTo>
                <a:lnTo>
                  <a:pt x="148" y="303"/>
                </a:lnTo>
                <a:lnTo>
                  <a:pt x="140" y="298"/>
                </a:lnTo>
                <a:lnTo>
                  <a:pt x="137" y="301"/>
                </a:lnTo>
                <a:lnTo>
                  <a:pt x="133" y="299"/>
                </a:lnTo>
                <a:lnTo>
                  <a:pt x="132" y="298"/>
                </a:lnTo>
                <a:lnTo>
                  <a:pt x="130" y="292"/>
                </a:lnTo>
                <a:lnTo>
                  <a:pt x="131" y="292"/>
                </a:lnTo>
                <a:lnTo>
                  <a:pt x="133" y="293"/>
                </a:lnTo>
                <a:lnTo>
                  <a:pt x="135" y="295"/>
                </a:lnTo>
                <a:lnTo>
                  <a:pt x="136" y="296"/>
                </a:lnTo>
                <a:lnTo>
                  <a:pt x="137" y="295"/>
                </a:lnTo>
                <a:lnTo>
                  <a:pt x="137" y="292"/>
                </a:lnTo>
                <a:lnTo>
                  <a:pt x="132" y="291"/>
                </a:lnTo>
                <a:lnTo>
                  <a:pt x="133" y="289"/>
                </a:lnTo>
                <a:lnTo>
                  <a:pt x="128" y="288"/>
                </a:lnTo>
                <a:lnTo>
                  <a:pt x="124" y="286"/>
                </a:lnTo>
                <a:lnTo>
                  <a:pt x="123" y="285"/>
                </a:lnTo>
                <a:lnTo>
                  <a:pt x="125" y="285"/>
                </a:lnTo>
                <a:lnTo>
                  <a:pt x="125" y="284"/>
                </a:lnTo>
                <a:lnTo>
                  <a:pt x="121" y="284"/>
                </a:lnTo>
                <a:lnTo>
                  <a:pt x="120" y="283"/>
                </a:lnTo>
                <a:lnTo>
                  <a:pt x="121" y="283"/>
                </a:lnTo>
                <a:lnTo>
                  <a:pt x="125" y="280"/>
                </a:lnTo>
                <a:lnTo>
                  <a:pt x="131" y="281"/>
                </a:lnTo>
                <a:close/>
                <a:moveTo>
                  <a:pt x="222" y="274"/>
                </a:moveTo>
                <a:lnTo>
                  <a:pt x="218" y="287"/>
                </a:lnTo>
                <a:lnTo>
                  <a:pt x="213" y="294"/>
                </a:lnTo>
                <a:lnTo>
                  <a:pt x="204" y="317"/>
                </a:lnTo>
                <a:lnTo>
                  <a:pt x="202" y="317"/>
                </a:lnTo>
                <a:lnTo>
                  <a:pt x="201" y="317"/>
                </a:lnTo>
                <a:lnTo>
                  <a:pt x="200" y="309"/>
                </a:lnTo>
                <a:lnTo>
                  <a:pt x="199" y="308"/>
                </a:lnTo>
                <a:lnTo>
                  <a:pt x="196" y="307"/>
                </a:lnTo>
                <a:lnTo>
                  <a:pt x="196" y="306"/>
                </a:lnTo>
                <a:lnTo>
                  <a:pt x="199" y="306"/>
                </a:lnTo>
                <a:lnTo>
                  <a:pt x="200" y="305"/>
                </a:lnTo>
                <a:lnTo>
                  <a:pt x="200" y="303"/>
                </a:lnTo>
                <a:lnTo>
                  <a:pt x="204" y="301"/>
                </a:lnTo>
                <a:lnTo>
                  <a:pt x="204" y="299"/>
                </a:lnTo>
                <a:lnTo>
                  <a:pt x="201" y="298"/>
                </a:lnTo>
                <a:lnTo>
                  <a:pt x="205" y="292"/>
                </a:lnTo>
                <a:lnTo>
                  <a:pt x="215" y="284"/>
                </a:lnTo>
                <a:lnTo>
                  <a:pt x="215" y="283"/>
                </a:lnTo>
                <a:lnTo>
                  <a:pt x="216" y="279"/>
                </a:lnTo>
                <a:lnTo>
                  <a:pt x="218" y="274"/>
                </a:lnTo>
                <a:lnTo>
                  <a:pt x="221" y="272"/>
                </a:lnTo>
                <a:lnTo>
                  <a:pt x="222" y="274"/>
                </a:lnTo>
                <a:close/>
                <a:moveTo>
                  <a:pt x="525" y="258"/>
                </a:moveTo>
                <a:lnTo>
                  <a:pt x="527" y="260"/>
                </a:lnTo>
                <a:lnTo>
                  <a:pt x="530" y="262"/>
                </a:lnTo>
                <a:lnTo>
                  <a:pt x="540" y="266"/>
                </a:lnTo>
                <a:lnTo>
                  <a:pt x="543" y="271"/>
                </a:lnTo>
                <a:lnTo>
                  <a:pt x="545" y="271"/>
                </a:lnTo>
                <a:lnTo>
                  <a:pt x="551" y="272"/>
                </a:lnTo>
                <a:lnTo>
                  <a:pt x="553" y="274"/>
                </a:lnTo>
                <a:lnTo>
                  <a:pt x="553" y="275"/>
                </a:lnTo>
                <a:lnTo>
                  <a:pt x="553" y="277"/>
                </a:lnTo>
                <a:lnTo>
                  <a:pt x="553" y="279"/>
                </a:lnTo>
                <a:lnTo>
                  <a:pt x="552" y="283"/>
                </a:lnTo>
                <a:lnTo>
                  <a:pt x="551" y="284"/>
                </a:lnTo>
                <a:lnTo>
                  <a:pt x="551" y="286"/>
                </a:lnTo>
                <a:lnTo>
                  <a:pt x="548" y="289"/>
                </a:lnTo>
                <a:lnTo>
                  <a:pt x="544" y="289"/>
                </a:lnTo>
                <a:lnTo>
                  <a:pt x="519" y="280"/>
                </a:lnTo>
                <a:lnTo>
                  <a:pt x="518" y="279"/>
                </a:lnTo>
                <a:lnTo>
                  <a:pt x="517" y="277"/>
                </a:lnTo>
                <a:lnTo>
                  <a:pt x="518" y="273"/>
                </a:lnTo>
                <a:lnTo>
                  <a:pt x="518" y="272"/>
                </a:lnTo>
                <a:lnTo>
                  <a:pt x="516" y="271"/>
                </a:lnTo>
                <a:lnTo>
                  <a:pt x="518" y="267"/>
                </a:lnTo>
                <a:lnTo>
                  <a:pt x="519" y="265"/>
                </a:lnTo>
                <a:lnTo>
                  <a:pt x="519" y="262"/>
                </a:lnTo>
                <a:lnTo>
                  <a:pt x="521" y="260"/>
                </a:lnTo>
                <a:lnTo>
                  <a:pt x="521" y="258"/>
                </a:lnTo>
                <a:lnTo>
                  <a:pt x="524" y="256"/>
                </a:lnTo>
                <a:lnTo>
                  <a:pt x="525" y="258"/>
                </a:lnTo>
                <a:close/>
              </a:path>
            </a:pathLst>
          </a:custGeom>
          <a:solidFill>
            <a:schemeClr val="bg1"/>
          </a:solidFill>
          <a:ln w="6350" cap="flat" cmpd="sng">
            <a:solidFill>
              <a:sysClr val="window" lastClr="FFFFFF"/>
            </a:solidFill>
            <a:prstDash val="solid"/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10257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Adobe Fan Heiti Std B" pitchFamily="34" charset="-128"/>
              <a:cs typeface="+mn-cs"/>
            </a:endParaRPr>
          </a:p>
        </p:txBody>
      </p:sp>
      <p:sp>
        <p:nvSpPr>
          <p:cNvPr id="162" name="Title 2">
            <a:extLst>
              <a:ext uri="{FF2B5EF4-FFF2-40B4-BE49-F238E27FC236}">
                <a16:creationId xmlns:a16="http://schemas.microsoft.com/office/drawing/2014/main" id="{34EEFBF7-FE13-6649-8A45-53C7BA940203}"/>
              </a:ext>
            </a:extLst>
          </p:cNvPr>
          <p:cNvSpPr txBox="1">
            <a:spLocks/>
          </p:cNvSpPr>
          <p:nvPr/>
        </p:nvSpPr>
        <p:spPr>
          <a:xfrm>
            <a:off x="427984" y="2549327"/>
            <a:ext cx="2472858" cy="183846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K" sz="2000" b="0" i="0" u="none" strike="noStrike" kern="120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j-ea"/>
              <a:cs typeface="+mj-cs"/>
            </a:endParaRPr>
          </a:p>
        </p:txBody>
      </p:sp>
      <p:pic>
        <p:nvPicPr>
          <p:cNvPr id="291" name="Picture 290">
            <a:extLst>
              <a:ext uri="{FF2B5EF4-FFF2-40B4-BE49-F238E27FC236}">
                <a16:creationId xmlns:a16="http://schemas.microsoft.com/office/drawing/2014/main" id="{356339BC-C752-1D48-A47F-055631B86CD6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5904" y="5848216"/>
            <a:ext cx="110511" cy="144000"/>
          </a:xfrm>
          <a:prstGeom prst="rect">
            <a:avLst/>
          </a:prstGeom>
        </p:spPr>
      </p:pic>
      <p:grpSp>
        <p:nvGrpSpPr>
          <p:cNvPr id="5" name="Gruppe 4">
            <a:extLst>
              <a:ext uri="{FF2B5EF4-FFF2-40B4-BE49-F238E27FC236}">
                <a16:creationId xmlns:a16="http://schemas.microsoft.com/office/drawing/2014/main" id="{50534E0E-8D28-4626-A000-00E8503CB442}"/>
              </a:ext>
            </a:extLst>
          </p:cNvPr>
          <p:cNvGrpSpPr/>
          <p:nvPr/>
        </p:nvGrpSpPr>
        <p:grpSpPr>
          <a:xfrm>
            <a:off x="516604" y="3112841"/>
            <a:ext cx="294310" cy="1499911"/>
            <a:chOff x="532992" y="4584048"/>
            <a:chExt cx="170892" cy="1077200"/>
          </a:xfrm>
        </p:grpSpPr>
        <p:pic>
          <p:nvPicPr>
            <p:cNvPr id="438" name="Picture 437">
              <a:extLst>
                <a:ext uri="{FF2B5EF4-FFF2-40B4-BE49-F238E27FC236}">
                  <a16:creationId xmlns:a16="http://schemas.microsoft.com/office/drawing/2014/main" id="{F38CE1DB-6F7F-C34E-A077-6336BAE2008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2992" y="5438570"/>
              <a:ext cx="170892" cy="222678"/>
            </a:xfrm>
            <a:prstGeom prst="rect">
              <a:avLst/>
            </a:prstGeom>
          </p:spPr>
        </p:pic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C7C8CD91-958A-4641-9A4F-37A6756F221D}"/>
                </a:ext>
              </a:extLst>
            </p:cNvPr>
            <p:cNvSpPr/>
            <p:nvPr/>
          </p:nvSpPr>
          <p:spPr>
            <a:xfrm>
              <a:off x="532992" y="4584048"/>
              <a:ext cx="144016" cy="144016"/>
            </a:xfrm>
            <a:prstGeom prst="ellipse">
              <a:avLst/>
            </a:prstGeom>
            <a:solidFill>
              <a:schemeClr val="tx2"/>
            </a:solidFill>
            <a:ln w="25400">
              <a:solidFill>
                <a:sysClr val="window" lastClr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93" name="Oval 292">
              <a:extLst>
                <a:ext uri="{FF2B5EF4-FFF2-40B4-BE49-F238E27FC236}">
                  <a16:creationId xmlns:a16="http://schemas.microsoft.com/office/drawing/2014/main" id="{7E849557-124D-2245-8247-73344CE25B13}"/>
                </a:ext>
              </a:extLst>
            </p:cNvPr>
            <p:cNvSpPr/>
            <p:nvPr/>
          </p:nvSpPr>
          <p:spPr>
            <a:xfrm>
              <a:off x="532992" y="4894149"/>
              <a:ext cx="144016" cy="144016"/>
            </a:xfrm>
            <a:prstGeom prst="ellipse">
              <a:avLst/>
            </a:prstGeom>
            <a:solidFill>
              <a:schemeClr val="accent2"/>
            </a:solidFill>
            <a:ln w="25400">
              <a:solidFill>
                <a:sysClr val="window" lastClr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  <p:sp>
          <p:nvSpPr>
            <p:cNvPr id="295" name="Oval 294">
              <a:extLst>
                <a:ext uri="{FF2B5EF4-FFF2-40B4-BE49-F238E27FC236}">
                  <a16:creationId xmlns:a16="http://schemas.microsoft.com/office/drawing/2014/main" id="{1A09EF66-35A0-1E4A-85C5-962F34E63904}"/>
                </a:ext>
              </a:extLst>
            </p:cNvPr>
            <p:cNvSpPr/>
            <p:nvPr/>
          </p:nvSpPr>
          <p:spPr>
            <a:xfrm>
              <a:off x="532992" y="5196298"/>
              <a:ext cx="144016" cy="144016"/>
            </a:xfrm>
            <a:prstGeom prst="ellipse">
              <a:avLst/>
            </a:prstGeom>
            <a:solidFill>
              <a:schemeClr val="accent3"/>
            </a:solidFill>
            <a:ln w="25400">
              <a:solidFill>
                <a:sysClr val="window" lastClr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endParaRPr>
            </a:p>
          </p:txBody>
        </p:sp>
      </p:grpSp>
      <p:sp>
        <p:nvSpPr>
          <p:cNvPr id="303" name="Picture Placeholder 1">
            <a:extLst>
              <a:ext uri="{FF2B5EF4-FFF2-40B4-BE49-F238E27FC236}">
                <a16:creationId xmlns:a16="http://schemas.microsoft.com/office/drawing/2014/main" id="{AF162DBE-F7C1-1B4C-B8A9-08429ADE5C0C}"/>
              </a:ext>
            </a:extLst>
          </p:cNvPr>
          <p:cNvSpPr txBox="1">
            <a:spLocks/>
          </p:cNvSpPr>
          <p:nvPr/>
        </p:nvSpPr>
        <p:spPr>
          <a:xfrm>
            <a:off x="10054541" y="0"/>
            <a:ext cx="2137459" cy="6858000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0" rIns="0" bIns="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K" sz="1800" b="0" i="0" u="none" strike="noStrike" kern="1200" cap="none" spc="0" normalizeH="0" baseline="0" noProof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97" name="Tekstfelt 162">
            <a:extLst>
              <a:ext uri="{FF2B5EF4-FFF2-40B4-BE49-F238E27FC236}">
                <a16:creationId xmlns:a16="http://schemas.microsoft.com/office/drawing/2014/main" id="{F91FE534-9257-BB44-AF3C-448B81083C71}"/>
              </a:ext>
            </a:extLst>
          </p:cNvPr>
          <p:cNvSpPr txBox="1"/>
          <p:nvPr/>
        </p:nvSpPr>
        <p:spPr>
          <a:xfrm>
            <a:off x="10290672" y="478214"/>
            <a:ext cx="1893898" cy="56030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.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Thorup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Sletten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.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Øster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Børsting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3.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GreenLab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4.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Vestbjerg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5.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nergipark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Aalborg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6.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Bolle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nge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7.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Ålestrup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8.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Hejring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9.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Veddum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Kær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0. Overgaard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1.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østrup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Vest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2.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Døstrup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3.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Handest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Hede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4.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Handest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Hede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Sol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5.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arsvinlund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6.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Grønkjær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7. St. So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ls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8.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Blæsbjerg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9.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Ulkær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ose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>
                <a:solidFill>
                  <a:srgbClr val="041E42"/>
                </a:solidFill>
                <a:latin typeface="Century Gothic" panose="020F0302020204030204"/>
              </a:rPr>
              <a:t>20. Tønder </a:t>
            </a:r>
            <a:r>
              <a:rPr lang="en-US" sz="1000" kern="0" dirty="0" err="1">
                <a:solidFill>
                  <a:srgbClr val="041E42"/>
                </a:solidFill>
                <a:latin typeface="Century Gothic" panose="020F0302020204030204"/>
              </a:rPr>
              <a:t>projekter</a:t>
            </a:r>
            <a:endParaRPr lang="en-US" sz="1000" kern="0" dirty="0">
              <a:solidFill>
                <a:srgbClr val="041E42"/>
              </a:solidFill>
              <a:latin typeface="Century Gothic" panose="020F03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1. Kratlund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>
                <a:solidFill>
                  <a:srgbClr val="041E42"/>
                </a:solidFill>
                <a:latin typeface="Century Gothic" panose="020F0302020204030204"/>
              </a:rPr>
              <a:t>22. </a:t>
            </a:r>
            <a:r>
              <a:rPr lang="en-US" sz="1000" kern="0" dirty="0" err="1">
                <a:solidFill>
                  <a:srgbClr val="041E42"/>
                </a:solidFill>
                <a:latin typeface="Century Gothic" panose="020F0302020204030204"/>
              </a:rPr>
              <a:t>Karup</a:t>
            </a:r>
            <a:endParaRPr lang="en-US" sz="1000" kern="0" dirty="0">
              <a:solidFill>
                <a:srgbClr val="041E42"/>
              </a:solidFill>
              <a:latin typeface="Century Gothic" panose="020F03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23.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Nørrekær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nge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II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0" dirty="0">
                <a:solidFill>
                  <a:srgbClr val="041E42"/>
                </a:solidFill>
                <a:latin typeface="Century Gothic" panose="020F0302020204030204"/>
              </a:rPr>
              <a:t>24. </a:t>
            </a:r>
            <a:r>
              <a:rPr lang="en-US" sz="1000" kern="0" dirty="0" err="1">
                <a:solidFill>
                  <a:srgbClr val="041E42"/>
                </a:solidFill>
                <a:latin typeface="Century Gothic" panose="020F0302020204030204"/>
              </a:rPr>
              <a:t>Nørre</a:t>
            </a:r>
            <a:r>
              <a:rPr lang="en-US" sz="1000" kern="0" dirty="0">
                <a:solidFill>
                  <a:srgbClr val="041E42"/>
                </a:solidFill>
                <a:latin typeface="Century Gothic" panose="020F0302020204030204"/>
              </a:rPr>
              <a:t> </a:t>
            </a:r>
            <a:r>
              <a:rPr lang="en-US" sz="1000" kern="0" dirty="0" err="1">
                <a:solidFill>
                  <a:srgbClr val="041E42"/>
                </a:solidFill>
                <a:latin typeface="Century Gothic" panose="020F0302020204030204"/>
              </a:rPr>
              <a:t>Økse</a:t>
            </a:r>
            <a:r>
              <a:rPr lang="en-US" sz="1000" kern="0" dirty="0">
                <a:solidFill>
                  <a:srgbClr val="041E42"/>
                </a:solidFill>
                <a:latin typeface="Century Gothic" panose="020F0302020204030204"/>
              </a:rPr>
              <a:t> </a:t>
            </a:r>
            <a:r>
              <a:rPr lang="en-US" sz="1000" kern="0" dirty="0" err="1">
                <a:solidFill>
                  <a:srgbClr val="041E42"/>
                </a:solidFill>
                <a:latin typeface="Century Gothic" panose="020F0302020204030204"/>
              </a:rPr>
              <a:t>Sø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47" name="Teardrop 46">
            <a:extLst>
              <a:ext uri="{FF2B5EF4-FFF2-40B4-BE49-F238E27FC236}">
                <a16:creationId xmlns:a16="http://schemas.microsoft.com/office/drawing/2014/main" id="{737B12E1-0E77-C548-92C7-FC5C89D86393}"/>
              </a:ext>
            </a:extLst>
          </p:cNvPr>
          <p:cNvSpPr/>
          <p:nvPr/>
        </p:nvSpPr>
        <p:spPr>
          <a:xfrm>
            <a:off x="6399818" y="1267110"/>
            <a:ext cx="246180" cy="246180"/>
          </a:xfrm>
          <a:prstGeom prst="teardrop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K" sz="7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8" name="Teardrop 47">
            <a:extLst>
              <a:ext uri="{FF2B5EF4-FFF2-40B4-BE49-F238E27FC236}">
                <a16:creationId xmlns:a16="http://schemas.microsoft.com/office/drawing/2014/main" id="{FDD73DA3-C77C-CA44-9470-888A797679BA}"/>
              </a:ext>
            </a:extLst>
          </p:cNvPr>
          <p:cNvSpPr/>
          <p:nvPr/>
        </p:nvSpPr>
        <p:spPr>
          <a:xfrm>
            <a:off x="6480654" y="1534236"/>
            <a:ext cx="246180" cy="246180"/>
          </a:xfrm>
          <a:prstGeom prst="teardrop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K" sz="700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49" name="Teardrop 48">
            <a:extLst>
              <a:ext uri="{FF2B5EF4-FFF2-40B4-BE49-F238E27FC236}">
                <a16:creationId xmlns:a16="http://schemas.microsoft.com/office/drawing/2014/main" id="{E5A72601-A080-B443-A504-87E9C12C609E}"/>
              </a:ext>
            </a:extLst>
          </p:cNvPr>
          <p:cNvSpPr/>
          <p:nvPr/>
        </p:nvSpPr>
        <p:spPr>
          <a:xfrm>
            <a:off x="6646277" y="1314557"/>
            <a:ext cx="246180" cy="246180"/>
          </a:xfrm>
          <a:prstGeom prst="teardrop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K" sz="700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2" name="Teardrop 51">
            <a:extLst>
              <a:ext uri="{FF2B5EF4-FFF2-40B4-BE49-F238E27FC236}">
                <a16:creationId xmlns:a16="http://schemas.microsoft.com/office/drawing/2014/main" id="{95BE011B-6209-A642-8DBF-6722375B40DC}"/>
              </a:ext>
            </a:extLst>
          </p:cNvPr>
          <p:cNvSpPr/>
          <p:nvPr/>
        </p:nvSpPr>
        <p:spPr>
          <a:xfrm>
            <a:off x="5510551" y="1463823"/>
            <a:ext cx="246180" cy="246180"/>
          </a:xfrm>
          <a:prstGeom prst="teardrop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K" sz="7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54" name="Teardrop 53">
            <a:extLst>
              <a:ext uri="{FF2B5EF4-FFF2-40B4-BE49-F238E27FC236}">
                <a16:creationId xmlns:a16="http://schemas.microsoft.com/office/drawing/2014/main" id="{8CE0A265-383A-CC4F-9C92-22C4A286828E}"/>
              </a:ext>
            </a:extLst>
          </p:cNvPr>
          <p:cNvSpPr/>
          <p:nvPr/>
        </p:nvSpPr>
        <p:spPr>
          <a:xfrm>
            <a:off x="5783280" y="2020943"/>
            <a:ext cx="246180" cy="246180"/>
          </a:xfrm>
          <a:prstGeom prst="teardrop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K" sz="700" dirty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56" name="Teardrop 55">
            <a:extLst>
              <a:ext uri="{FF2B5EF4-FFF2-40B4-BE49-F238E27FC236}">
                <a16:creationId xmlns:a16="http://schemas.microsoft.com/office/drawing/2014/main" id="{561C79A9-B400-BC45-9280-7BD41DF054B0}"/>
              </a:ext>
            </a:extLst>
          </p:cNvPr>
          <p:cNvSpPr/>
          <p:nvPr/>
        </p:nvSpPr>
        <p:spPr>
          <a:xfrm>
            <a:off x="6092209" y="1970213"/>
            <a:ext cx="246180" cy="246180"/>
          </a:xfrm>
          <a:prstGeom prst="teardrop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DK" sz="700" dirty="0">
                <a:solidFill>
                  <a:schemeClr val="bg1"/>
                </a:solidFill>
              </a:rPr>
              <a:t>11</a:t>
            </a:r>
          </a:p>
        </p:txBody>
      </p:sp>
      <p:sp>
        <p:nvSpPr>
          <p:cNvPr id="58" name="Teardrop 57">
            <a:extLst>
              <a:ext uri="{FF2B5EF4-FFF2-40B4-BE49-F238E27FC236}">
                <a16:creationId xmlns:a16="http://schemas.microsoft.com/office/drawing/2014/main" id="{048E9F59-F1B9-604B-AA9A-D3E0E9B00D78}"/>
              </a:ext>
            </a:extLst>
          </p:cNvPr>
          <p:cNvSpPr/>
          <p:nvPr/>
        </p:nvSpPr>
        <p:spPr>
          <a:xfrm>
            <a:off x="6140482" y="2211015"/>
            <a:ext cx="246180" cy="246180"/>
          </a:xfrm>
          <a:prstGeom prst="teardrop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K" sz="700" dirty="0">
                <a:solidFill>
                  <a:schemeClr val="bg1"/>
                </a:solidFill>
              </a:rPr>
              <a:t>12</a:t>
            </a:r>
          </a:p>
        </p:txBody>
      </p:sp>
      <p:sp>
        <p:nvSpPr>
          <p:cNvPr id="60" name="Teardrop 59">
            <a:extLst>
              <a:ext uri="{FF2B5EF4-FFF2-40B4-BE49-F238E27FC236}">
                <a16:creationId xmlns:a16="http://schemas.microsoft.com/office/drawing/2014/main" id="{B0B3DE3C-3E6F-8540-A8C1-CEBF5C7E8F4A}"/>
              </a:ext>
            </a:extLst>
          </p:cNvPr>
          <p:cNvSpPr/>
          <p:nvPr/>
        </p:nvSpPr>
        <p:spPr>
          <a:xfrm>
            <a:off x="6326889" y="2514374"/>
            <a:ext cx="246180" cy="246180"/>
          </a:xfrm>
          <a:prstGeom prst="teardrop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K" sz="700" dirty="0">
                <a:solidFill>
                  <a:schemeClr val="bg1"/>
                </a:solidFill>
              </a:rPr>
              <a:t>13</a:t>
            </a:r>
          </a:p>
        </p:txBody>
      </p:sp>
      <p:sp>
        <p:nvSpPr>
          <p:cNvPr id="62" name="Teardrop 61">
            <a:extLst>
              <a:ext uri="{FF2B5EF4-FFF2-40B4-BE49-F238E27FC236}">
                <a16:creationId xmlns:a16="http://schemas.microsoft.com/office/drawing/2014/main" id="{2AD482D0-B381-B04E-B55B-718CE9EEAD7F}"/>
              </a:ext>
            </a:extLst>
          </p:cNvPr>
          <p:cNvSpPr/>
          <p:nvPr/>
        </p:nvSpPr>
        <p:spPr>
          <a:xfrm>
            <a:off x="6176098" y="2694964"/>
            <a:ext cx="246180" cy="246180"/>
          </a:xfrm>
          <a:prstGeom prst="teardrop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K" sz="700" dirty="0">
                <a:solidFill>
                  <a:schemeClr val="bg1"/>
                </a:solidFill>
              </a:rPr>
              <a:t>14</a:t>
            </a:r>
          </a:p>
        </p:txBody>
      </p:sp>
      <p:sp>
        <p:nvSpPr>
          <p:cNvPr id="64" name="Teardrop 63">
            <a:extLst>
              <a:ext uri="{FF2B5EF4-FFF2-40B4-BE49-F238E27FC236}">
                <a16:creationId xmlns:a16="http://schemas.microsoft.com/office/drawing/2014/main" id="{62E9B422-15D0-D54C-BDF4-D212C8A90DA7}"/>
              </a:ext>
            </a:extLst>
          </p:cNvPr>
          <p:cNvSpPr/>
          <p:nvPr/>
        </p:nvSpPr>
        <p:spPr>
          <a:xfrm>
            <a:off x="5845112" y="2353280"/>
            <a:ext cx="246180" cy="246180"/>
          </a:xfrm>
          <a:prstGeom prst="teardrop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K" sz="700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66" name="Teardrop 65">
            <a:extLst>
              <a:ext uri="{FF2B5EF4-FFF2-40B4-BE49-F238E27FC236}">
                <a16:creationId xmlns:a16="http://schemas.microsoft.com/office/drawing/2014/main" id="{46973491-FD02-E444-8E22-F0871B9AD556}"/>
              </a:ext>
            </a:extLst>
          </p:cNvPr>
          <p:cNvSpPr/>
          <p:nvPr/>
        </p:nvSpPr>
        <p:spPr>
          <a:xfrm>
            <a:off x="5521417" y="3327171"/>
            <a:ext cx="246180" cy="246180"/>
          </a:xfrm>
          <a:prstGeom prst="teardrop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K" sz="700" dirty="0">
                <a:solidFill>
                  <a:schemeClr val="bg1"/>
                </a:solidFill>
              </a:rPr>
              <a:t>19</a:t>
            </a:r>
          </a:p>
        </p:txBody>
      </p:sp>
      <p:sp>
        <p:nvSpPr>
          <p:cNvPr id="68" name="Teardrop 67">
            <a:extLst>
              <a:ext uri="{FF2B5EF4-FFF2-40B4-BE49-F238E27FC236}">
                <a16:creationId xmlns:a16="http://schemas.microsoft.com/office/drawing/2014/main" id="{13C8C2AC-C170-1D45-B71A-2742BA7798D5}"/>
              </a:ext>
            </a:extLst>
          </p:cNvPr>
          <p:cNvSpPr/>
          <p:nvPr/>
        </p:nvSpPr>
        <p:spPr>
          <a:xfrm>
            <a:off x="4897995" y="3057193"/>
            <a:ext cx="246180" cy="246180"/>
          </a:xfrm>
          <a:prstGeom prst="teardrop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K" sz="700" dirty="0">
                <a:solidFill>
                  <a:schemeClr val="bg1"/>
                </a:solidFill>
              </a:rPr>
              <a:t>17</a:t>
            </a:r>
          </a:p>
        </p:txBody>
      </p:sp>
      <p:sp>
        <p:nvSpPr>
          <p:cNvPr id="70" name="Teardrop 69">
            <a:extLst>
              <a:ext uri="{FF2B5EF4-FFF2-40B4-BE49-F238E27FC236}">
                <a16:creationId xmlns:a16="http://schemas.microsoft.com/office/drawing/2014/main" id="{8370A4A7-1851-1044-90D9-6AD071EA5475}"/>
              </a:ext>
            </a:extLst>
          </p:cNvPr>
          <p:cNvSpPr/>
          <p:nvPr/>
        </p:nvSpPr>
        <p:spPr>
          <a:xfrm>
            <a:off x="5803739" y="3133012"/>
            <a:ext cx="246180" cy="246180"/>
          </a:xfrm>
          <a:prstGeom prst="teardrop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K" sz="700" dirty="0">
                <a:solidFill>
                  <a:schemeClr val="bg1"/>
                </a:solidFill>
              </a:rPr>
              <a:t>15</a:t>
            </a:r>
          </a:p>
        </p:txBody>
      </p:sp>
      <p:pic>
        <p:nvPicPr>
          <p:cNvPr id="71" name="Picture 70">
            <a:extLst>
              <a:ext uri="{FF2B5EF4-FFF2-40B4-BE49-F238E27FC236}">
                <a16:creationId xmlns:a16="http://schemas.microsoft.com/office/drawing/2014/main" id="{8FA30A10-F51E-6148-AEAA-1D7AA03A810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48049" y="2833476"/>
            <a:ext cx="214737" cy="180000"/>
          </a:xfrm>
          <a:prstGeom prst="rect">
            <a:avLst/>
          </a:prstGeom>
        </p:spPr>
      </p:pic>
      <p:sp>
        <p:nvSpPr>
          <p:cNvPr id="73" name="Teardrop 72">
            <a:extLst>
              <a:ext uri="{FF2B5EF4-FFF2-40B4-BE49-F238E27FC236}">
                <a16:creationId xmlns:a16="http://schemas.microsoft.com/office/drawing/2014/main" id="{9553B054-388E-9447-A5DE-053D37F1F3AE}"/>
              </a:ext>
            </a:extLst>
          </p:cNvPr>
          <p:cNvSpPr/>
          <p:nvPr/>
        </p:nvSpPr>
        <p:spPr>
          <a:xfrm>
            <a:off x="4667575" y="2985958"/>
            <a:ext cx="246180" cy="246180"/>
          </a:xfrm>
          <a:prstGeom prst="teardrop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K" sz="700" dirty="0">
                <a:solidFill>
                  <a:schemeClr val="bg1"/>
                </a:solidFill>
              </a:rPr>
              <a:t>18</a:t>
            </a:r>
          </a:p>
        </p:txBody>
      </p:sp>
      <p:sp>
        <p:nvSpPr>
          <p:cNvPr id="75" name="Teardrop 74">
            <a:extLst>
              <a:ext uri="{FF2B5EF4-FFF2-40B4-BE49-F238E27FC236}">
                <a16:creationId xmlns:a16="http://schemas.microsoft.com/office/drawing/2014/main" id="{BB6CD877-5207-5341-B61E-9FF1A060E785}"/>
              </a:ext>
            </a:extLst>
          </p:cNvPr>
          <p:cNvSpPr/>
          <p:nvPr/>
        </p:nvSpPr>
        <p:spPr>
          <a:xfrm>
            <a:off x="4367773" y="2701145"/>
            <a:ext cx="246180" cy="246180"/>
          </a:xfrm>
          <a:prstGeom prst="teardrop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K" sz="700" dirty="0">
                <a:solidFill>
                  <a:schemeClr val="bg1"/>
                </a:solidFill>
              </a:rPr>
              <a:t>16</a:t>
            </a:r>
          </a:p>
        </p:txBody>
      </p:sp>
      <p:sp>
        <p:nvSpPr>
          <p:cNvPr id="77" name="Teardrop 76">
            <a:extLst>
              <a:ext uri="{FF2B5EF4-FFF2-40B4-BE49-F238E27FC236}">
                <a16:creationId xmlns:a16="http://schemas.microsoft.com/office/drawing/2014/main" id="{BA375DB0-D958-5442-8D88-F7F035E1E5B7}"/>
              </a:ext>
            </a:extLst>
          </p:cNvPr>
          <p:cNvSpPr/>
          <p:nvPr/>
        </p:nvSpPr>
        <p:spPr>
          <a:xfrm>
            <a:off x="5282172" y="2618699"/>
            <a:ext cx="246180" cy="246180"/>
          </a:xfrm>
          <a:prstGeom prst="teardrop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K" sz="7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0" name="Teardrop 79">
            <a:extLst>
              <a:ext uri="{FF2B5EF4-FFF2-40B4-BE49-F238E27FC236}">
                <a16:creationId xmlns:a16="http://schemas.microsoft.com/office/drawing/2014/main" id="{6D088D35-A4FD-BA4B-B4DF-AE9636BA5CF7}"/>
              </a:ext>
            </a:extLst>
          </p:cNvPr>
          <p:cNvSpPr/>
          <p:nvPr/>
        </p:nvSpPr>
        <p:spPr>
          <a:xfrm>
            <a:off x="5257995" y="2257820"/>
            <a:ext cx="246180" cy="246180"/>
          </a:xfrm>
          <a:prstGeom prst="teardrop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K" sz="7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82" name="Teardrop 81">
            <a:extLst>
              <a:ext uri="{FF2B5EF4-FFF2-40B4-BE49-F238E27FC236}">
                <a16:creationId xmlns:a16="http://schemas.microsoft.com/office/drawing/2014/main" id="{5D03F75C-4544-2A47-946D-28B11293B8FB}"/>
              </a:ext>
            </a:extLst>
          </p:cNvPr>
          <p:cNvSpPr/>
          <p:nvPr/>
        </p:nvSpPr>
        <p:spPr>
          <a:xfrm>
            <a:off x="6620703" y="2353523"/>
            <a:ext cx="246180" cy="246180"/>
          </a:xfrm>
          <a:prstGeom prst="teardrop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DK" sz="700" dirty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84" name="Teardrop 83">
            <a:extLst>
              <a:ext uri="{FF2B5EF4-FFF2-40B4-BE49-F238E27FC236}">
                <a16:creationId xmlns:a16="http://schemas.microsoft.com/office/drawing/2014/main" id="{8F0FA532-F5C8-F34E-AB3D-65081040E3CD}"/>
              </a:ext>
            </a:extLst>
          </p:cNvPr>
          <p:cNvSpPr/>
          <p:nvPr/>
        </p:nvSpPr>
        <p:spPr>
          <a:xfrm>
            <a:off x="6566695" y="2036248"/>
            <a:ext cx="246180" cy="246180"/>
          </a:xfrm>
          <a:prstGeom prst="teardrop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K" sz="700" dirty="0">
                <a:solidFill>
                  <a:schemeClr val="bg1"/>
                </a:solidFill>
              </a:rPr>
              <a:t>9</a:t>
            </a:r>
          </a:p>
        </p:txBody>
      </p:sp>
      <p:pic>
        <p:nvPicPr>
          <p:cNvPr id="289" name="Picture 288">
            <a:extLst>
              <a:ext uri="{FF2B5EF4-FFF2-40B4-BE49-F238E27FC236}">
                <a16:creationId xmlns:a16="http://schemas.microsoft.com/office/drawing/2014/main" id="{D031AECB-FA36-4A48-843A-4A4F78C6981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80867" y="2216393"/>
            <a:ext cx="221023" cy="288000"/>
          </a:xfrm>
          <a:prstGeom prst="rect">
            <a:avLst/>
          </a:prstGeom>
        </p:spPr>
      </p:pic>
      <p:pic>
        <p:nvPicPr>
          <p:cNvPr id="7" name="Grafik 6" descr="Vindmøller kontur">
            <a:extLst>
              <a:ext uri="{FF2B5EF4-FFF2-40B4-BE49-F238E27FC236}">
                <a16:creationId xmlns:a16="http://schemas.microsoft.com/office/drawing/2014/main" id="{BF4CFC03-E6AD-4C46-A1EB-21E8B5F9DDF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65233" y="3736339"/>
            <a:ext cx="360000" cy="360000"/>
          </a:xfrm>
          <a:prstGeom prst="rect">
            <a:avLst/>
          </a:prstGeom>
        </p:spPr>
      </p:pic>
      <p:pic>
        <p:nvPicPr>
          <p:cNvPr id="42" name="Grafik 41" descr="Vindmøller kontur">
            <a:extLst>
              <a:ext uri="{FF2B5EF4-FFF2-40B4-BE49-F238E27FC236}">
                <a16:creationId xmlns:a16="http://schemas.microsoft.com/office/drawing/2014/main" id="{323C188C-A40F-4165-A84A-FA2CCA1AFCE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144175" y="4447498"/>
            <a:ext cx="360000" cy="360000"/>
          </a:xfrm>
          <a:prstGeom prst="rect">
            <a:avLst/>
          </a:prstGeom>
        </p:spPr>
      </p:pic>
      <p:pic>
        <p:nvPicPr>
          <p:cNvPr id="43" name="Grafik 42" descr="Vindmøller kontur">
            <a:extLst>
              <a:ext uri="{FF2B5EF4-FFF2-40B4-BE49-F238E27FC236}">
                <a16:creationId xmlns:a16="http://schemas.microsoft.com/office/drawing/2014/main" id="{BAB6D340-7D0C-441A-BA5B-B1C3B6D097E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381085" y="5275537"/>
            <a:ext cx="360000" cy="360000"/>
          </a:xfrm>
          <a:prstGeom prst="rect">
            <a:avLst/>
          </a:prstGeom>
        </p:spPr>
      </p:pic>
      <p:pic>
        <p:nvPicPr>
          <p:cNvPr id="44" name="Grafik 43" descr="Vindmøller kontur">
            <a:extLst>
              <a:ext uri="{FF2B5EF4-FFF2-40B4-BE49-F238E27FC236}">
                <a16:creationId xmlns:a16="http://schemas.microsoft.com/office/drawing/2014/main" id="{991B6BE1-360B-4925-9D8F-253D57C5FBD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572122" y="4848085"/>
            <a:ext cx="360000" cy="360000"/>
          </a:xfrm>
          <a:prstGeom prst="rect">
            <a:avLst/>
          </a:prstGeom>
        </p:spPr>
      </p:pic>
      <p:pic>
        <p:nvPicPr>
          <p:cNvPr id="45" name="Grafik 44" descr="Vindmøller kontur">
            <a:extLst>
              <a:ext uri="{FF2B5EF4-FFF2-40B4-BE49-F238E27FC236}">
                <a16:creationId xmlns:a16="http://schemas.microsoft.com/office/drawing/2014/main" id="{156ECB1C-8DF5-47F1-A6DF-1FA7A003575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066216" y="4458881"/>
            <a:ext cx="360000" cy="360000"/>
          </a:xfrm>
          <a:prstGeom prst="rect">
            <a:avLst/>
          </a:prstGeom>
        </p:spPr>
      </p:pic>
      <p:pic>
        <p:nvPicPr>
          <p:cNvPr id="46" name="Grafik 45" descr="Vindmøller kontur">
            <a:extLst>
              <a:ext uri="{FF2B5EF4-FFF2-40B4-BE49-F238E27FC236}">
                <a16:creationId xmlns:a16="http://schemas.microsoft.com/office/drawing/2014/main" id="{2E7BA649-56A1-4781-802F-ED17B739642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970379" y="3867998"/>
            <a:ext cx="360000" cy="360000"/>
          </a:xfrm>
          <a:prstGeom prst="rect">
            <a:avLst/>
          </a:prstGeom>
        </p:spPr>
      </p:pic>
      <p:pic>
        <p:nvPicPr>
          <p:cNvPr id="50" name="Picture 290">
            <a:extLst>
              <a:ext uri="{FF2B5EF4-FFF2-40B4-BE49-F238E27FC236}">
                <a16:creationId xmlns:a16="http://schemas.microsoft.com/office/drawing/2014/main" id="{A63833F7-A2A9-439B-8524-75AFCCA8D249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5128" y="4252684"/>
            <a:ext cx="110511" cy="144000"/>
          </a:xfrm>
          <a:prstGeom prst="rect">
            <a:avLst/>
          </a:prstGeom>
        </p:spPr>
      </p:pic>
      <p:pic>
        <p:nvPicPr>
          <p:cNvPr id="51" name="Grafik 50" descr="Vindmøller kontur">
            <a:extLst>
              <a:ext uri="{FF2B5EF4-FFF2-40B4-BE49-F238E27FC236}">
                <a16:creationId xmlns:a16="http://schemas.microsoft.com/office/drawing/2014/main" id="{B5792247-4556-45A9-88F3-6FCBCC616B3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531413" y="2663393"/>
            <a:ext cx="360000" cy="360000"/>
          </a:xfrm>
          <a:prstGeom prst="rect">
            <a:avLst/>
          </a:prstGeom>
        </p:spPr>
      </p:pic>
      <p:pic>
        <p:nvPicPr>
          <p:cNvPr id="53" name="Grafik 52" descr="Vindmøller kontur">
            <a:extLst>
              <a:ext uri="{FF2B5EF4-FFF2-40B4-BE49-F238E27FC236}">
                <a16:creationId xmlns:a16="http://schemas.microsoft.com/office/drawing/2014/main" id="{D27245BC-5386-4D78-9518-B50240637C6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824594" y="2704382"/>
            <a:ext cx="360000" cy="360000"/>
          </a:xfrm>
          <a:prstGeom prst="rect">
            <a:avLst/>
          </a:prstGeom>
        </p:spPr>
      </p:pic>
      <p:pic>
        <p:nvPicPr>
          <p:cNvPr id="55" name="Grafik 54" descr="Vindmøller kontur">
            <a:extLst>
              <a:ext uri="{FF2B5EF4-FFF2-40B4-BE49-F238E27FC236}">
                <a16:creationId xmlns:a16="http://schemas.microsoft.com/office/drawing/2014/main" id="{A3DA970B-BD36-4AC0-86EF-2A1F7997793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27493" y="565536"/>
            <a:ext cx="360000" cy="360000"/>
          </a:xfrm>
          <a:prstGeom prst="rect">
            <a:avLst/>
          </a:prstGeom>
        </p:spPr>
      </p:pic>
      <p:pic>
        <p:nvPicPr>
          <p:cNvPr id="57" name="Grafik 56" descr="Vindmøller kontur">
            <a:extLst>
              <a:ext uri="{FF2B5EF4-FFF2-40B4-BE49-F238E27FC236}">
                <a16:creationId xmlns:a16="http://schemas.microsoft.com/office/drawing/2014/main" id="{50D4C04F-7C3D-417E-8573-41BD86F04F9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718991" y="4915537"/>
            <a:ext cx="360000" cy="360000"/>
          </a:xfrm>
          <a:prstGeom prst="rect">
            <a:avLst/>
          </a:prstGeom>
        </p:spPr>
      </p:pic>
      <p:pic>
        <p:nvPicPr>
          <p:cNvPr id="59" name="Grafik 58" descr="Vindmøller kontur">
            <a:extLst>
              <a:ext uri="{FF2B5EF4-FFF2-40B4-BE49-F238E27FC236}">
                <a16:creationId xmlns:a16="http://schemas.microsoft.com/office/drawing/2014/main" id="{168952C4-FF2E-4729-8D98-A27CA8B3CDD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958216" y="6070102"/>
            <a:ext cx="288000" cy="288000"/>
          </a:xfrm>
          <a:prstGeom prst="rect">
            <a:avLst/>
          </a:prstGeom>
        </p:spPr>
      </p:pic>
      <p:pic>
        <p:nvPicPr>
          <p:cNvPr id="8" name="Grafik 7" descr="Solpaneler kontur">
            <a:extLst>
              <a:ext uri="{FF2B5EF4-FFF2-40B4-BE49-F238E27FC236}">
                <a16:creationId xmlns:a16="http://schemas.microsoft.com/office/drawing/2014/main" id="{00A70B60-EE10-4FC5-8F9A-B1971BCD2E8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302458" y="2980382"/>
            <a:ext cx="360000" cy="360000"/>
          </a:xfrm>
          <a:prstGeom prst="rect">
            <a:avLst/>
          </a:prstGeom>
        </p:spPr>
      </p:pic>
      <p:pic>
        <p:nvPicPr>
          <p:cNvPr id="61" name="Grafik 60" descr="Solpaneler kontur">
            <a:extLst>
              <a:ext uri="{FF2B5EF4-FFF2-40B4-BE49-F238E27FC236}">
                <a16:creationId xmlns:a16="http://schemas.microsoft.com/office/drawing/2014/main" id="{43DBB9E1-1F0A-4EB1-9AB4-C57F841CF68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349742" y="2893172"/>
            <a:ext cx="360000" cy="360000"/>
          </a:xfrm>
          <a:prstGeom prst="rect">
            <a:avLst/>
          </a:prstGeom>
        </p:spPr>
      </p:pic>
      <p:pic>
        <p:nvPicPr>
          <p:cNvPr id="63" name="Grafik 62" descr="Solpaneler kontur">
            <a:extLst>
              <a:ext uri="{FF2B5EF4-FFF2-40B4-BE49-F238E27FC236}">
                <a16:creationId xmlns:a16="http://schemas.microsoft.com/office/drawing/2014/main" id="{C1CC5E4A-F4C5-45D7-94BE-997529E35DB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708631" y="3303373"/>
            <a:ext cx="360000" cy="360000"/>
          </a:xfrm>
          <a:prstGeom prst="rect">
            <a:avLst/>
          </a:prstGeom>
        </p:spPr>
      </p:pic>
      <p:pic>
        <p:nvPicPr>
          <p:cNvPr id="65" name="Grafik 64" descr="Vindmøller kontur">
            <a:extLst>
              <a:ext uri="{FF2B5EF4-FFF2-40B4-BE49-F238E27FC236}">
                <a16:creationId xmlns:a16="http://schemas.microsoft.com/office/drawing/2014/main" id="{678A2D63-3E49-4718-A388-50BD570875D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030290" y="3678564"/>
            <a:ext cx="360000" cy="360000"/>
          </a:xfrm>
          <a:prstGeom prst="rect">
            <a:avLst/>
          </a:prstGeom>
        </p:spPr>
      </p:pic>
      <p:pic>
        <p:nvPicPr>
          <p:cNvPr id="67" name="Grafik 66" descr="Solpaneler kontur">
            <a:extLst>
              <a:ext uri="{FF2B5EF4-FFF2-40B4-BE49-F238E27FC236}">
                <a16:creationId xmlns:a16="http://schemas.microsoft.com/office/drawing/2014/main" id="{222227B8-AD4F-4068-988F-39215B618AF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162908" y="878521"/>
            <a:ext cx="360000" cy="360000"/>
          </a:xfrm>
          <a:prstGeom prst="rect">
            <a:avLst/>
          </a:prstGeom>
        </p:spPr>
      </p:pic>
      <p:pic>
        <p:nvPicPr>
          <p:cNvPr id="69" name="Grafik 68" descr="Vindmøller kontur">
            <a:extLst>
              <a:ext uri="{FF2B5EF4-FFF2-40B4-BE49-F238E27FC236}">
                <a16:creationId xmlns:a16="http://schemas.microsoft.com/office/drawing/2014/main" id="{674E5706-2BDC-4CE0-B665-819FF3BA4FF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2641" y="5149537"/>
            <a:ext cx="252000" cy="252000"/>
          </a:xfrm>
          <a:prstGeom prst="rect">
            <a:avLst/>
          </a:prstGeom>
        </p:spPr>
      </p:pic>
      <p:pic>
        <p:nvPicPr>
          <p:cNvPr id="72" name="Grafik 71" descr="Solpaneler kontur">
            <a:extLst>
              <a:ext uri="{FF2B5EF4-FFF2-40B4-BE49-F238E27FC236}">
                <a16:creationId xmlns:a16="http://schemas.microsoft.com/office/drawing/2014/main" id="{0F26FE67-22D9-4E8A-A241-5C08FE89B7F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82641" y="5572942"/>
            <a:ext cx="252000" cy="252000"/>
          </a:xfrm>
          <a:prstGeom prst="rect">
            <a:avLst/>
          </a:prstGeom>
        </p:spPr>
      </p:pic>
      <p:sp>
        <p:nvSpPr>
          <p:cNvPr id="2" name="Pladsholder til slidenummer 1">
            <a:extLst>
              <a:ext uri="{FF2B5EF4-FFF2-40B4-BE49-F238E27FC236}">
                <a16:creationId xmlns:a16="http://schemas.microsoft.com/office/drawing/2014/main" id="{AE09A0BC-308D-4BB0-8942-76E64750DC3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74" name="Teardrop 65">
            <a:extLst>
              <a:ext uri="{FF2B5EF4-FFF2-40B4-BE49-F238E27FC236}">
                <a16:creationId xmlns:a16="http://schemas.microsoft.com/office/drawing/2014/main" id="{E40FD507-BDC9-4E7A-8F04-16979CD4F51C}"/>
              </a:ext>
            </a:extLst>
          </p:cNvPr>
          <p:cNvSpPr/>
          <p:nvPr/>
        </p:nvSpPr>
        <p:spPr>
          <a:xfrm>
            <a:off x="5094468" y="5177145"/>
            <a:ext cx="246180" cy="246180"/>
          </a:xfrm>
          <a:prstGeom prst="teardrop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a-DK" sz="700" dirty="0">
                <a:solidFill>
                  <a:schemeClr val="bg1"/>
                </a:solidFill>
              </a:rPr>
              <a:t>20</a:t>
            </a:r>
            <a:endParaRPr lang="en-DK" sz="700" dirty="0">
              <a:solidFill>
                <a:schemeClr val="bg1"/>
              </a:solidFill>
            </a:endParaRPr>
          </a:p>
        </p:txBody>
      </p:sp>
      <p:sp>
        <p:nvSpPr>
          <p:cNvPr id="76" name="Teardrop 65">
            <a:extLst>
              <a:ext uri="{FF2B5EF4-FFF2-40B4-BE49-F238E27FC236}">
                <a16:creationId xmlns:a16="http://schemas.microsoft.com/office/drawing/2014/main" id="{35D4B14B-CD6B-4C9E-96E0-22244E799FA7}"/>
              </a:ext>
            </a:extLst>
          </p:cNvPr>
          <p:cNvSpPr/>
          <p:nvPr/>
        </p:nvSpPr>
        <p:spPr>
          <a:xfrm>
            <a:off x="5348645" y="3407524"/>
            <a:ext cx="246180" cy="246180"/>
          </a:xfrm>
          <a:prstGeom prst="teardrop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a-DK" sz="700" dirty="0">
                <a:solidFill>
                  <a:schemeClr val="bg1"/>
                </a:solidFill>
              </a:rPr>
              <a:t>21</a:t>
            </a:r>
            <a:endParaRPr lang="en-DK" sz="700" dirty="0">
              <a:solidFill>
                <a:schemeClr val="bg1"/>
              </a:solidFill>
            </a:endParaRPr>
          </a:p>
        </p:txBody>
      </p:sp>
      <p:sp>
        <p:nvSpPr>
          <p:cNvPr id="78" name="Teardrop 65">
            <a:extLst>
              <a:ext uri="{FF2B5EF4-FFF2-40B4-BE49-F238E27FC236}">
                <a16:creationId xmlns:a16="http://schemas.microsoft.com/office/drawing/2014/main" id="{19F9C27D-B103-40D9-A468-A8A26612C8B2}"/>
              </a:ext>
            </a:extLst>
          </p:cNvPr>
          <p:cNvSpPr/>
          <p:nvPr/>
        </p:nvSpPr>
        <p:spPr>
          <a:xfrm>
            <a:off x="5864626" y="2853497"/>
            <a:ext cx="246180" cy="246180"/>
          </a:xfrm>
          <a:prstGeom prst="teardrop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a-DK" sz="700" dirty="0">
                <a:solidFill>
                  <a:schemeClr val="bg1"/>
                </a:solidFill>
              </a:rPr>
              <a:t>22</a:t>
            </a:r>
            <a:endParaRPr lang="en-DK" sz="700" dirty="0">
              <a:solidFill>
                <a:schemeClr val="bg1"/>
              </a:solidFill>
            </a:endParaRPr>
          </a:p>
        </p:txBody>
      </p:sp>
      <p:sp>
        <p:nvSpPr>
          <p:cNvPr id="79" name="Teardrop 65">
            <a:extLst>
              <a:ext uri="{FF2B5EF4-FFF2-40B4-BE49-F238E27FC236}">
                <a16:creationId xmlns:a16="http://schemas.microsoft.com/office/drawing/2014/main" id="{83A1007C-B4DD-4616-8E5D-22FC8188F2C9}"/>
              </a:ext>
            </a:extLst>
          </p:cNvPr>
          <p:cNvSpPr/>
          <p:nvPr/>
        </p:nvSpPr>
        <p:spPr>
          <a:xfrm>
            <a:off x="5765330" y="1641210"/>
            <a:ext cx="246180" cy="246180"/>
          </a:xfrm>
          <a:prstGeom prst="teardrop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a-DK" sz="700" dirty="0">
                <a:solidFill>
                  <a:schemeClr val="bg1"/>
                </a:solidFill>
              </a:rPr>
              <a:t>23</a:t>
            </a:r>
            <a:endParaRPr lang="en-DK" sz="700" dirty="0">
              <a:solidFill>
                <a:schemeClr val="bg1"/>
              </a:solidFill>
            </a:endParaRPr>
          </a:p>
        </p:txBody>
      </p:sp>
      <p:sp>
        <p:nvSpPr>
          <p:cNvPr id="83" name="Teardrop 69">
            <a:extLst>
              <a:ext uri="{FF2B5EF4-FFF2-40B4-BE49-F238E27FC236}">
                <a16:creationId xmlns:a16="http://schemas.microsoft.com/office/drawing/2014/main" id="{B7F9E4DF-0284-4BB8-8E53-4B95EE2C47B8}"/>
              </a:ext>
            </a:extLst>
          </p:cNvPr>
          <p:cNvSpPr/>
          <p:nvPr/>
        </p:nvSpPr>
        <p:spPr>
          <a:xfrm>
            <a:off x="5885372" y="1355498"/>
            <a:ext cx="246180" cy="246180"/>
          </a:xfrm>
          <a:prstGeom prst="teardrop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a-DK" sz="700" dirty="0">
                <a:solidFill>
                  <a:schemeClr val="bg1"/>
                </a:solidFill>
              </a:rPr>
              <a:t>24</a:t>
            </a:r>
            <a:endParaRPr lang="en-DK" sz="7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2149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7F87245-156D-4CC8-BC75-4109AF4E9C5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0714"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4" name="Slide Number Placeholder 3" hidden="1">
            <a:extLst>
              <a:ext uri="{FF2B5EF4-FFF2-40B4-BE49-F238E27FC236}">
                <a16:creationId xmlns:a16="http://schemas.microsoft.com/office/drawing/2014/main" id="{B7A56043-D504-4B53-9C2C-D37A5229209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136560" y="6308928"/>
            <a:ext cx="543336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fld id="{811673A4-D707-475A-BF47-C05C70FAC46A}" type="slidenum">
              <a:rPr lang="en-GB" smtClean="0"/>
              <a:pPr>
                <a:spcAft>
                  <a:spcPts val="600"/>
                </a:spcAft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2282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234BF41-5434-4D01-8B6D-CD0A11BD5A3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4152" b="18883"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03316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59FBD0-2B6A-4E57-9485-CE60E5F30E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B87B07-3040-4784-9CB3-15C8FC2478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6E080E-C7D1-4CE1-8715-4593D85EF49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pPr/>
              <a:t>9</a:t>
            </a:fld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8A5B9A4-EBBD-4B7D-B65C-EF899FBB9A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913" y="642548"/>
            <a:ext cx="11098174" cy="5572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87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NAME_CACHE" val="Group 1"/>
  <p:tag name="IMPORTABLE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OLOUR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OLOUR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OLOUR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EWE">
  <a:themeElements>
    <a:clrScheme name="EWE">
      <a:dk1>
        <a:srgbClr val="041E42"/>
      </a:dk1>
      <a:lt1>
        <a:sysClr val="window" lastClr="FFFFFF"/>
      </a:lt1>
      <a:dk2>
        <a:srgbClr val="024638"/>
      </a:dk2>
      <a:lt2>
        <a:srgbClr val="F3CFB3"/>
      </a:lt2>
      <a:accent1>
        <a:srgbClr val="041E42"/>
      </a:accent1>
      <a:accent2>
        <a:srgbClr val="ABCAE9"/>
      </a:accent2>
      <a:accent3>
        <a:srgbClr val="48D597"/>
      </a:accent3>
      <a:accent4>
        <a:srgbClr val="B46A55"/>
      </a:accent4>
      <a:accent5>
        <a:srgbClr val="E03E52"/>
      </a:accent5>
      <a:accent6>
        <a:srgbClr val="B5E3D8"/>
      </a:accent6>
      <a:hlink>
        <a:srgbClr val="000000"/>
      </a:hlink>
      <a:folHlink>
        <a:srgbClr val="00000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0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none" lIns="0" tIns="0" rIns="0" bIns="0" rtlCol="0">
        <a:noAutofit/>
      </a:bodyPr>
      <a:lstStyle>
        <a:defPPr algn="l">
          <a:defRPr dirty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WE.potx" id="{AF826279-DE3B-47A4-A3C2-1C3BCC4C2133}" vid="{A5D6C2C8-4CE6-457B-AAA3-A65F8B923710}"/>
    </a:ext>
  </a:extLst>
</a:theme>
</file>

<file path=ppt/theme/theme2.xml><?xml version="1.0" encoding="utf-8"?>
<a:theme xmlns:a="http://schemas.openxmlformats.org/drawingml/2006/main" name="EWE">
  <a:themeElements>
    <a:clrScheme name="EWE">
      <a:dk1>
        <a:srgbClr val="041E42"/>
      </a:dk1>
      <a:lt1>
        <a:sysClr val="window" lastClr="FFFFFF"/>
      </a:lt1>
      <a:dk2>
        <a:srgbClr val="024638"/>
      </a:dk2>
      <a:lt2>
        <a:srgbClr val="F3CFB3"/>
      </a:lt2>
      <a:accent1>
        <a:srgbClr val="041E42"/>
      </a:accent1>
      <a:accent2>
        <a:srgbClr val="ABCAE9"/>
      </a:accent2>
      <a:accent3>
        <a:srgbClr val="48D597"/>
      </a:accent3>
      <a:accent4>
        <a:srgbClr val="B46A55"/>
      </a:accent4>
      <a:accent5>
        <a:srgbClr val="E03E52"/>
      </a:accent5>
      <a:accent6>
        <a:srgbClr val="B5E3D8"/>
      </a:accent6>
      <a:hlink>
        <a:srgbClr val="000000"/>
      </a:hlink>
      <a:folHlink>
        <a:srgbClr val="00000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0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WE.potx" id="{AF826279-DE3B-47A4-A3C2-1C3BCC4C2133}" vid="{A5D6C2C8-4CE6-457B-AAA3-A65F8B923710}"/>
    </a:ext>
  </a:extLst>
</a:theme>
</file>

<file path=ppt/theme/theme3.xml><?xml version="1.0" encoding="utf-8"?>
<a:theme xmlns:a="http://schemas.openxmlformats.org/drawingml/2006/main" name="2_EWE">
  <a:themeElements>
    <a:clrScheme name="EWE">
      <a:dk1>
        <a:srgbClr val="041E42"/>
      </a:dk1>
      <a:lt1>
        <a:sysClr val="window" lastClr="FFFFFF"/>
      </a:lt1>
      <a:dk2>
        <a:srgbClr val="024638"/>
      </a:dk2>
      <a:lt2>
        <a:srgbClr val="F3CFB3"/>
      </a:lt2>
      <a:accent1>
        <a:srgbClr val="041E42"/>
      </a:accent1>
      <a:accent2>
        <a:srgbClr val="ABCAE9"/>
      </a:accent2>
      <a:accent3>
        <a:srgbClr val="48D597"/>
      </a:accent3>
      <a:accent4>
        <a:srgbClr val="B46A55"/>
      </a:accent4>
      <a:accent5>
        <a:srgbClr val="E03E52"/>
      </a:accent5>
      <a:accent6>
        <a:srgbClr val="B5E3D8"/>
      </a:accent6>
      <a:hlink>
        <a:srgbClr val="000000"/>
      </a:hlink>
      <a:folHlink>
        <a:srgbClr val="00000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0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WE.potx" id="{AF826279-DE3B-47A4-A3C2-1C3BCC4C2133}" vid="{A5D6C2C8-4CE6-457B-AAA3-A65F8B923710}"/>
    </a:ext>
  </a:extLst>
</a:theme>
</file>

<file path=ppt/theme/theme4.xml><?xml version="1.0" encoding="utf-8"?>
<a:theme xmlns:a="http://schemas.openxmlformats.org/drawingml/2006/main" name="3_EWE">
  <a:themeElements>
    <a:clrScheme name="EWE">
      <a:dk1>
        <a:srgbClr val="041E42"/>
      </a:dk1>
      <a:lt1>
        <a:sysClr val="window" lastClr="FFFFFF"/>
      </a:lt1>
      <a:dk2>
        <a:srgbClr val="024638"/>
      </a:dk2>
      <a:lt2>
        <a:srgbClr val="F3CFB3"/>
      </a:lt2>
      <a:accent1>
        <a:srgbClr val="041E42"/>
      </a:accent1>
      <a:accent2>
        <a:srgbClr val="ABCAE9"/>
      </a:accent2>
      <a:accent3>
        <a:srgbClr val="48D597"/>
      </a:accent3>
      <a:accent4>
        <a:srgbClr val="B46A55"/>
      </a:accent4>
      <a:accent5>
        <a:srgbClr val="E03E52"/>
      </a:accent5>
      <a:accent6>
        <a:srgbClr val="B5E3D8"/>
      </a:accent6>
      <a:hlink>
        <a:srgbClr val="000000"/>
      </a:hlink>
      <a:folHlink>
        <a:srgbClr val="00000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0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WE.potx" id="{AF826279-DE3B-47A4-A3C2-1C3BCC4C2133}" vid="{A5D6C2C8-4CE6-457B-AAA3-A65F8B923710}"/>
    </a:ext>
  </a:extLst>
</a:theme>
</file>

<file path=ppt/theme/theme5.xml><?xml version="1.0" encoding="utf-8"?>
<a:theme xmlns:a="http://schemas.openxmlformats.org/drawingml/2006/main" name="4_EWE">
  <a:themeElements>
    <a:clrScheme name="EWE">
      <a:dk1>
        <a:srgbClr val="041E42"/>
      </a:dk1>
      <a:lt1>
        <a:sysClr val="window" lastClr="FFFFFF"/>
      </a:lt1>
      <a:dk2>
        <a:srgbClr val="024638"/>
      </a:dk2>
      <a:lt2>
        <a:srgbClr val="F3CFB3"/>
      </a:lt2>
      <a:accent1>
        <a:srgbClr val="041E42"/>
      </a:accent1>
      <a:accent2>
        <a:srgbClr val="ABCAE9"/>
      </a:accent2>
      <a:accent3>
        <a:srgbClr val="48D597"/>
      </a:accent3>
      <a:accent4>
        <a:srgbClr val="B46A55"/>
      </a:accent4>
      <a:accent5>
        <a:srgbClr val="E03E52"/>
      </a:accent5>
      <a:accent6>
        <a:srgbClr val="B5E3D8"/>
      </a:accent6>
      <a:hlink>
        <a:srgbClr val="000000"/>
      </a:hlink>
      <a:folHlink>
        <a:srgbClr val="00000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0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WE.potx" id="{AF826279-DE3B-47A4-A3C2-1C3BCC4C2133}" vid="{A5D6C2C8-4CE6-457B-AAA3-A65F8B923710}"/>
    </a:ext>
  </a:extLst>
</a:theme>
</file>

<file path=ppt/theme/theme6.xml><?xml version="1.0" encoding="utf-8"?>
<a:theme xmlns:a="http://schemas.openxmlformats.org/drawingml/2006/main" name="5_EWE">
  <a:themeElements>
    <a:clrScheme name="EWE">
      <a:dk1>
        <a:srgbClr val="041E42"/>
      </a:dk1>
      <a:lt1>
        <a:sysClr val="window" lastClr="FFFFFF"/>
      </a:lt1>
      <a:dk2>
        <a:srgbClr val="024638"/>
      </a:dk2>
      <a:lt2>
        <a:srgbClr val="F3CFB3"/>
      </a:lt2>
      <a:accent1>
        <a:srgbClr val="041E42"/>
      </a:accent1>
      <a:accent2>
        <a:srgbClr val="ABCAE9"/>
      </a:accent2>
      <a:accent3>
        <a:srgbClr val="48D597"/>
      </a:accent3>
      <a:accent4>
        <a:srgbClr val="B46A55"/>
      </a:accent4>
      <a:accent5>
        <a:srgbClr val="E03E52"/>
      </a:accent5>
      <a:accent6>
        <a:srgbClr val="B5E3D8"/>
      </a:accent6>
      <a:hlink>
        <a:srgbClr val="000000"/>
      </a:hlink>
      <a:folHlink>
        <a:srgbClr val="00000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0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WE.potx" id="{AF826279-DE3B-47A4-A3C2-1C3BCC4C2133}" vid="{A5D6C2C8-4CE6-457B-AAA3-A65F8B923710}"/>
    </a:ext>
  </a:extLst>
</a:theme>
</file>

<file path=ppt/theme/theme7.xml><?xml version="1.0" encoding="utf-8"?>
<a:theme xmlns:a="http://schemas.openxmlformats.org/drawingml/2006/main" name="6_EWE">
  <a:themeElements>
    <a:clrScheme name="EWE">
      <a:dk1>
        <a:srgbClr val="041E42"/>
      </a:dk1>
      <a:lt1>
        <a:sysClr val="window" lastClr="FFFFFF"/>
      </a:lt1>
      <a:dk2>
        <a:srgbClr val="024638"/>
      </a:dk2>
      <a:lt2>
        <a:srgbClr val="F3CFB3"/>
      </a:lt2>
      <a:accent1>
        <a:srgbClr val="041E42"/>
      </a:accent1>
      <a:accent2>
        <a:srgbClr val="ABCAE9"/>
      </a:accent2>
      <a:accent3>
        <a:srgbClr val="48D597"/>
      </a:accent3>
      <a:accent4>
        <a:srgbClr val="B46A55"/>
      </a:accent4>
      <a:accent5>
        <a:srgbClr val="E03E52"/>
      </a:accent5>
      <a:accent6>
        <a:srgbClr val="B5E3D8"/>
      </a:accent6>
      <a:hlink>
        <a:srgbClr val="000000"/>
      </a:hlink>
      <a:folHlink>
        <a:srgbClr val="00000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0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EWE.potx" id="{AF826279-DE3B-47A4-A3C2-1C3BCC4C2133}" vid="{A5D6C2C8-4CE6-457B-AAA3-A65F8B923710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08. Public applications or Permits" ma:contentTypeID="0x010100F14952967CCF477D8751087E8682C02D00C530FBF151E6824FB51D32907E300917" ma:contentTypeVersion="7" ma:contentTypeDescription="Create a new document." ma:contentTypeScope="" ma:versionID="9250ff1bd1821f1b54e0fd744d52ff10">
  <xsd:schema xmlns:xsd="http://www.w3.org/2001/XMLSchema" xmlns:xs="http://www.w3.org/2001/XMLSchema" xmlns:p="http://schemas.microsoft.com/office/2006/metadata/properties" xmlns:ns2="3e3b3951-41f0-4d31-b7ee-4abcdc4f68fb" xmlns:ns3="3e9461d4-74db-4f88-9abe-7d16b183b3f8" targetNamespace="http://schemas.microsoft.com/office/2006/metadata/properties" ma:root="true" ma:fieldsID="fc223c1c47a0b56edc12d8f198075730" ns2:_="" ns3:_="">
    <xsd:import namespace="3e3b3951-41f0-4d31-b7ee-4abcdc4f68fb"/>
    <xsd:import namespace="3e9461d4-74db-4f88-9abe-7d16b183b3f8"/>
    <xsd:element name="properties">
      <xsd:complexType>
        <xsd:sequence>
          <xsd:element name="documentManagement">
            <xsd:complexType>
              <xsd:all>
                <xsd:element ref="ns2:wpProjDocLanguage" minOccurs="0"/>
                <xsd:element ref="ns2:wpProjDocManager" minOccurs="0"/>
                <xsd:element ref="ns2:wpProjDocTypePermits" minOccurs="0"/>
                <xsd:element ref="ns2:wpProjDocCounterParty" minOccurs="0"/>
                <xsd:element ref="ns2:wpProjDocEWEParty" minOccurs="0"/>
                <xsd:element ref="ns2:wpProjDocStatus" minOccurs="0"/>
                <xsd:element ref="ns2:wpProjDocDateInForce" minOccurs="0"/>
                <xsd:element ref="ns2:wpProjDocDateExpiry" minOccurs="0"/>
                <xsd:element ref="ns2:wpProjDocDetailsRenLawDoc" minOccurs="0"/>
                <xsd:element ref="ns2:wpProjDocNotes" minOccurs="0"/>
                <xsd:element ref="ns2:wpProjDocDocumentInArchive" minOccurs="0"/>
                <xsd:element ref="ns3:wpProjDocPublishState" minOccurs="0"/>
                <xsd:element ref="ns3:wpProjDocID" minOccurs="0"/>
                <xsd:element ref="ns3:wpProjDocPublishDate" minOccurs="0"/>
                <xsd:element ref="ns3:wpProjDocMonth" minOccurs="0"/>
                <xsd:element ref="ns2:ReportType" minOccurs="0"/>
                <xsd:element ref="ns3:wpProjDocYear" minOccurs="0"/>
                <xsd:element ref="ns3:wpProjDocPublishReques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3b3951-41f0-4d31-b7ee-4abcdc4f68fb" elementFormDefault="qualified">
    <xsd:import namespace="http://schemas.microsoft.com/office/2006/documentManagement/types"/>
    <xsd:import namespace="http://schemas.microsoft.com/office/infopath/2007/PartnerControls"/>
    <xsd:element name="wpProjDocLanguage" ma:index="1" nillable="true" ma:displayName="Document language" ma:internalName="wpProjDocLanguage" ma:readOnly="fals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BG"/>
                    <xsd:enumeration value="DK"/>
                    <xsd:enumeration value="DE"/>
                    <xsd:enumeration value="EN"/>
                    <xsd:enumeration value="ES"/>
                    <xsd:enumeration value="FI"/>
                    <xsd:enumeration value="FR"/>
                    <xsd:enumeration value="IT"/>
                    <xsd:enumeration value="PL"/>
                    <xsd:enumeration value="PT"/>
                    <xsd:enumeration value="RO"/>
                    <xsd:enumeration value="SE"/>
                    <xsd:enumeration value="SK"/>
                    <xsd:enumeration value="Translation"/>
                    <xsd:enumeration value="Certified translation"/>
                  </xsd:restriction>
                </xsd:simpleType>
              </xsd:element>
            </xsd:sequence>
          </xsd:extension>
        </xsd:complexContent>
      </xsd:complexType>
    </xsd:element>
    <xsd:element name="wpProjDocManager" ma:index="2" nillable="true" ma:displayName="Document manager" ma:list="{8c7a02f4-0aa3-449f-a83b-ff3b4a29f9ac}" ma:internalName="wpProjDocManager" ma:readOnly="false" ma:web="3e3b3951-41f0-4d31-b7ee-4abcdc4f68fb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wpProjDocTypePermits" ma:index="3" nillable="true" ma:displayName="Application type" ma:format="Dropdown" ma:internalName="wpProjDocTypePermits" ma:readOnly="false">
      <xsd:simpleType>
        <xsd:restriction base="dms:Choice">
          <xsd:enumeration value="A. Application"/>
          <xsd:enumeration value="B. Environmental study"/>
          <xsd:enumeration value="C. License for generating electrical power"/>
          <xsd:enumeration value="D. Permit"/>
          <xsd:enumeration value="E. Public requirement"/>
          <xsd:enumeration value="F. Renewable energy law document"/>
          <xsd:enumeration value="G. Complaint cases"/>
          <xsd:enumeration value="H. Public tender documents"/>
          <xsd:enumeration value="Y. MOM's, notes, memo's, internal doc's, etc."/>
          <xsd:enumeration value="Z. Correspondence/Misc"/>
        </xsd:restriction>
      </xsd:simpleType>
    </xsd:element>
    <xsd:element name="wpProjDocCounterParty" ma:index="4" nillable="true" ma:displayName="Counterparty" ma:internalName="wpProjDocCounterParty" ma:readOnly="false">
      <xsd:simpleType>
        <xsd:restriction base="dms:Text"/>
      </xsd:simpleType>
    </xsd:element>
    <xsd:element name="wpProjDocEWEParty" ma:index="5" nillable="true" ma:displayName="EWE Party" ma:internalName="wpProjDocEWEParty" ma:readOnly="false">
      <xsd:simpleType>
        <xsd:restriction base="dms:Unknown"/>
      </xsd:simpleType>
    </xsd:element>
    <xsd:element name="wpProjDocStatus" ma:index="6" nillable="true" ma:displayName="Status" ma:format="Dropdown" ma:internalName="wpProjDocStatus" ma:readOnly="false">
      <xsd:simpleType>
        <xsd:restriction base="dms:Choice">
          <xsd:enumeration value="Draft/offer"/>
          <xsd:enumeration value="Signed + Ongoing/In force"/>
          <xsd:enumeration value="Expired"/>
        </xsd:restriction>
      </xsd:simpleType>
    </xsd:element>
    <xsd:element name="wpProjDocDateInForce" ma:index="7" nillable="true" ma:displayName="Date in force" ma:format="DateOnly" ma:internalName="wpProjDocDateInForce" ma:readOnly="false">
      <xsd:simpleType>
        <xsd:restriction base="dms:DateTime"/>
      </xsd:simpleType>
    </xsd:element>
    <xsd:element name="wpProjDocDateExpiry" ma:index="8" nillable="true" ma:displayName="Date expiry" ma:format="DateOnly" ma:internalName="wpProjDocDateExpiry" ma:readOnly="false">
      <xsd:simpleType>
        <xsd:restriction base="dms:DateTime"/>
      </xsd:simpleType>
    </xsd:element>
    <xsd:element name="wpProjDocDetailsRenLawDoc" ma:index="9" nillable="true" ma:displayName="Details - Renewable law documents" ma:format="Dropdown" ma:internalName="wpProjDocDetailsRenLawDoc" ma:readOnly="false">
      <xsd:simpleType>
        <xsd:restriction base="dms:Choice">
          <xsd:enumeration value="Los of value (Værditabsordning)"/>
          <xsd:enumeration value="Purchase right (Køberetsordningen)"/>
        </xsd:restriction>
      </xsd:simpleType>
    </xsd:element>
    <xsd:element name="wpProjDocNotes" ma:index="10" nillable="true" ma:displayName="Notes" ma:internalName="wpProjDocNotes" ma:readOnly="false">
      <xsd:simpleType>
        <xsd:restriction base="dms:Note">
          <xsd:maxLength value="255"/>
        </xsd:restriction>
      </xsd:simpleType>
    </xsd:element>
    <xsd:element name="wpProjDocDocumentInArchive" ma:index="11" nillable="true" ma:displayName="Document in archive" ma:default="0" ma:internalName="wpProjDocDocumentInArchive" ma:readOnly="false">
      <xsd:simpleType>
        <xsd:restriction base="dms:Boolean"/>
      </xsd:simpleType>
    </xsd:element>
    <xsd:element name="ReportType" ma:index="16" nillable="true" ma:displayName="Wheel Report Type" ma:list="{be8d65c2-5f0d-4230-84dd-a18246e472c6}" ma:internalName="ReportType" ma:readOnly="false" ma:showField="Title" ma:web="3e3b3951-41f0-4d31-b7ee-4abcdc4f68fb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9461d4-74db-4f88-9abe-7d16b183b3f8" elementFormDefault="qualified">
    <xsd:import namespace="http://schemas.microsoft.com/office/2006/documentManagement/types"/>
    <xsd:import namespace="http://schemas.microsoft.com/office/infopath/2007/PartnerControls"/>
    <xsd:element name="wpProjDocPublishState" ma:index="12" nillable="true" ma:displayName="Published to Investors" ma:format="Dropdown" ma:internalName="wpProjDocPublishState" ma:readOnly="false">
      <xsd:simpleType>
        <xsd:restriction base="dms:Choice">
          <xsd:enumeration value="Published"/>
          <xsd:enumeration value="Not published"/>
          <xsd:enumeration value="Approval pending (Publish)"/>
          <xsd:enumeration value="Approval pending (Un-publish)"/>
        </xsd:restriction>
      </xsd:simpleType>
    </xsd:element>
    <xsd:element name="wpProjDocID" ma:index="13" nillable="true" ma:displayName="Document ID" ma:internalName="wpProjDocID" ma:readOnly="false">
      <xsd:simpleType>
        <xsd:restriction base="dms:Unknown"/>
      </xsd:simpleType>
    </xsd:element>
    <xsd:element name="wpProjDocPublishDate" ma:index="14" nillable="true" ma:displayName="Date published to investor" ma:format="DateOnly" ma:internalName="wpProjDocPublishDate" ma:readOnly="false">
      <xsd:simpleType>
        <xsd:restriction base="dms:DateTime"/>
      </xsd:simpleType>
    </xsd:element>
    <xsd:element name="wpProjDocMonth" ma:index="15" nillable="true" ma:displayName="Wheel month" ma:default="(None)" ma:format="Dropdown" ma:internalName="wpProjDocMonth" ma:readOnly="false">
      <xsd:simpleType>
        <xsd:restriction base="dms:Choice">
          <xsd:enumeration value="(None)"/>
          <xsd:enumeration value="January"/>
          <xsd:enumeration value="February"/>
          <xsd:enumeration value="March"/>
          <xsd:enumeration value="April"/>
          <xsd:enumeration value="May"/>
          <xsd:enumeration value="June"/>
          <xsd:enumeration value="July"/>
          <xsd:enumeration value="August"/>
          <xsd:enumeration value="September"/>
          <xsd:enumeration value="October"/>
          <xsd:enumeration value="November"/>
          <xsd:enumeration value="December"/>
        </xsd:restriction>
      </xsd:simpleType>
    </xsd:element>
    <xsd:element name="wpProjDocYear" ma:index="17" nillable="true" ma:displayName="Wheel year" ma:default="(None)" ma:format="Dropdown" ma:internalName="wpProjDocYear" ma:readOnly="false">
      <xsd:simpleType>
        <xsd:restriction base="dms:Choice">
          <xsd:enumeration value="(None)"/>
          <xsd:enumeration value="2003"/>
          <xsd:enumeration value="2004"/>
          <xsd:enumeration value="2005"/>
          <xsd:enumeration value="2006"/>
          <xsd:enumeration value="2007"/>
          <xsd:enumeration value="2008"/>
          <xsd:enumeration value="2009"/>
          <xsd:enumeration value="2010"/>
          <xsd:enumeration value="2011"/>
          <xsd:enumeration value="2012"/>
          <xsd:enumeration value="2013"/>
          <xsd:enumeration value="2014"/>
          <xsd:enumeration value="2015"/>
          <xsd:enumeration value="2016"/>
          <xsd:enumeration value="2017"/>
          <xsd:enumeration value="2018"/>
          <xsd:enumeration value="2019"/>
          <xsd:enumeration value="2020"/>
          <xsd:enumeration value="2021"/>
          <xsd:enumeration value="2022"/>
          <xsd:enumeration value="2023"/>
        </xsd:restriction>
      </xsd:simpleType>
    </xsd:element>
    <xsd:element name="wpProjDocPublishRequest" ma:index="18" nillable="true" ma:displayName="Force investor request" ma:description="Initialises a publish request or unpublishes this document" ma:format="Dropdown" ma:internalName="wpProjDocPublishRequest" ma:readOnly="false">
      <xsd:simpleType>
        <xsd:restriction base="dms:Choice">
          <xsd:enumeration value="Publish"/>
          <xsd:enumeration value="Unpublish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1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wpProjDocDateInForce xmlns="3e3b3951-41f0-4d31-b7ee-4abcdc4f68fb">2022-04-27T22:00:00+00:00</wpProjDocDateInForce>
    <wpProjDocDocumentInArchive xmlns="3e3b3951-41f0-4d31-b7ee-4abcdc4f68fb">false</wpProjDocDocumentInArchive>
    <wpProjDocMonth xmlns="3e9461d4-74db-4f88-9abe-7d16b183b3f8">(None)</wpProjDocMonth>
    <wpProjDocID xmlns="3e9461d4-74db-4f88-9abe-7d16b183b3f8">00666809</wpProjDocID>
    <wpProjDocPublishRequest xmlns="3e9461d4-74db-4f88-9abe-7d16b183b3f8" xsi:nil="true"/>
    <wpProjDocLanguage xmlns="3e3b3951-41f0-4d31-b7ee-4abcdc4f68fb">
      <Value>DK</Value>
    </wpProjDocLanguage>
    <wpProjDocNotes xmlns="3e3b3951-41f0-4d31-b7ee-4abcdc4f68fb" xsi:nil="true"/>
    <wpProjDocManager xmlns="3e3b3951-41f0-4d31-b7ee-4abcdc4f68fb">
      <UserInfo>
        <DisplayName>Jesper Houe</DisplayName>
        <AccountId>151</AccountId>
        <AccountType/>
      </UserInfo>
    </wpProjDocManager>
    <wpProjDocDateExpiry xmlns="3e3b3951-41f0-4d31-b7ee-4abcdc4f68fb" xsi:nil="true"/>
    <wpProjDocYear xmlns="3e9461d4-74db-4f88-9abe-7d16b183b3f8">(None)</wpProjDocYear>
    <wpProjDocCounterParty xmlns="3e3b3951-41f0-4d31-b7ee-4abcdc4f68fb">Aalborg og Vesterhimmerlands kommuner</wpProjDocCounterParty>
    <ReportType xmlns="3e3b3951-41f0-4d31-b7ee-4abcdc4f68fb" xsi:nil="true"/>
    <wpProjDocPublishState xmlns="3e9461d4-74db-4f88-9abe-7d16b183b3f8" xsi:nil="true"/>
    <wpProjDocPublishDate xmlns="3e9461d4-74db-4f88-9abe-7d16b183b3f8" xsi:nil="true"/>
    <wpProjDocEWEParty xmlns="3e3b3951-41f0-4d31-b7ee-4abcdc4f68fb">2022;#Eurowind Project A/S</wpProjDocEWEParty>
    <wpProjDocStatus xmlns="3e3b3951-41f0-4d31-b7ee-4abcdc4f68fb">Draft/offer</wpProjDocStatus>
    <wpProjDocTypePermits xmlns="3e3b3951-41f0-4d31-b7ee-4abcdc4f68fb">Y. MOM's, notes, memo's, internal doc's, etc.</wpProjDocTypePermits>
    <wpProjDocDetailsRenLawDoc xmlns="3e3b3951-41f0-4d31-b7ee-4abcdc4f68fb" xsi:nil="true"/>
  </documentManagement>
</p:properties>
</file>

<file path=customXml/itemProps1.xml><?xml version="1.0" encoding="utf-8"?>
<ds:datastoreItem xmlns:ds="http://schemas.openxmlformats.org/officeDocument/2006/customXml" ds:itemID="{8829A868-34A5-4380-A7FC-80D38F8655B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e3b3951-41f0-4d31-b7ee-4abcdc4f68fb"/>
    <ds:schemaRef ds:uri="3e9461d4-74db-4f88-9abe-7d16b183b3f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CD02D20-A6DC-440C-821D-C360C59421B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CC6239A-B3EB-47C0-BB41-DD11CE71D950}">
  <ds:schemaRefs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3e3b3951-41f0-4d31-b7ee-4abcdc4f68fb"/>
    <ds:schemaRef ds:uri="http://purl.org/dc/dcmitype/"/>
    <ds:schemaRef ds:uri="3e9461d4-74db-4f88-9abe-7d16b183b3f8"/>
    <ds:schemaRef ds:uri="http://purl.org/dc/terms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831</Words>
  <Application>Microsoft Office PowerPoint</Application>
  <PresentationFormat>Widescreen</PresentationFormat>
  <Paragraphs>209</Paragraphs>
  <Slides>16</Slides>
  <Notes>5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7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6</vt:i4>
      </vt:variant>
    </vt:vector>
  </HeadingPairs>
  <TitlesOfParts>
    <vt:vector size="29" baseType="lpstr">
      <vt:lpstr>Arial</vt:lpstr>
      <vt:lpstr>Calibri</vt:lpstr>
      <vt:lpstr>Century Gothic</vt:lpstr>
      <vt:lpstr>Symbol</vt:lpstr>
      <vt:lpstr>Wingdings</vt:lpstr>
      <vt:lpstr>1_EWE</vt:lpstr>
      <vt:lpstr>EWE</vt:lpstr>
      <vt:lpstr>2_EWE</vt:lpstr>
      <vt:lpstr>3_EWE</vt:lpstr>
      <vt:lpstr>4_EWE</vt:lpstr>
      <vt:lpstr>5_EWE</vt:lpstr>
      <vt:lpstr>6_EWE</vt:lpstr>
      <vt:lpstr>think-cell Slide</vt:lpstr>
      <vt:lpstr>PowerPoint-præsentation</vt:lpstr>
      <vt:lpstr>Informationsmøde for Lokalforening Østerstarup</vt:lpstr>
      <vt:lpstr>PowerPoint-præsentation</vt:lpstr>
      <vt:lpstr>Overordnet strategi  Vi har en balanceret forretning, hvor tre forretningsområder understøtter hinanden.  </vt:lpstr>
      <vt:lpstr>Hvem er vi?</vt:lpstr>
      <vt:lpstr>Igangværende og  gennemførte projekter:</vt:lpstr>
      <vt:lpstr>PowerPoint-præsentation</vt:lpstr>
      <vt:lpstr>PowerPoint-præsentation</vt:lpstr>
      <vt:lpstr>PowerPoint-præsentation</vt:lpstr>
      <vt:lpstr>DE LOVPLIGTIGE VE-ORDNINGER (Lov om fremme af vedvarende energi)</vt:lpstr>
      <vt:lpstr>Idékatalog for lokale projekter og lokal forankring</vt:lpstr>
      <vt:lpstr>PowerPoint-præsentation</vt:lpstr>
      <vt:lpstr>VÆRDITABSORDNINGEN</vt:lpstr>
      <vt:lpstr>SALGSOPTION</vt:lpstr>
      <vt:lpstr>VE-BONUS ORDNING</vt:lpstr>
      <vt:lpstr>GRØN PULJ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807-PP for lokalforankring</dc:title>
  <dc:creator>Signe Haugaard Simonsen</dc:creator>
  <cp:lastModifiedBy>jan.hyldgaard@outlook.com</cp:lastModifiedBy>
  <cp:revision>92</cp:revision>
  <dcterms:created xsi:type="dcterms:W3CDTF">2022-01-13T19:03:52Z</dcterms:created>
  <dcterms:modified xsi:type="dcterms:W3CDTF">2022-08-10T08:00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14952967CCF477D8751087E8682C02D00C530FBF151E6824FB51D32907E300917</vt:lpwstr>
  </property>
  <property fmtid="{D5CDD505-2E9C-101B-9397-08002B2CF9AE}" pid="3" name="wpProjDocTypeSales">
    <vt:lpwstr>[]</vt:lpwstr>
  </property>
  <property fmtid="{D5CDD505-2E9C-101B-9397-08002B2CF9AE}" pid="4" name="wpItemLocation">
    <vt:lpwstr>8cd3e4ac;1041;</vt:lpwstr>
  </property>
  <property fmtid="{D5CDD505-2E9C-101B-9397-08002B2CF9AE}" pid="5" name="ManagedMetaDataTitlefa564e0f">
    <vt:lpwstr>DK-Øster Starup (1807)</vt:lpwstr>
  </property>
  <property fmtid="{D5CDD505-2E9C-101B-9397-08002B2CF9AE}" pid="6" name="ManagedMetaDatawpProjPrd406eb96">
    <vt:lpwstr>1807</vt:lpwstr>
  </property>
  <property fmtid="{D5CDD505-2E9C-101B-9397-08002B2CF9AE}" pid="7" name="wpCreatedStage">
    <vt:lpwstr>Assessment</vt:lpwstr>
  </property>
  <property fmtid="{D5CDD505-2E9C-101B-9397-08002B2CF9AE}" pid="8" name="wpProjDocTypePermits">
    <vt:lpwstr>Y. MOM's, notes, memo's, internal doc's, etc.</vt:lpwstr>
  </property>
  <property fmtid="{D5CDD505-2E9C-101B-9397-08002B2CF9AE}" pid="9" name="wpProjDocTypeAquis">
    <vt:lpwstr>[]</vt:lpwstr>
  </property>
</Properties>
</file>